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slides/slide2.xml" ContentType="application/vnd.openxmlformats-officedocument.presentationml.slide+xml"/>
  <Override PartName="/ppt/slides/slide11.xml" ContentType="application/vnd.openxmlformats-officedocument.presentationml.slide+xml"/>
  <Override PartName="/ppt/slides/slide13.xml" ContentType="application/vnd.openxmlformats-officedocument.presentationml.slide+xml"/>
  <Override PartName="/ppt/slides/slide10.xml" ContentType="application/vnd.openxmlformats-officedocument.presentationml.slide+xml"/>
  <Override PartName="/ppt/slides/slide12.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3.xml" ContentType="application/vnd.openxmlformats-officedocument.presentationml.slide+xml"/>
  <Override PartName="/ppt/presentation.xml" ContentType="application/vnd.openxmlformats-officedocument.presentationml.presentation.main+xml"/>
  <Override PartName="/ppt/slides/slide1.xml" ContentType="application/vnd.openxmlformats-officedocument.presentationml.slide+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73.xml" ContentType="application/vnd.openxmlformats-officedocument.presentationml.slideLayout+xml"/>
  <Override PartName="/ppt/slideMasters/slideMaster1.xml" ContentType="application/vnd.openxmlformats-officedocument.presentationml.slideMaster+xml"/>
  <Override PartName="/ppt/slideLayouts/slideLayout3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72.xml" ContentType="application/vnd.openxmlformats-officedocument.presentationml.slideLayout+xml"/>
  <Override PartName="/ppt/slideLayouts/slideLayout55.xml" ContentType="application/vnd.openxmlformats-officedocument.presentationml.slideLayout+xml"/>
  <Override PartName="/ppt/slideLayouts/slideLayout32.xml" ContentType="application/vnd.openxmlformats-officedocument.presentationml.slideLayout+xml"/>
  <Override PartName="/ppt/slideLayouts/slideLayout56.xml" ContentType="application/vnd.openxmlformats-officedocument.presentationml.slideLayout+xml"/>
  <Override PartName="/ppt/slideLayouts/slideLayout5.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60.xml" ContentType="application/vnd.openxmlformats-officedocument.presentationml.slideLayout+xml"/>
  <Override PartName="/ppt/slideLayouts/slideLayout31.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12.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11.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6.xml" ContentType="application/vnd.openxmlformats-officedocument.presentationml.slideLayout+xml"/>
  <Override PartName="/ppt/slideLayouts/slideLayout33.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45.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28.xml" ContentType="application/vnd.openxmlformats-officedocument.presentationml.slideLayout+xml"/>
  <Override PartName="/ppt/slideLayouts/slideLayout15.xml" ContentType="application/vnd.openxmlformats-officedocument.presentationml.slideLayout+xml"/>
  <Override PartName="/ppt/slideLayouts/slideLayout27.xml" ContentType="application/vnd.openxmlformats-officedocument.presentationml.slideLayout+xml"/>
  <Override PartName="/ppt/slideLayouts/slideLayout69.xml" ContentType="application/vnd.openxmlformats-officedocument.presentationml.slideLayout+xml"/>
  <Override PartName="/ppt/slideMasters/slideMaster17.xml" ContentType="application/vnd.openxmlformats-officedocument.presentationml.slideMaster+xml"/>
  <Override PartName="/ppt/slideLayouts/slideLayout68.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Layouts/slideLayout71.xml" ContentType="application/vnd.openxmlformats-officedocument.presentationml.slideLayout+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Layouts/slideLayout70.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16.xml" ContentType="application/vnd.openxmlformats-officedocument.presentationml.slideLayout+xml"/>
  <Override PartName="/ppt/slideLayouts/slideLayout23.xml" ContentType="application/vnd.openxmlformats-officedocument.presentationml.slideLayout+xml"/>
  <Override PartName="/ppt/slideLayouts/slideLayout61.xml" ContentType="application/vnd.openxmlformats-officedocument.presentationml.slideLayout+xml"/>
  <Override PartName="/ppt/slideLayouts/slideLayout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4.xml" ContentType="application/vnd.openxmlformats-officedocument.presentationml.slideLayout+xml"/>
  <Override PartName="/ppt/slideLayouts/slideLayout34.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22.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64.xml" ContentType="application/vnd.openxmlformats-officedocument.presentationml.slideLayout+xml"/>
  <Override PartName="/ppt/theme/theme10.xml" ContentType="application/vnd.openxmlformats-officedocument.theme+xml"/>
  <Override PartName="/ppt/theme/theme24.xml" ContentType="application/vnd.openxmlformats-officedocument.theme+xml"/>
  <Override PartName="/ppt/theme/theme9.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4.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11.xml" ContentType="application/vnd.openxmlformats-officedocument.theme+xml"/>
  <Override PartName="/ppt/theme/theme22.xml" ContentType="application/vnd.openxmlformats-officedocument.theme+xml"/>
  <Override PartName="/ppt/theme/theme25.xml" ContentType="application/vnd.openxmlformats-officedocument.theme+xml"/>
  <Override PartName="/ppt/theme/theme23.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8.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19.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xml" ContentType="application/vnd.openxmlformats-officedocument.presentationml.tags+xml"/>
  <Override PartName="/ppt/tags/tag1.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2" r:id="rId1"/>
    <p:sldMasterId id="2147483785" r:id="rId2"/>
    <p:sldMasterId id="2147483796" r:id="rId3"/>
    <p:sldMasterId id="2147483799" r:id="rId4"/>
    <p:sldMasterId id="2147483802" r:id="rId5"/>
    <p:sldMasterId id="2147483805" r:id="rId6"/>
    <p:sldMasterId id="2147483808" r:id="rId7"/>
    <p:sldMasterId id="2147483811" r:id="rId8"/>
    <p:sldMasterId id="2147483814" r:id="rId9"/>
    <p:sldMasterId id="2147483824" r:id="rId10"/>
    <p:sldMasterId id="2147483836" r:id="rId11"/>
    <p:sldMasterId id="2147483843" r:id="rId12"/>
    <p:sldMasterId id="2147483845" r:id="rId13"/>
    <p:sldMasterId id="2147483852" r:id="rId14"/>
    <p:sldMasterId id="2147483859" r:id="rId15"/>
    <p:sldMasterId id="2147483866" r:id="rId16"/>
    <p:sldMasterId id="2147483873" r:id="rId17"/>
    <p:sldMasterId id="2147483880" r:id="rId18"/>
    <p:sldMasterId id="2147483890" r:id="rId19"/>
    <p:sldMasterId id="2147483893" r:id="rId20"/>
    <p:sldMasterId id="2147483900" r:id="rId21"/>
    <p:sldMasterId id="2147483907" r:id="rId22"/>
    <p:sldMasterId id="2147483914" r:id="rId23"/>
    <p:sldMasterId id="2147483921" r:id="rId24"/>
    <p:sldMasterId id="2147483926" r:id="rId25"/>
    <p:sldMasterId id="2147483934" r:id="rId26"/>
  </p:sldMasterIdLst>
  <p:notesMasterIdLst>
    <p:notesMasterId r:id="rId40"/>
  </p:notesMasterIdLst>
  <p:handoutMasterIdLst>
    <p:handoutMasterId r:id="rId41"/>
  </p:handoutMasterIdLst>
  <p:sldIdLst>
    <p:sldId id="494" r:id="rId27"/>
    <p:sldId id="558" r:id="rId28"/>
    <p:sldId id="559" r:id="rId29"/>
    <p:sldId id="557" r:id="rId30"/>
    <p:sldId id="510" r:id="rId31"/>
    <p:sldId id="517" r:id="rId32"/>
    <p:sldId id="535" r:id="rId33"/>
    <p:sldId id="532" r:id="rId34"/>
    <p:sldId id="528" r:id="rId35"/>
    <p:sldId id="554" r:id="rId36"/>
    <p:sldId id="508" r:id="rId37"/>
    <p:sldId id="556" r:id="rId38"/>
    <p:sldId id="522" r:id="rId39"/>
  </p:sldIdLst>
  <p:sldSz cx="9145588" cy="6859588"/>
  <p:notesSz cx="6805613" cy="9939338"/>
  <p:defaultTextStyle>
    <a:defPPr>
      <a:defRPr lang="zh-CN"/>
    </a:defPPr>
    <a:lvl1pPr algn="l" rtl="0" fontAlgn="base">
      <a:spcBef>
        <a:spcPct val="0"/>
      </a:spcBef>
      <a:spcAft>
        <a:spcPct val="0"/>
      </a:spcAft>
      <a:defRPr kern="1200">
        <a:solidFill>
          <a:schemeClr val="tx1"/>
        </a:solidFill>
        <a:latin typeface="Calibri" pitchFamily="34" charset="0"/>
        <a:ea typeface="宋体" pitchFamily="2" charset="-122"/>
        <a:cs typeface="+mn-cs"/>
      </a:defRPr>
    </a:lvl1pPr>
    <a:lvl2pPr marL="609722" algn="l" rtl="0" fontAlgn="base">
      <a:spcBef>
        <a:spcPct val="0"/>
      </a:spcBef>
      <a:spcAft>
        <a:spcPct val="0"/>
      </a:spcAft>
      <a:defRPr kern="1200">
        <a:solidFill>
          <a:schemeClr val="tx1"/>
        </a:solidFill>
        <a:latin typeface="Calibri" pitchFamily="34" charset="0"/>
        <a:ea typeface="宋体" pitchFamily="2" charset="-122"/>
        <a:cs typeface="+mn-cs"/>
      </a:defRPr>
    </a:lvl2pPr>
    <a:lvl3pPr marL="1219444" algn="l" rtl="0" fontAlgn="base">
      <a:spcBef>
        <a:spcPct val="0"/>
      </a:spcBef>
      <a:spcAft>
        <a:spcPct val="0"/>
      </a:spcAft>
      <a:defRPr kern="1200">
        <a:solidFill>
          <a:schemeClr val="tx1"/>
        </a:solidFill>
        <a:latin typeface="Calibri" pitchFamily="34" charset="0"/>
        <a:ea typeface="宋体" pitchFamily="2" charset="-122"/>
        <a:cs typeface="+mn-cs"/>
      </a:defRPr>
    </a:lvl3pPr>
    <a:lvl4pPr marL="1829166" algn="l" rtl="0" fontAlgn="base">
      <a:spcBef>
        <a:spcPct val="0"/>
      </a:spcBef>
      <a:spcAft>
        <a:spcPct val="0"/>
      </a:spcAft>
      <a:defRPr kern="1200">
        <a:solidFill>
          <a:schemeClr val="tx1"/>
        </a:solidFill>
        <a:latin typeface="Calibri" pitchFamily="34" charset="0"/>
        <a:ea typeface="宋体" pitchFamily="2" charset="-122"/>
        <a:cs typeface="+mn-cs"/>
      </a:defRPr>
    </a:lvl4pPr>
    <a:lvl5pPr marL="2438888" algn="l" rtl="0" fontAlgn="base">
      <a:spcBef>
        <a:spcPct val="0"/>
      </a:spcBef>
      <a:spcAft>
        <a:spcPct val="0"/>
      </a:spcAft>
      <a:defRPr kern="1200">
        <a:solidFill>
          <a:schemeClr val="tx1"/>
        </a:solidFill>
        <a:latin typeface="Calibri" pitchFamily="34" charset="0"/>
        <a:ea typeface="宋体" pitchFamily="2" charset="-122"/>
        <a:cs typeface="+mn-cs"/>
      </a:defRPr>
    </a:lvl5pPr>
    <a:lvl6pPr marL="3048610" algn="l" defTabSz="1219444" rtl="0" eaLnBrk="1" latinLnBrk="0" hangingPunct="1">
      <a:defRPr kern="1200">
        <a:solidFill>
          <a:schemeClr val="tx1"/>
        </a:solidFill>
        <a:latin typeface="Calibri" pitchFamily="34" charset="0"/>
        <a:ea typeface="宋体" pitchFamily="2" charset="-122"/>
        <a:cs typeface="+mn-cs"/>
      </a:defRPr>
    </a:lvl6pPr>
    <a:lvl7pPr marL="3658332" algn="l" defTabSz="1219444" rtl="0" eaLnBrk="1" latinLnBrk="0" hangingPunct="1">
      <a:defRPr kern="1200">
        <a:solidFill>
          <a:schemeClr val="tx1"/>
        </a:solidFill>
        <a:latin typeface="Calibri" pitchFamily="34" charset="0"/>
        <a:ea typeface="宋体" pitchFamily="2" charset="-122"/>
        <a:cs typeface="+mn-cs"/>
      </a:defRPr>
    </a:lvl7pPr>
    <a:lvl8pPr marL="4268053" algn="l" defTabSz="1219444" rtl="0" eaLnBrk="1" latinLnBrk="0" hangingPunct="1">
      <a:defRPr kern="1200">
        <a:solidFill>
          <a:schemeClr val="tx1"/>
        </a:solidFill>
        <a:latin typeface="Calibri" pitchFamily="34" charset="0"/>
        <a:ea typeface="宋体" pitchFamily="2" charset="-122"/>
        <a:cs typeface="+mn-cs"/>
      </a:defRPr>
    </a:lvl8pPr>
    <a:lvl9pPr marL="4877775" algn="l" defTabSz="1219444" rtl="0" eaLnBrk="1" latinLnBrk="0" hangingPunct="1">
      <a:defRPr kern="1200">
        <a:solidFill>
          <a:schemeClr val="tx1"/>
        </a:solidFill>
        <a:latin typeface="Calibri" pitchFamily="34" charset="0"/>
        <a:ea typeface="宋体" pitchFamily="2" charset="-122"/>
        <a:cs typeface="+mn-cs"/>
      </a:defRPr>
    </a:lvl9pPr>
  </p:defaultTextStyle>
  <p:extLst>
    <p:ext uri="{EFAFB233-063F-42B5-8137-9DF3F51BA10A}">
      <p15:sldGuideLst xmlns:p15="http://schemas.microsoft.com/office/powerpoint/2012/main">
        <p15:guide id="1" orient="horz" pos="436" userDrawn="1">
          <p15:clr>
            <a:srgbClr val="A4A3A4"/>
          </p15:clr>
        </p15:guide>
        <p15:guide id="2" orient="horz" pos="619" userDrawn="1">
          <p15:clr>
            <a:srgbClr val="A4A3A4"/>
          </p15:clr>
        </p15:guide>
        <p15:guide id="3" orient="horz" pos="936" userDrawn="1">
          <p15:clr>
            <a:srgbClr val="A4A3A4"/>
          </p15:clr>
        </p15:guide>
        <p15:guide id="4" orient="horz" pos="3612" userDrawn="1">
          <p15:clr>
            <a:srgbClr val="A4A3A4"/>
          </p15:clr>
        </p15:guide>
        <p15:guide id="5" orient="horz" pos="4021" userDrawn="1">
          <p15:clr>
            <a:srgbClr val="A4A3A4"/>
          </p15:clr>
        </p15:guide>
        <p15:guide id="6" pos="3492" userDrawn="1">
          <p15:clr>
            <a:srgbClr val="A4A3A4"/>
          </p15:clr>
        </p15:guide>
        <p15:guide id="7" pos="1282" userDrawn="1">
          <p15:clr>
            <a:srgbClr val="A4A3A4"/>
          </p15:clr>
        </p15:guide>
        <p15:guide id="8" orient="horz" pos="4020" userDrawn="1">
          <p15:clr>
            <a:srgbClr val="A4A3A4"/>
          </p15:clr>
        </p15:guide>
        <p15:guide id="9" pos="2881" userDrawn="1">
          <p15:clr>
            <a:srgbClr val="A4A3A4"/>
          </p15:clr>
        </p15:guide>
        <p15:guide id="10" pos="295" userDrawn="1">
          <p15:clr>
            <a:srgbClr val="A4A3A4"/>
          </p15:clr>
        </p15:guide>
        <p15:guide id="11" pos="5466"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2E4F71"/>
    <a:srgbClr val="2A3658"/>
    <a:srgbClr val="B2B2B2"/>
    <a:srgbClr val="111F44"/>
    <a:srgbClr val="133961"/>
    <a:srgbClr val="22426D"/>
    <a:srgbClr val="114C7C"/>
    <a:srgbClr val="00ABC7"/>
    <a:srgbClr val="0000FF"/>
    <a:srgbClr val="0E2B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47" autoAdjust="0"/>
    <p:restoredTop sz="79257" autoAdjust="0"/>
  </p:normalViewPr>
  <p:slideViewPr>
    <p:cSldViewPr showGuides="1">
      <p:cViewPr varScale="1">
        <p:scale>
          <a:sx n="68" d="100"/>
          <a:sy n="68" d="100"/>
        </p:scale>
        <p:origin x="1146" y="66"/>
      </p:cViewPr>
      <p:guideLst>
        <p:guide orient="horz" pos="436"/>
        <p:guide orient="horz" pos="619"/>
        <p:guide orient="horz" pos="936"/>
        <p:guide orient="horz" pos="3612"/>
        <p:guide orient="horz" pos="4021"/>
        <p:guide pos="3492"/>
        <p:guide pos="1282"/>
        <p:guide orient="horz" pos="4020"/>
        <p:guide pos="2881"/>
        <p:guide pos="295"/>
        <p:guide pos="5466"/>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49" d="100"/>
          <a:sy n="49" d="100"/>
        </p:scale>
        <p:origin x="-3048" y="-10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3.xml"/><Relationship Id="rId21" Type="http://schemas.openxmlformats.org/officeDocument/2006/relationships/slideMaster" Target="slideMasters/slideMaster21.xml"/><Relationship Id="rId34" Type="http://schemas.openxmlformats.org/officeDocument/2006/relationships/slide" Target="slides/slide8.xml"/><Relationship Id="rId42" Type="http://schemas.openxmlformats.org/officeDocument/2006/relationships/presProps" Target="presProps.xml"/><Relationship Id="rId47" Type="http://schemas.openxmlformats.org/officeDocument/2006/relationships/customXml" Target="../customXml/item2.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5.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viewProps" Target="viewProps.xml"/><Relationship Id="rId48" Type="http://schemas.openxmlformats.org/officeDocument/2006/relationships/customXml" Target="../customXml/item3.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customXml" Target="../customXml/item1.xml"/><Relationship Id="rId20" Type="http://schemas.openxmlformats.org/officeDocument/2006/relationships/slideMaster" Target="slideMasters/slideMaster20.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7330" name="Rectangle 2"/>
          <p:cNvSpPr>
            <a:spLocks noGrp="1" noChangeArrowheads="1"/>
          </p:cNvSpPr>
          <p:nvPr>
            <p:ph type="hdr" sz="quarter"/>
          </p:nvPr>
        </p:nvSpPr>
        <p:spPr bwMode="auto">
          <a:xfrm>
            <a:off x="0" y="0"/>
            <a:ext cx="2949099" cy="496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0" hangingPunct="0">
              <a:defRPr sz="1200">
                <a:ea typeface="宋体" pitchFamily="2" charset="-122"/>
              </a:defRPr>
            </a:lvl1pPr>
          </a:lstStyle>
          <a:p>
            <a:pPr>
              <a:defRPr/>
            </a:pPr>
            <a:endParaRPr lang="zh-CN" altLang="en-US"/>
          </a:p>
        </p:txBody>
      </p:sp>
      <p:sp>
        <p:nvSpPr>
          <p:cNvPr id="227331" name="Rectangle 3"/>
          <p:cNvSpPr>
            <a:spLocks noGrp="1" noChangeArrowheads="1"/>
          </p:cNvSpPr>
          <p:nvPr>
            <p:ph type="dt" sz="quarter" idx="1"/>
          </p:nvPr>
        </p:nvSpPr>
        <p:spPr bwMode="auto">
          <a:xfrm>
            <a:off x="3854939" y="0"/>
            <a:ext cx="2949099" cy="496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0" hangingPunct="0">
              <a:defRPr sz="1200">
                <a:ea typeface="宋体" pitchFamily="2" charset="-122"/>
              </a:defRPr>
            </a:lvl1pPr>
          </a:lstStyle>
          <a:p>
            <a:pPr>
              <a:defRPr/>
            </a:pPr>
            <a:fld id="{FD6B2986-D06E-4F3C-B19C-CC0A0E2B9416}" type="datetimeFigureOut">
              <a:rPr lang="zh-CN" altLang="en-US"/>
              <a:pPr>
                <a:defRPr/>
              </a:pPr>
              <a:t>2017/4/5</a:t>
            </a:fld>
            <a:endParaRPr lang="en-US" altLang="zh-CN"/>
          </a:p>
        </p:txBody>
      </p:sp>
      <p:sp>
        <p:nvSpPr>
          <p:cNvPr id="227332" name="Rectangle 4"/>
          <p:cNvSpPr>
            <a:spLocks noGrp="1" noChangeArrowheads="1"/>
          </p:cNvSpPr>
          <p:nvPr>
            <p:ph type="ftr" sz="quarter" idx="2"/>
          </p:nvPr>
        </p:nvSpPr>
        <p:spPr bwMode="auto">
          <a:xfrm>
            <a:off x="0" y="9440646"/>
            <a:ext cx="2949099" cy="496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0" hangingPunct="0">
              <a:defRPr sz="1200">
                <a:ea typeface="宋体" pitchFamily="2" charset="-122"/>
              </a:defRPr>
            </a:lvl1pPr>
          </a:lstStyle>
          <a:p>
            <a:pPr>
              <a:defRPr/>
            </a:pPr>
            <a:endParaRPr lang="en-US" altLang="zh-CN"/>
          </a:p>
        </p:txBody>
      </p:sp>
      <p:sp>
        <p:nvSpPr>
          <p:cNvPr id="227333" name="Rectangle 5"/>
          <p:cNvSpPr>
            <a:spLocks noGrp="1" noChangeArrowheads="1"/>
          </p:cNvSpPr>
          <p:nvPr>
            <p:ph type="sldNum" sz="quarter" idx="3"/>
          </p:nvPr>
        </p:nvSpPr>
        <p:spPr bwMode="auto">
          <a:xfrm>
            <a:off x="3854939" y="9440646"/>
            <a:ext cx="2949099" cy="496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0" hangingPunct="0">
              <a:defRPr sz="1200">
                <a:ea typeface="宋体" pitchFamily="2" charset="-122"/>
              </a:defRPr>
            </a:lvl1pPr>
          </a:lstStyle>
          <a:p>
            <a:pPr>
              <a:defRPr/>
            </a:pPr>
            <a:fld id="{4B569440-9C1A-4A13-B530-46C3A9E17375}" type="slidenum">
              <a:rPr lang="zh-CN" altLang="en-US"/>
              <a:pPr>
                <a:defRPr/>
              </a:pPr>
              <a:t>‹Nº›</a:t>
            </a:fld>
            <a:endParaRPr lang="en-US" altLang="zh-CN"/>
          </a:p>
        </p:txBody>
      </p:sp>
    </p:spTree>
    <p:extLst>
      <p:ext uri="{BB962C8B-B14F-4D97-AF65-F5344CB8AC3E}">
        <p14:creationId xmlns:p14="http://schemas.microsoft.com/office/powerpoint/2010/main" val="94173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4450" y="0"/>
            <a:ext cx="2949575" cy="496888"/>
          </a:xfrm>
          <a:prstGeom prst="rect">
            <a:avLst/>
          </a:prstGeom>
        </p:spPr>
        <p:txBody>
          <a:bodyPr vert="horz" lIns="91440" tIns="45720" rIns="91440" bIns="45720" rtlCol="0"/>
          <a:lstStyle>
            <a:lvl1pPr algn="r">
              <a:defRPr sz="1200"/>
            </a:lvl1pPr>
          </a:lstStyle>
          <a:p>
            <a:fld id="{6BF61EFD-CAF4-4F02-BC41-B8651465CF1C}" type="datetimeFigureOut">
              <a:rPr lang="zh-CN" altLang="en-US" smtClean="0"/>
              <a:pPr/>
              <a:t>2017/4/5</a:t>
            </a:fld>
            <a:endParaRPr lang="zh-CN" altLang="en-US"/>
          </a:p>
        </p:txBody>
      </p:sp>
      <p:sp>
        <p:nvSpPr>
          <p:cNvPr id="4" name="幻灯片图像占位符 3"/>
          <p:cNvSpPr>
            <a:spLocks noGrp="1" noRot="1" noChangeAspect="1"/>
          </p:cNvSpPr>
          <p:nvPr>
            <p:ph type="sldImg" idx="2"/>
          </p:nvPr>
        </p:nvSpPr>
        <p:spPr>
          <a:xfrm>
            <a:off x="919163" y="746125"/>
            <a:ext cx="4968875" cy="3725863"/>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1038" y="4721225"/>
            <a:ext cx="5443537" cy="447198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40863"/>
            <a:ext cx="2949575" cy="4968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4450" y="9440863"/>
            <a:ext cx="2949575" cy="496887"/>
          </a:xfrm>
          <a:prstGeom prst="rect">
            <a:avLst/>
          </a:prstGeom>
        </p:spPr>
        <p:txBody>
          <a:bodyPr vert="horz" lIns="91440" tIns="45720" rIns="91440" bIns="45720" rtlCol="0" anchor="b"/>
          <a:lstStyle>
            <a:lvl1pPr algn="r">
              <a:defRPr sz="1200"/>
            </a:lvl1pPr>
          </a:lstStyle>
          <a:p>
            <a:fld id="{D3D50472-0C33-4822-8210-F2C245B723BF}" type="slidenum">
              <a:rPr lang="zh-CN" altLang="en-US" smtClean="0"/>
              <a:pPr/>
              <a:t>‹Nº›</a:t>
            </a:fld>
            <a:endParaRPr lang="zh-CN" altLang="en-US"/>
          </a:p>
        </p:txBody>
      </p:sp>
    </p:spTree>
    <p:extLst>
      <p:ext uri="{BB962C8B-B14F-4D97-AF65-F5344CB8AC3E}">
        <p14:creationId xmlns:p14="http://schemas.microsoft.com/office/powerpoint/2010/main" val="11942093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50000"/>
              </a:lnSpc>
              <a:spcBef>
                <a:spcPts val="0"/>
              </a:spcBef>
              <a:spcAft>
                <a:spcPts val="0"/>
              </a:spcAft>
              <a:buClrTx/>
              <a:buSzTx/>
              <a:buFontTx/>
              <a:buNone/>
              <a:tabLst/>
              <a:defRPr/>
            </a:pPr>
            <a:r>
              <a:rPr lang="en-US" altLang="zh-CN" sz="1200" kern="1200" dirty="0" smtClean="0">
                <a:solidFill>
                  <a:schemeClr val="tx1"/>
                </a:solidFill>
                <a:latin typeface="+mn-lt"/>
                <a:ea typeface="+mn-ea"/>
                <a:cs typeface="+mn-cs"/>
              </a:rPr>
              <a:t>Today, the theme we are talking about is the energy saving and smart city, in my opinion, one most important technology to support smart city is telecommunication technology, and the physical fundament is to build a better connected world.</a:t>
            </a:r>
            <a:endParaRPr lang="zh-CN" altLang="zh-CN" sz="1200" kern="1200" dirty="0" smtClean="0">
              <a:solidFill>
                <a:schemeClr val="tx1"/>
              </a:solidFill>
              <a:latin typeface="+mn-lt"/>
              <a:ea typeface="+mn-ea"/>
              <a:cs typeface="+mn-cs"/>
            </a:endParaRPr>
          </a:p>
          <a:p>
            <a:pPr marL="0" marR="0" indent="0" algn="l" defTabSz="914400" rtl="0" eaLnBrk="1" fontAlgn="auto" latinLnBrk="0" hangingPunct="1">
              <a:lnSpc>
                <a:spcPct val="15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B1281FCC-80AD-4E79-AC69-832234FC72DA}" type="slidenum">
              <a:rPr lang="zh-CN" altLang="en-US" smtClean="0">
                <a:solidFill>
                  <a:prstClr val="black"/>
                </a:solidFill>
              </a:rPr>
              <a:pPr/>
              <a:t>1</a:t>
            </a:fld>
            <a:endParaRPr lang="zh-CN" altLang="en-US">
              <a:solidFill>
                <a:prstClr val="black"/>
              </a:solidFill>
            </a:endParaRPr>
          </a:p>
        </p:txBody>
      </p:sp>
    </p:spTree>
    <p:extLst>
      <p:ext uri="{BB962C8B-B14F-4D97-AF65-F5344CB8AC3E}">
        <p14:creationId xmlns:p14="http://schemas.microsoft.com/office/powerpoint/2010/main" val="2819750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35872CB-53A3-44C5-80D6-8B4A8F1AEE5E}" type="slidenum">
              <a:rPr lang="zh-CN" altLang="en-US">
                <a:solidFill>
                  <a:prstClr val="white"/>
                </a:solidFill>
              </a:rPr>
              <a:pPr/>
              <a:t>12</a:t>
            </a:fld>
            <a:endParaRPr lang="en-US" altLang="zh-CN">
              <a:solidFill>
                <a:prstClr val="white"/>
              </a:solidFill>
            </a:endParaRPr>
          </a:p>
        </p:txBody>
      </p:sp>
      <p:sp>
        <p:nvSpPr>
          <p:cNvPr id="394242" name="Rectangle 2"/>
          <p:cNvSpPr>
            <a:spLocks noGrp="1" noRot="1" noChangeAspect="1" noChangeArrowheads="1" noTextEdit="1"/>
          </p:cNvSpPr>
          <p:nvPr>
            <p:ph type="sldImg"/>
          </p:nvPr>
        </p:nvSpPr>
        <p:spPr>
          <a:xfrm>
            <a:off x="919163" y="746125"/>
            <a:ext cx="4968875" cy="3725863"/>
          </a:xfrm>
          <a:ln/>
        </p:spPr>
      </p:sp>
      <p:sp>
        <p:nvSpPr>
          <p:cNvPr id="394243" name="Rectangle 3"/>
          <p:cNvSpPr>
            <a:spLocks noGrp="1" noChangeArrowheads="1"/>
          </p:cNvSpPr>
          <p:nvPr>
            <p:ph type="body" idx="1"/>
          </p:nvPr>
        </p:nvSpPr>
        <p:spPr>
          <a:xfrm>
            <a:off x="680562" y="4721187"/>
            <a:ext cx="5444490" cy="4472702"/>
          </a:xfrm>
        </p:spPr>
        <p:txBody>
          <a:bodyPr/>
          <a:lstStyle/>
          <a:p>
            <a:endParaRPr lang="zh-CN" altLang="en-US"/>
          </a:p>
        </p:txBody>
      </p:sp>
    </p:spTree>
    <p:extLst>
      <p:ext uri="{BB962C8B-B14F-4D97-AF65-F5344CB8AC3E}">
        <p14:creationId xmlns:p14="http://schemas.microsoft.com/office/powerpoint/2010/main" val="67085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normAutofit/>
          </a:bodyPr>
          <a:lstStyle/>
          <a:p>
            <a:r>
              <a:rPr lang="en-US" altLang="zh-CN" sz="1200" kern="1200" dirty="0" smtClean="0">
                <a:solidFill>
                  <a:schemeClr val="tx1"/>
                </a:solidFill>
                <a:latin typeface="+mn-lt"/>
                <a:ea typeface="+mn-ea"/>
                <a:cs typeface="+mn-cs"/>
              </a:rPr>
              <a:t>Twenty nine years ago, </a:t>
            </a:r>
            <a:r>
              <a:rPr lang="en-US" altLang="zh-CN" sz="1200" kern="1200" dirty="0" err="1" smtClean="0">
                <a:solidFill>
                  <a:schemeClr val="tx1"/>
                </a:solidFill>
                <a:latin typeface="+mn-lt"/>
                <a:ea typeface="+mn-ea"/>
                <a:cs typeface="+mn-cs"/>
              </a:rPr>
              <a:t>Huawei’s</a:t>
            </a:r>
            <a:r>
              <a:rPr lang="en-US" altLang="zh-CN" sz="1200" kern="1200" dirty="0" smtClean="0">
                <a:solidFill>
                  <a:schemeClr val="tx1"/>
                </a:solidFill>
                <a:latin typeface="+mn-lt"/>
                <a:ea typeface="+mn-ea"/>
                <a:cs typeface="+mn-cs"/>
              </a:rPr>
              <a:t> vision is to enrich people's lives through communication. Together with global operators, we have helped hundreds of countries to bridge the digital divide and have given billions of people the opportunity to join the information age, regardless of their geographic region. </a:t>
            </a:r>
            <a:endParaRPr lang="zh-CN" altLang="zh-CN" sz="1200" kern="1200" dirty="0" smtClean="0">
              <a:solidFill>
                <a:schemeClr val="tx1"/>
              </a:solidFill>
              <a:latin typeface="+mn-lt"/>
              <a:ea typeface="+mn-ea"/>
              <a:cs typeface="+mn-cs"/>
            </a:endParaRPr>
          </a:p>
          <a:p>
            <a:r>
              <a:rPr lang="en-US" altLang="zh-CN" sz="1200" kern="1200" dirty="0" smtClean="0">
                <a:solidFill>
                  <a:schemeClr val="tx1"/>
                </a:solidFill>
                <a:latin typeface="+mn-lt"/>
                <a:ea typeface="+mn-ea"/>
                <a:cs typeface="+mn-cs"/>
              </a:rPr>
              <a:t>And in recent years, we can see lots of connection demand from the vertical industry, we see the massive IOT, IOP,IOS, like the internet of things, internet of people, internet of society, internet of community, internet of neighbor, and we see a lot of kinds of these words spreading around the world. So there will be more and more connection between people, between people and things, between machines, and also we need more and more ultra reliable and lower latency communications because our communication services no matter based on the IOT or based on the all IP network, that will carry on more and more mission critical services like the internet surgery for the hospital, like the automatic driven cars, like the automatic navigated ships. So the latency and reliability is getting more and more critical.</a:t>
            </a:r>
            <a:endParaRPr lang="zh-CN" altLang="zh-CN" sz="1200" kern="1200" dirty="0" smtClean="0">
              <a:solidFill>
                <a:schemeClr val="tx1"/>
              </a:solidFill>
              <a:latin typeface="+mn-lt"/>
              <a:ea typeface="+mn-ea"/>
              <a:cs typeface="+mn-cs"/>
            </a:endParaRPr>
          </a:p>
          <a:p>
            <a:r>
              <a:rPr lang="en-US" altLang="zh-CN" sz="1200" kern="1200" dirty="0" smtClean="0">
                <a:solidFill>
                  <a:schemeClr val="tx1"/>
                </a:solidFill>
                <a:latin typeface="+mn-lt"/>
                <a:ea typeface="+mn-ea"/>
                <a:cs typeface="+mn-cs"/>
              </a:rPr>
              <a:t>Three years ago, Huawei showcased its new vision of “Building a Better Connected World”, at the ITU Telecom World 2014 in Doha, outlining a more convenient and smarter lifestyle featuring futuristic 5G connectivity technologies, ubiquitous broadband connectivity, and connected smart cities and smart homes.</a:t>
            </a:r>
            <a:endParaRPr lang="zh-CN" altLang="zh-CN" sz="1200" kern="1200" dirty="0">
              <a:solidFill>
                <a:schemeClr val="tx1"/>
              </a:solidFill>
              <a:latin typeface="+mn-lt"/>
              <a:ea typeface="+mn-ea"/>
              <a:cs typeface="+mn-cs"/>
            </a:endParaRPr>
          </a:p>
        </p:txBody>
      </p:sp>
      <p:sp>
        <p:nvSpPr>
          <p:cNvPr id="4" name="灯片编号占位符 3"/>
          <p:cNvSpPr>
            <a:spLocks noGrp="1"/>
          </p:cNvSpPr>
          <p:nvPr>
            <p:ph type="sldNum" sz="quarter" idx="10"/>
          </p:nvPr>
        </p:nvSpPr>
        <p:spPr/>
        <p:txBody>
          <a:bodyPr/>
          <a:lstStyle/>
          <a:p>
            <a:fld id="{2F8BAA25-472E-4EC8-8EA2-6D2DEE5509F0}" type="slidenum">
              <a:rPr lang="zh-CN" altLang="en-US" smtClean="0"/>
              <a:pPr/>
              <a:t>4</a:t>
            </a:fld>
            <a:endParaRPr lang="zh-CN" altLang="en-US"/>
          </a:p>
        </p:txBody>
      </p:sp>
    </p:spTree>
    <p:extLst>
      <p:ext uri="{BB962C8B-B14F-4D97-AF65-F5344CB8AC3E}">
        <p14:creationId xmlns:p14="http://schemas.microsoft.com/office/powerpoint/2010/main" val="235065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normAutofit/>
          </a:bodyPr>
          <a:lstStyle/>
          <a:p>
            <a:r>
              <a:rPr lang="en-US" altLang="zh-CN" sz="1200" kern="1200" dirty="0" smtClean="0">
                <a:solidFill>
                  <a:schemeClr val="tx1"/>
                </a:solidFill>
                <a:latin typeface="+mn-lt"/>
                <a:ea typeface="+mn-ea"/>
                <a:cs typeface="+mn-cs"/>
              </a:rPr>
              <a:t>In the expected future, more and more people, more and more devices will be connected in network. More and more enterprise will implement transformation of digitization. This means, the wireless network construction will speed up, because the bandwidth for connection will dramatically increase. So the wireless cell site will getting closer to the end user, more and more micro cells need to be deployed, including the small cells, </a:t>
            </a:r>
            <a:r>
              <a:rPr lang="en-US" altLang="zh-CN" sz="1200" kern="1200" dirty="0" err="1" smtClean="0">
                <a:solidFill>
                  <a:schemeClr val="tx1"/>
                </a:solidFill>
                <a:latin typeface="+mn-lt"/>
                <a:ea typeface="+mn-ea"/>
                <a:cs typeface="+mn-cs"/>
              </a:rPr>
              <a:t>femeto</a:t>
            </a:r>
            <a:r>
              <a:rPr lang="en-US" altLang="zh-CN" sz="1200" kern="1200" dirty="0" smtClean="0">
                <a:solidFill>
                  <a:schemeClr val="tx1"/>
                </a:solidFill>
                <a:latin typeface="+mn-lt"/>
                <a:ea typeface="+mn-ea"/>
                <a:cs typeface="+mn-cs"/>
              </a:rPr>
              <a:t>, </a:t>
            </a:r>
            <a:r>
              <a:rPr lang="en-US" altLang="zh-CN" sz="1200" kern="1200" dirty="0" err="1" smtClean="0">
                <a:solidFill>
                  <a:schemeClr val="tx1"/>
                </a:solidFill>
                <a:latin typeface="+mn-lt"/>
                <a:ea typeface="+mn-ea"/>
                <a:cs typeface="+mn-cs"/>
              </a:rPr>
              <a:t>wifi</a:t>
            </a:r>
            <a:r>
              <a:rPr lang="en-US" altLang="zh-CN" sz="1200" kern="1200" dirty="0" smtClean="0">
                <a:solidFill>
                  <a:schemeClr val="tx1"/>
                </a:solidFill>
                <a:latin typeface="+mn-lt"/>
                <a:ea typeface="+mn-ea"/>
                <a:cs typeface="+mn-cs"/>
              </a:rPr>
              <a:t> </a:t>
            </a:r>
            <a:r>
              <a:rPr lang="en-US" altLang="zh-CN" sz="1200" kern="1200" dirty="0" err="1" smtClean="0">
                <a:solidFill>
                  <a:schemeClr val="tx1"/>
                </a:solidFill>
                <a:latin typeface="+mn-lt"/>
                <a:ea typeface="+mn-ea"/>
                <a:cs typeface="+mn-cs"/>
              </a:rPr>
              <a:t>ap</a:t>
            </a:r>
            <a:r>
              <a:rPr lang="en-US" altLang="zh-CN" sz="1200" kern="1200" dirty="0" smtClean="0">
                <a:solidFill>
                  <a:schemeClr val="tx1"/>
                </a:solidFill>
                <a:latin typeface="+mn-lt"/>
                <a:ea typeface="+mn-ea"/>
                <a:cs typeface="+mn-cs"/>
              </a:rPr>
              <a:t>, etc. And at the same time, hundred thousands of racks of servers will be building in data centers to serve enterprises. </a:t>
            </a:r>
            <a:endParaRPr lang="zh-CN" altLang="zh-CN" sz="1200" kern="1200" dirty="0" smtClean="0">
              <a:solidFill>
                <a:schemeClr val="tx1"/>
              </a:solidFill>
              <a:latin typeface="+mn-lt"/>
              <a:ea typeface="+mn-ea"/>
              <a:cs typeface="+mn-cs"/>
            </a:endParaRPr>
          </a:p>
          <a:p>
            <a:r>
              <a:rPr lang="en-US" altLang="zh-CN" sz="1200" kern="1200" dirty="0" smtClean="0">
                <a:solidFill>
                  <a:schemeClr val="tx1"/>
                </a:solidFill>
                <a:latin typeface="+mn-lt"/>
                <a:ea typeface="+mn-ea"/>
                <a:cs typeface="+mn-cs"/>
              </a:rPr>
              <a:t>Because these demand of traffic huge growth, all the power consumption, the energy consumed will dramatically increased. We forecast ICT industry will be the top 3 energy consumption industry with 4-5 annual growth rates. If we don’t take action on that point, you know, the energy will cost us too much. To ensure long term sustainability, energy efficiency must be take good care of. </a:t>
            </a:r>
            <a:endParaRPr lang="zh-CN" altLang="en-US" dirty="0"/>
          </a:p>
        </p:txBody>
      </p:sp>
      <p:sp>
        <p:nvSpPr>
          <p:cNvPr id="4" name="灯片编号占位符 3"/>
          <p:cNvSpPr>
            <a:spLocks noGrp="1"/>
          </p:cNvSpPr>
          <p:nvPr>
            <p:ph type="sldNum" sz="quarter" idx="10"/>
          </p:nvPr>
        </p:nvSpPr>
        <p:spPr/>
        <p:txBody>
          <a:bodyPr/>
          <a:lstStyle/>
          <a:p>
            <a:fld id="{2F8BAA25-472E-4EC8-8EA2-6D2DEE5509F0}" type="slidenum">
              <a:rPr lang="zh-CN" altLang="en-US" smtClean="0"/>
              <a:pPr/>
              <a:t>5</a:t>
            </a:fld>
            <a:endParaRPr lang="zh-CN" altLang="en-US"/>
          </a:p>
        </p:txBody>
      </p:sp>
    </p:spTree>
    <p:extLst>
      <p:ext uri="{BB962C8B-B14F-4D97-AF65-F5344CB8AC3E}">
        <p14:creationId xmlns:p14="http://schemas.microsoft.com/office/powerpoint/2010/main" val="3390101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D3D50472-0C33-4822-8210-F2C245B723BF}" type="slidenum">
              <a:rPr lang="zh-CN" altLang="en-US" smtClean="0"/>
              <a:pPr/>
              <a:t>6</a:t>
            </a:fld>
            <a:endParaRPr lang="zh-CN" altLang="en-US"/>
          </a:p>
        </p:txBody>
      </p:sp>
    </p:spTree>
    <p:extLst>
      <p:ext uri="{BB962C8B-B14F-4D97-AF65-F5344CB8AC3E}">
        <p14:creationId xmlns:p14="http://schemas.microsoft.com/office/powerpoint/2010/main" val="514721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lstStyle/>
          <a:p>
            <a:r>
              <a:rPr lang="en-US" altLang="zh-CN" sz="1200" kern="1200" dirty="0" smtClean="0">
                <a:solidFill>
                  <a:schemeClr val="tx1"/>
                </a:solidFill>
                <a:latin typeface="+mn-lt"/>
                <a:ea typeface="+mn-ea"/>
                <a:cs typeface="+mn-cs"/>
              </a:rPr>
              <a:t>From the architecture part, information technology is getting converged with communication technology, the networks are becoming flattened, the ICT equipment is unifying hardware structures. With these technologies development, the distinguished change is equipment with higher density and higher efficiency. </a:t>
            </a:r>
            <a:endParaRPr lang="zh-CN" altLang="zh-CN" sz="1200" kern="1200" dirty="0">
              <a:solidFill>
                <a:schemeClr val="tx1"/>
              </a:solidFill>
              <a:latin typeface="+mn-lt"/>
              <a:ea typeface="+mn-ea"/>
              <a:cs typeface="+mn-cs"/>
            </a:endParaRPr>
          </a:p>
        </p:txBody>
      </p:sp>
      <p:sp>
        <p:nvSpPr>
          <p:cNvPr id="4" name="灯片编号占位符 3"/>
          <p:cNvSpPr>
            <a:spLocks noGrp="1"/>
          </p:cNvSpPr>
          <p:nvPr>
            <p:ph type="sldNum" sz="quarter" idx="10"/>
          </p:nvPr>
        </p:nvSpPr>
        <p:spPr/>
        <p:txBody>
          <a:bodyPr/>
          <a:lstStyle/>
          <a:p>
            <a:fld id="{D3D50472-0C33-4822-8210-F2C245B723BF}" type="slidenum">
              <a:rPr lang="zh-CN" altLang="en-US" smtClean="0"/>
              <a:pPr/>
              <a:t>7</a:t>
            </a:fld>
            <a:endParaRPr lang="zh-CN" altLang="en-US"/>
          </a:p>
        </p:txBody>
      </p:sp>
    </p:spTree>
    <p:extLst>
      <p:ext uri="{BB962C8B-B14F-4D97-AF65-F5344CB8AC3E}">
        <p14:creationId xmlns:p14="http://schemas.microsoft.com/office/powerpoint/2010/main" val="2968119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lstStyle/>
          <a:p>
            <a:r>
              <a:rPr lang="zh-CN" altLang="en-US" dirty="0" smtClean="0"/>
              <a:t>对于站点和机房，未来</a:t>
            </a:r>
            <a:r>
              <a:rPr lang="en-US" altLang="zh-CN" dirty="0" smtClean="0"/>
              <a:t>ICT</a:t>
            </a:r>
            <a:r>
              <a:rPr lang="zh-CN" altLang="en-US" dirty="0" smtClean="0"/>
              <a:t>网络供电架构是不一样的。</a:t>
            </a:r>
            <a:endParaRPr lang="en-US" altLang="zh-CN" dirty="0" smtClean="0"/>
          </a:p>
          <a:p>
            <a:r>
              <a:rPr lang="zh-CN" altLang="en-US" dirty="0" smtClean="0"/>
              <a:t>对于站点来说，负载功率不高，传统的</a:t>
            </a:r>
            <a:r>
              <a:rPr lang="en-US" altLang="zh-CN" dirty="0" smtClean="0"/>
              <a:t>48V</a:t>
            </a:r>
            <a:r>
              <a:rPr lang="zh-CN" altLang="en-US" dirty="0" smtClean="0"/>
              <a:t>供电能满足使用要求。由于站点电池容量不大，如果采用</a:t>
            </a:r>
            <a:r>
              <a:rPr lang="en-US" altLang="zh-CN" dirty="0" smtClean="0"/>
              <a:t>HVDC</a:t>
            </a:r>
            <a:r>
              <a:rPr lang="zh-CN" altLang="en-US" dirty="0" smtClean="0"/>
              <a:t>供电架构，意味着大量小容量电池串联，经济性和可靠性难以保障，因此不会也没有必要采用</a:t>
            </a:r>
            <a:r>
              <a:rPr lang="en-US" altLang="zh-CN" dirty="0" smtClean="0"/>
              <a:t>HVDC</a:t>
            </a:r>
            <a:r>
              <a:rPr lang="zh-CN" altLang="en-US" dirty="0" smtClean="0"/>
              <a:t>供电架构。由于未来小站还将倍增，站点越来越密集，则小站存在市电引电成本高、转供电电价高、本地备电维护难的问题（如需要业主同意才能进入维护），因此采用高压直流远供方式为小站供电成为重要的补充，宏站需要支持</a:t>
            </a:r>
            <a:r>
              <a:rPr lang="en-US" altLang="zh-CN" dirty="0" smtClean="0"/>
              <a:t>HVDC</a:t>
            </a:r>
            <a:r>
              <a:rPr lang="zh-CN" altLang="en-US" dirty="0" smtClean="0"/>
              <a:t>的柔性电源系统，实现小站统一供电和备电，节省引电成本，提高并拉齐备电时长，降低转供电费成本，提高站点可靠性。举例来说，一个</a:t>
            </a:r>
            <a:r>
              <a:rPr lang="en-US" altLang="zh-CN" dirty="0" smtClean="0"/>
              <a:t>600W</a:t>
            </a:r>
            <a:r>
              <a:rPr lang="zh-CN" altLang="en-US" dirty="0" smtClean="0"/>
              <a:t>的小站，一年耗电</a:t>
            </a:r>
            <a:r>
              <a:rPr lang="en-US" altLang="zh-CN" dirty="0" smtClean="0"/>
              <a:t>6000kWh</a:t>
            </a:r>
            <a:r>
              <a:rPr lang="zh-CN" altLang="en-US" dirty="0" smtClean="0"/>
              <a:t>左右，光电费节省就可能高达</a:t>
            </a:r>
            <a:r>
              <a:rPr lang="en-US" altLang="zh-CN" dirty="0" smtClean="0"/>
              <a:t>3000</a:t>
            </a:r>
            <a:r>
              <a:rPr lang="zh-CN" altLang="en-US" dirty="0" smtClean="0"/>
              <a:t>元一年（假定转供电电价比直供电贵</a:t>
            </a:r>
            <a:r>
              <a:rPr lang="en-US" altLang="zh-CN" dirty="0" smtClean="0"/>
              <a:t>0.5</a:t>
            </a:r>
            <a:r>
              <a:rPr lang="zh-CN" altLang="en-US" dirty="0" smtClean="0"/>
              <a:t>元</a:t>
            </a:r>
            <a:r>
              <a:rPr lang="en-US" altLang="zh-CN" dirty="0" smtClean="0"/>
              <a:t>/</a:t>
            </a:r>
            <a:r>
              <a:rPr lang="zh-CN" altLang="en-US" dirty="0" smtClean="0"/>
              <a:t>度）。</a:t>
            </a:r>
            <a:endParaRPr lang="en-US" altLang="zh-CN" dirty="0" smtClean="0"/>
          </a:p>
          <a:p>
            <a:r>
              <a:rPr lang="zh-CN" altLang="en-US" dirty="0" smtClean="0"/>
              <a:t>对于核心机房，未来的设备，将由</a:t>
            </a:r>
            <a:r>
              <a:rPr lang="en-US" altLang="zh-CN" dirty="0" smtClean="0"/>
              <a:t>HVDC</a:t>
            </a:r>
            <a:r>
              <a:rPr lang="zh-CN" altLang="en-US" dirty="0" smtClean="0"/>
              <a:t>系统统一供备电。未来的</a:t>
            </a:r>
            <a:r>
              <a:rPr lang="en-US" altLang="zh-CN" dirty="0" smtClean="0"/>
              <a:t>ICT</a:t>
            </a:r>
            <a:r>
              <a:rPr lang="zh-CN" altLang="en-US" dirty="0" smtClean="0"/>
              <a:t>主设备在一定时间段内仍会有两种供电制式：</a:t>
            </a:r>
            <a:r>
              <a:rPr lang="en-US" altLang="zh-CN" dirty="0" smtClean="0"/>
              <a:t>48V</a:t>
            </a:r>
            <a:r>
              <a:rPr lang="zh-CN" altLang="en-US" dirty="0" smtClean="0"/>
              <a:t>和</a:t>
            </a:r>
            <a:r>
              <a:rPr lang="en-US" altLang="zh-CN" dirty="0" smtClean="0"/>
              <a:t>HVDC</a:t>
            </a:r>
            <a:r>
              <a:rPr lang="zh-CN" altLang="en-US" dirty="0" smtClean="0"/>
              <a:t>，</a:t>
            </a:r>
            <a:r>
              <a:rPr lang="en-US" altLang="zh-CN" dirty="0" smtClean="0"/>
              <a:t>48V</a:t>
            </a:r>
            <a:r>
              <a:rPr lang="zh-CN" altLang="en-US" dirty="0" smtClean="0"/>
              <a:t>设备由</a:t>
            </a:r>
            <a:r>
              <a:rPr lang="en-US" altLang="zh-CN" dirty="0" smtClean="0"/>
              <a:t>HVDC/48V</a:t>
            </a:r>
            <a:r>
              <a:rPr lang="zh-CN" altLang="en-US" dirty="0" smtClean="0"/>
              <a:t>电源供电，</a:t>
            </a:r>
            <a:r>
              <a:rPr lang="en-US" altLang="zh-CN" dirty="0" smtClean="0"/>
              <a:t>HVDC</a:t>
            </a:r>
            <a:r>
              <a:rPr lang="zh-CN" altLang="en-US" dirty="0" smtClean="0"/>
              <a:t>设备由高压直流电源直接供电。对于不支持</a:t>
            </a:r>
            <a:r>
              <a:rPr lang="en-US" altLang="zh-CN" dirty="0" smtClean="0"/>
              <a:t>HVDC</a:t>
            </a:r>
            <a:r>
              <a:rPr lang="zh-CN" altLang="en-US" dirty="0" smtClean="0"/>
              <a:t>的存量交流负载，仍将采用模块化</a:t>
            </a:r>
            <a:r>
              <a:rPr lang="en-US" altLang="zh-CN" dirty="0" smtClean="0"/>
              <a:t>UPS</a:t>
            </a:r>
            <a:r>
              <a:rPr lang="zh-CN" altLang="en-US" dirty="0" smtClean="0"/>
              <a:t>供电。同样地，</a:t>
            </a:r>
            <a:r>
              <a:rPr lang="en-US" altLang="zh-CN" dirty="0" smtClean="0"/>
              <a:t>CO</a:t>
            </a:r>
            <a:r>
              <a:rPr lang="zh-CN" altLang="en-US" dirty="0" smtClean="0"/>
              <a:t>机房</a:t>
            </a:r>
            <a:r>
              <a:rPr lang="en-US" altLang="zh-CN" baseline="0" dirty="0" smtClean="0"/>
              <a:t>HVDC</a:t>
            </a:r>
            <a:r>
              <a:rPr lang="zh-CN" altLang="en-US" baseline="0" dirty="0" smtClean="0"/>
              <a:t>也可为周边小站通过高压直流实现统一供备电。</a:t>
            </a:r>
            <a:endParaRPr lang="en-US" altLang="zh-CN" dirty="0" smtClean="0"/>
          </a:p>
        </p:txBody>
      </p:sp>
      <p:sp>
        <p:nvSpPr>
          <p:cNvPr id="4" name="灯片编号占位符 3"/>
          <p:cNvSpPr>
            <a:spLocks noGrp="1"/>
          </p:cNvSpPr>
          <p:nvPr>
            <p:ph type="sldNum" sz="quarter" idx="10"/>
          </p:nvPr>
        </p:nvSpPr>
        <p:spPr/>
        <p:txBody>
          <a:bodyPr/>
          <a:lstStyle/>
          <a:p>
            <a:fld id="{D3D50472-0C33-4822-8210-F2C245B723BF}" type="slidenum">
              <a:rPr lang="zh-CN" altLang="en-US" smtClean="0"/>
              <a:pPr/>
              <a:t>8</a:t>
            </a:fld>
            <a:endParaRPr lang="zh-CN" altLang="en-US"/>
          </a:p>
        </p:txBody>
      </p:sp>
    </p:spTree>
    <p:extLst>
      <p:ext uri="{BB962C8B-B14F-4D97-AF65-F5344CB8AC3E}">
        <p14:creationId xmlns:p14="http://schemas.microsoft.com/office/powerpoint/2010/main" val="2946477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zh-CN" sz="1200" dirty="0" smtClean="0">
                <a:solidFill>
                  <a:schemeClr val="bg1"/>
                </a:solidFill>
              </a:rPr>
              <a:t>未来的电源一定是“智能”的，能够智能地适应各种环境、能够智能地适应各种负载、能够智能地适应各种客户化的需求。这种智能的电源，必定依托于强大的软件能力，所有的特性都可以被软件定义，所以，我们也可以把这种电源，称为“软件定义的电源”。（英国</a:t>
            </a:r>
            <a:r>
              <a:rPr lang="en-US" altLang="zh-CN" sz="1200" dirty="0" smtClean="0">
                <a:solidFill>
                  <a:schemeClr val="bg1"/>
                </a:solidFill>
              </a:rPr>
              <a:t>BT</a:t>
            </a:r>
            <a:r>
              <a:rPr lang="zh-CN" altLang="zh-CN" sz="1200" dirty="0" smtClean="0">
                <a:solidFill>
                  <a:schemeClr val="bg1"/>
                </a:solidFill>
              </a:rPr>
              <a:t>案例，软件占比很高，有软件</a:t>
            </a:r>
            <a:r>
              <a:rPr lang="en-US" altLang="zh-CN" sz="1200" dirty="0" smtClean="0">
                <a:solidFill>
                  <a:schemeClr val="bg1"/>
                </a:solidFill>
              </a:rPr>
              <a:t>BUG</a:t>
            </a:r>
            <a:r>
              <a:rPr lang="zh-CN" altLang="zh-CN" sz="1200" dirty="0" smtClean="0">
                <a:solidFill>
                  <a:schemeClr val="bg1"/>
                </a:solidFill>
              </a:rPr>
              <a:t>；整流器的软件规模相当于</a:t>
            </a:r>
            <a:r>
              <a:rPr lang="en-US" altLang="zh-CN" sz="1200" dirty="0" smtClean="0">
                <a:solidFill>
                  <a:schemeClr val="bg1"/>
                </a:solidFill>
              </a:rPr>
              <a:t>XX</a:t>
            </a:r>
            <a:r>
              <a:rPr lang="zh-CN" altLang="zh-CN" sz="1200" dirty="0" smtClean="0">
                <a:solidFill>
                  <a:schemeClr val="bg1"/>
                </a:solidFill>
              </a:rPr>
              <a:t>；控制器，含能源调度算法</a:t>
            </a:r>
            <a:r>
              <a:rPr lang="en-US" altLang="zh-CN" sz="1200" dirty="0" smtClean="0">
                <a:solidFill>
                  <a:schemeClr val="bg1"/>
                </a:solidFill>
              </a:rPr>
              <a:t>,</a:t>
            </a:r>
            <a:r>
              <a:rPr lang="zh-CN" altLang="zh-CN" sz="1200" dirty="0" smtClean="0">
                <a:solidFill>
                  <a:schemeClr val="bg1"/>
                </a:solidFill>
              </a:rPr>
              <a:t>软件规模相当于</a:t>
            </a:r>
            <a:r>
              <a:rPr lang="en-US" altLang="zh-CN" sz="1200" dirty="0" smtClean="0">
                <a:solidFill>
                  <a:schemeClr val="bg1"/>
                </a:solidFill>
              </a:rPr>
              <a:t>XXX</a:t>
            </a:r>
            <a:r>
              <a:rPr lang="zh-CN" altLang="zh-CN" sz="1200" dirty="0" smtClean="0">
                <a:solidFill>
                  <a:schemeClr val="bg1"/>
                </a:solidFill>
                <a:latin typeface="Times New Roman" panose="02020603050405020304" pitchFamily="18" charset="0"/>
                <a:ea typeface="+mn-ea"/>
              </a:rPr>
              <a:t>！</a:t>
            </a:r>
            <a:endParaRPr lang="zh-CN" altLang="zh-CN" sz="1200" dirty="0" smtClean="0">
              <a:solidFill>
                <a:schemeClr val="bg1"/>
              </a:solidFill>
              <a:effectLst/>
              <a:latin typeface="Times New Roman" panose="02020603050405020304" pitchFamily="18" charset="0"/>
              <a:ea typeface="+mn-ea"/>
            </a:endParaRPr>
          </a:p>
          <a:p>
            <a:endParaRPr lang="zh-CN" altLang="en-US" dirty="0"/>
          </a:p>
        </p:txBody>
      </p:sp>
      <p:sp>
        <p:nvSpPr>
          <p:cNvPr id="4" name="灯片编号占位符 3"/>
          <p:cNvSpPr>
            <a:spLocks noGrp="1"/>
          </p:cNvSpPr>
          <p:nvPr>
            <p:ph type="sldNum" sz="quarter" idx="10"/>
          </p:nvPr>
        </p:nvSpPr>
        <p:spPr/>
        <p:txBody>
          <a:bodyPr/>
          <a:lstStyle/>
          <a:p>
            <a:fld id="{D1BCEA22-26FF-4C54-B3AD-64EBB5F34A8D}" type="slidenum">
              <a:rPr lang="zh-CN" altLang="en-US" smtClean="0"/>
              <a:pPr/>
              <a:t>9</a:t>
            </a:fld>
            <a:endParaRPr lang="zh-CN" altLang="en-US"/>
          </a:p>
        </p:txBody>
      </p:sp>
    </p:spTree>
    <p:extLst>
      <p:ext uri="{BB962C8B-B14F-4D97-AF65-F5344CB8AC3E}">
        <p14:creationId xmlns:p14="http://schemas.microsoft.com/office/powerpoint/2010/main" val="1801187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normAutofit/>
          </a:bodyPr>
          <a:lstStyle/>
          <a:p>
            <a:pPr>
              <a:lnSpc>
                <a:spcPct val="150000"/>
              </a:lnSpc>
            </a:pPr>
            <a:r>
              <a:rPr lang="zh-CN" altLang="zh-CN" sz="1200" dirty="0" smtClean="0">
                <a:solidFill>
                  <a:schemeClr val="bg1"/>
                </a:solidFill>
              </a:rPr>
              <a:t>我认为是未来能源互联网的终极目标，也就是</a:t>
            </a:r>
            <a:r>
              <a:rPr lang="en-US" altLang="zh-CN" sz="1200" dirty="0" smtClean="0">
                <a:solidFill>
                  <a:schemeClr val="bg1"/>
                </a:solidFill>
              </a:rPr>
              <a:t>ICT</a:t>
            </a:r>
            <a:r>
              <a:rPr lang="zh-CN" altLang="zh-CN" sz="1200" dirty="0" smtClean="0">
                <a:solidFill>
                  <a:schemeClr val="bg1"/>
                </a:solidFill>
              </a:rPr>
              <a:t>网络和能源互联网深度融合、协调，才能实现。</a:t>
            </a:r>
          </a:p>
        </p:txBody>
      </p:sp>
      <p:sp>
        <p:nvSpPr>
          <p:cNvPr id="4" name="灯片编号占位符 3"/>
          <p:cNvSpPr>
            <a:spLocks noGrp="1"/>
          </p:cNvSpPr>
          <p:nvPr>
            <p:ph type="sldNum" sz="quarter" idx="10"/>
          </p:nvPr>
        </p:nvSpPr>
        <p:spPr/>
        <p:txBody>
          <a:bodyPr/>
          <a:lstStyle/>
          <a:p>
            <a:fld id="{2F8BAA25-472E-4EC8-8EA2-6D2DEE5509F0}" type="slidenum">
              <a:rPr lang="zh-CN" altLang="en-US" smtClean="0"/>
              <a:pPr/>
              <a:t>10</a:t>
            </a:fld>
            <a:endParaRPr lang="zh-CN" altLang="en-US"/>
          </a:p>
        </p:txBody>
      </p:sp>
    </p:spTree>
    <p:extLst>
      <p:ext uri="{BB962C8B-B14F-4D97-AF65-F5344CB8AC3E}">
        <p14:creationId xmlns:p14="http://schemas.microsoft.com/office/powerpoint/2010/main" val="23453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9163" y="746125"/>
            <a:ext cx="4968875" cy="3725863"/>
          </a:xfrm>
        </p:spPr>
      </p:sp>
      <p:sp>
        <p:nvSpPr>
          <p:cNvPr id="3" name="备注占位符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400" kern="1200" dirty="0" smtClean="0">
                <a:solidFill>
                  <a:schemeClr val="bg1"/>
                </a:solidFill>
                <a:latin typeface="+mn-lt"/>
                <a:ea typeface="+mn-ea"/>
                <a:cs typeface="Arial" panose="020B0604020202020204" pitchFamily="34" charset="0"/>
              </a:rPr>
              <a:t>包络跟踪算法使得</a:t>
            </a:r>
            <a:r>
              <a:rPr lang="en-US" altLang="zh-CN" sz="1400" kern="1200" dirty="0" smtClean="0">
                <a:solidFill>
                  <a:schemeClr val="bg1"/>
                </a:solidFill>
                <a:latin typeface="+mn-lt"/>
                <a:ea typeface="+mn-ea"/>
                <a:cs typeface="Arial" panose="020B0604020202020204" pitchFamily="34" charset="0"/>
              </a:rPr>
              <a:t>PA</a:t>
            </a:r>
            <a:r>
              <a:rPr lang="zh-CN" altLang="en-US" sz="1400" kern="1200" dirty="0" smtClean="0">
                <a:solidFill>
                  <a:schemeClr val="bg1"/>
                </a:solidFill>
                <a:latin typeface="+mn-lt"/>
                <a:ea typeface="+mn-ea"/>
                <a:cs typeface="Arial" panose="020B0604020202020204" pitchFamily="34" charset="0"/>
              </a:rPr>
              <a:t>可以预测输出信号的变化，从而调整输入电压，实现输入电压与输出信号的自适应调整。</a:t>
            </a:r>
          </a:p>
        </p:txBody>
      </p:sp>
      <p:sp>
        <p:nvSpPr>
          <p:cNvPr id="4" name="灯片编号占位符 3"/>
          <p:cNvSpPr>
            <a:spLocks noGrp="1"/>
          </p:cNvSpPr>
          <p:nvPr>
            <p:ph type="sldNum" sz="quarter" idx="10"/>
          </p:nvPr>
        </p:nvSpPr>
        <p:spPr/>
        <p:txBody>
          <a:bodyPr/>
          <a:lstStyle/>
          <a:p>
            <a:fld id="{541158D8-B10A-4D6C-801F-A8253C074A58}"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3193114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0.xml"/><Relationship Id="rId5" Type="http://schemas.openxmlformats.org/officeDocument/2006/relationships/image" Target="../media/image20.jpeg"/><Relationship Id="rId4" Type="http://schemas.openxmlformats.org/officeDocument/2006/relationships/image" Target="../media/image19.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85" y="2637451"/>
            <a:ext cx="5617551" cy="61942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val="11207386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79" y="274702"/>
            <a:ext cx="8231030" cy="114326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300" y="1535469"/>
            <a:ext cx="4040889" cy="639910"/>
          </a:xfrm>
        </p:spPr>
        <p:txBody>
          <a:bodyPr anchor="b"/>
          <a:lstStyle>
            <a:lvl1pPr marL="0" indent="0">
              <a:buNone/>
              <a:defRPr sz="1800" b="1"/>
            </a:lvl1pPr>
            <a:lvl2pPr marL="342854" indent="0">
              <a:buNone/>
              <a:defRPr sz="1500" b="1"/>
            </a:lvl2pPr>
            <a:lvl3pPr marL="685709" indent="0">
              <a:buNone/>
              <a:defRPr sz="1350" b="1"/>
            </a:lvl3pPr>
            <a:lvl4pPr marL="1028563" indent="0">
              <a:buNone/>
              <a:defRPr sz="1200" b="1"/>
            </a:lvl4pPr>
            <a:lvl5pPr marL="1371417" indent="0">
              <a:buNone/>
              <a:defRPr sz="1200" b="1"/>
            </a:lvl5pPr>
            <a:lvl6pPr marL="1714271" indent="0">
              <a:buNone/>
              <a:defRPr sz="1200" b="1"/>
            </a:lvl6pPr>
            <a:lvl7pPr marL="2057126" indent="0">
              <a:buNone/>
              <a:defRPr sz="1200" b="1"/>
            </a:lvl7pPr>
            <a:lvl8pPr marL="2399980" indent="0">
              <a:buNone/>
              <a:defRPr sz="1200" b="1"/>
            </a:lvl8pPr>
            <a:lvl9pPr marL="2742834" indent="0">
              <a:buNone/>
              <a:defRPr sz="1200" b="1"/>
            </a:lvl9pPr>
          </a:lstStyle>
          <a:p>
            <a:pPr lvl="0"/>
            <a:r>
              <a:rPr lang="zh-CN" altLang="en-US" smtClean="0"/>
              <a:t>单击此处编辑母版文本样式</a:t>
            </a:r>
          </a:p>
        </p:txBody>
      </p:sp>
      <p:sp>
        <p:nvSpPr>
          <p:cNvPr id="4" name="内容占位符 3"/>
          <p:cNvSpPr>
            <a:spLocks noGrp="1"/>
          </p:cNvSpPr>
          <p:nvPr>
            <p:ph sz="half" idx="2"/>
          </p:nvPr>
        </p:nvSpPr>
        <p:spPr>
          <a:xfrm>
            <a:off x="457300" y="2175381"/>
            <a:ext cx="4040889" cy="3952203"/>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862" y="1535469"/>
            <a:ext cx="4042477" cy="639910"/>
          </a:xfrm>
        </p:spPr>
        <p:txBody>
          <a:bodyPr anchor="b"/>
          <a:lstStyle>
            <a:lvl1pPr marL="0" indent="0">
              <a:buNone/>
              <a:defRPr sz="1800" b="1"/>
            </a:lvl1pPr>
            <a:lvl2pPr marL="342854" indent="0">
              <a:buNone/>
              <a:defRPr sz="1500" b="1"/>
            </a:lvl2pPr>
            <a:lvl3pPr marL="685709" indent="0">
              <a:buNone/>
              <a:defRPr sz="1350" b="1"/>
            </a:lvl3pPr>
            <a:lvl4pPr marL="1028563" indent="0">
              <a:buNone/>
              <a:defRPr sz="1200" b="1"/>
            </a:lvl4pPr>
            <a:lvl5pPr marL="1371417" indent="0">
              <a:buNone/>
              <a:defRPr sz="1200" b="1"/>
            </a:lvl5pPr>
            <a:lvl6pPr marL="1714271" indent="0">
              <a:buNone/>
              <a:defRPr sz="1200" b="1"/>
            </a:lvl6pPr>
            <a:lvl7pPr marL="2057126" indent="0">
              <a:buNone/>
              <a:defRPr sz="1200" b="1"/>
            </a:lvl7pPr>
            <a:lvl8pPr marL="2399980" indent="0">
              <a:buNone/>
              <a:defRPr sz="1200" b="1"/>
            </a:lvl8pPr>
            <a:lvl9pPr marL="2742834" indent="0">
              <a:buNone/>
              <a:defRPr sz="1200" b="1"/>
            </a:lvl9pPr>
          </a:lstStyle>
          <a:p>
            <a:pPr lvl="0"/>
            <a:r>
              <a:rPr lang="zh-CN" altLang="en-US" smtClean="0"/>
              <a:t>单击此处编辑母版文本样式</a:t>
            </a:r>
          </a:p>
        </p:txBody>
      </p:sp>
      <p:sp>
        <p:nvSpPr>
          <p:cNvPr id="6" name="内容占位符 5"/>
          <p:cNvSpPr>
            <a:spLocks noGrp="1"/>
          </p:cNvSpPr>
          <p:nvPr>
            <p:ph sz="quarter" idx="4"/>
          </p:nvPr>
        </p:nvSpPr>
        <p:spPr>
          <a:xfrm>
            <a:off x="4645862" y="2175381"/>
            <a:ext cx="4042477" cy="3952203"/>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lvl1pPr>
              <a:defRPr/>
            </a:lvl1pPr>
          </a:lstStyle>
          <a:p>
            <a:r>
              <a:rPr lang="de-DE">
                <a:solidFill>
                  <a:srgbClr val="000000"/>
                </a:solidFill>
              </a:rPr>
              <a:t>Page </a:t>
            </a:r>
            <a:fld id="{B8023818-797A-41E6-8148-BA597C2A0991}" type="slidenum">
              <a:rPr lang="de-DE">
                <a:solidFill>
                  <a:srgbClr val="000000"/>
                </a:solidFill>
              </a:rPr>
              <a:pPr/>
              <a:t>‹Nº›</a:t>
            </a:fld>
            <a:endParaRPr lang="en-GB">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a:defRPr/>
            </a:lvl1pPr>
          </a:lstStyle>
          <a:p>
            <a:r>
              <a:rPr lang="de-DE">
                <a:solidFill>
                  <a:srgbClr val="000000"/>
                </a:solidFill>
              </a:rPr>
              <a:t>Page </a:t>
            </a:r>
            <a:fld id="{D0C2A94E-46DC-45B5-91FC-64F52099060D}" type="slidenum">
              <a:rPr lang="de-DE">
                <a:solidFill>
                  <a:srgbClr val="000000"/>
                </a:solidFill>
              </a:rPr>
              <a:pPr/>
              <a:t>‹Nº›</a:t>
            </a:fld>
            <a:endParaRPr lang="en-GB">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r>
              <a:rPr lang="de-DE">
                <a:solidFill>
                  <a:srgbClr val="000000"/>
                </a:solidFill>
              </a:rPr>
              <a:t>Page </a:t>
            </a:r>
            <a:fld id="{4D749815-7134-4340-B69C-C14A6AA772E6}" type="slidenum">
              <a:rPr lang="de-DE">
                <a:solidFill>
                  <a:srgbClr val="000000"/>
                </a:solidFill>
              </a:rPr>
              <a:pPr/>
              <a:t>‹Nº›</a:t>
            </a:fld>
            <a:endParaRPr lang="en-GB">
              <a:solidFill>
                <a:srgbClr val="000000"/>
              </a:solidFill>
            </a:endParaRPr>
          </a:p>
        </p:txBody>
      </p:sp>
      <p:pic>
        <p:nvPicPr>
          <p:cNvPr id="3" name="Picture 9" descr="Logo"/>
          <p:cNvPicPr>
            <a:picLocks noChangeAspect="1" noChangeArrowheads="1"/>
          </p:cNvPicPr>
          <p:nvPr userDrawn="1"/>
        </p:nvPicPr>
        <p:blipFill>
          <a:blip r:embed="rId2" cstate="email"/>
          <a:srcRect/>
          <a:stretch>
            <a:fillRect/>
          </a:stretch>
        </p:blipFill>
        <p:spPr bwMode="auto">
          <a:xfrm>
            <a:off x="6115710" y="5106582"/>
            <a:ext cx="695265" cy="863800"/>
          </a:xfrm>
          <a:prstGeom prst="rect">
            <a:avLst/>
          </a:prstGeom>
          <a:noFill/>
          <a:ln w="9525">
            <a:noFill/>
            <a:miter lim="800000"/>
            <a:headEnd/>
            <a:tailEnd/>
          </a:ln>
        </p:spPr>
      </p:pic>
      <p:pic>
        <p:nvPicPr>
          <p:cNvPr id="4" name="Picture 10" descr="2"/>
          <p:cNvPicPr>
            <a:picLocks noChangeAspect="1" noChangeArrowheads="1"/>
          </p:cNvPicPr>
          <p:nvPr userDrawn="1"/>
        </p:nvPicPr>
        <p:blipFill>
          <a:blip r:embed="rId3" cstate="email"/>
          <a:srcRect/>
          <a:stretch>
            <a:fillRect/>
          </a:stretch>
        </p:blipFill>
        <p:spPr bwMode="auto">
          <a:xfrm>
            <a:off x="2" y="822516"/>
            <a:ext cx="7749106" cy="4001426"/>
          </a:xfrm>
          <a:prstGeom prst="rect">
            <a:avLst/>
          </a:prstGeom>
          <a:noFill/>
          <a:ln w="9525">
            <a:noFill/>
            <a:miter lim="800000"/>
            <a:headEnd/>
            <a:tailEnd/>
          </a:ln>
        </p:spPr>
      </p:pic>
      <p:sp>
        <p:nvSpPr>
          <p:cNvPr id="5" name="Text Box 20"/>
          <p:cNvSpPr txBox="1">
            <a:spLocks noChangeArrowheads="1"/>
          </p:cNvSpPr>
          <p:nvPr userDrawn="1"/>
        </p:nvSpPr>
        <p:spPr bwMode="auto">
          <a:xfrm>
            <a:off x="553612" y="6518237"/>
            <a:ext cx="2258783" cy="215040"/>
          </a:xfrm>
          <a:prstGeom prst="rect">
            <a:avLst/>
          </a:prstGeom>
          <a:noFill/>
          <a:ln w="9525">
            <a:noFill/>
            <a:miter lim="800000"/>
            <a:headEnd/>
            <a:tailEnd/>
          </a:ln>
        </p:spPr>
        <p:txBody>
          <a:bodyPr wrap="none" lIns="64369" tIns="32185" rIns="64369" bIns="32185">
            <a:spAutoFit/>
          </a:bodyPr>
          <a:lstStyle/>
          <a:p>
            <a:pPr defTabSz="644043" eaLnBrk="0" hangingPunct="0">
              <a:defRPr/>
            </a:pPr>
            <a:r>
              <a:rPr lang="en-US" altLang="zh-CN" sz="975">
                <a:solidFill>
                  <a:srgbClr val="000000"/>
                </a:solidFill>
                <a:latin typeface="FrutigerNext LT Bold" charset="0"/>
              </a:rPr>
              <a:t>HUAWEI TECHNOLOGIES CO., LTD.</a:t>
            </a:r>
            <a:endParaRPr lang="en-US" altLang="zh-CN" sz="1725">
              <a:solidFill>
                <a:srgbClr val="000000"/>
              </a:solidFill>
              <a:latin typeface="Arial" charset="0"/>
            </a:endParaRPr>
          </a:p>
        </p:txBody>
      </p:sp>
      <p:sp>
        <p:nvSpPr>
          <p:cNvPr id="6" name="Text Box 22"/>
          <p:cNvSpPr txBox="1">
            <a:spLocks noChangeArrowheads="1"/>
          </p:cNvSpPr>
          <p:nvPr userDrawn="1"/>
        </p:nvSpPr>
        <p:spPr bwMode="auto">
          <a:xfrm>
            <a:off x="6122853" y="4298398"/>
            <a:ext cx="1098209" cy="215040"/>
          </a:xfrm>
          <a:prstGeom prst="rect">
            <a:avLst/>
          </a:prstGeom>
          <a:noFill/>
          <a:ln w="9525">
            <a:noFill/>
            <a:miter lim="800000"/>
            <a:headEnd/>
            <a:tailEnd/>
          </a:ln>
        </p:spPr>
        <p:txBody>
          <a:bodyPr wrap="none" lIns="64369" tIns="32185" rIns="64369" bIns="32185">
            <a:spAutoFit/>
          </a:bodyPr>
          <a:lstStyle/>
          <a:p>
            <a:pPr defTabSz="644043" eaLnBrk="0" hangingPunct="0">
              <a:defRPr/>
            </a:pPr>
            <a:r>
              <a:rPr lang="en-US" altLang="zh-CN" sz="975">
                <a:solidFill>
                  <a:srgbClr val="FFFFFF"/>
                </a:solidFill>
                <a:latin typeface="Arial" pitchFamily="34" charset="0"/>
              </a:rPr>
              <a:t>www.huawei.com</a:t>
            </a:r>
          </a:p>
        </p:txBody>
      </p:sp>
      <p:sp>
        <p:nvSpPr>
          <p:cNvPr id="7" name="Rectangle 23"/>
          <p:cNvSpPr>
            <a:spLocks noChangeArrowheads="1"/>
          </p:cNvSpPr>
          <p:nvPr userDrawn="1"/>
        </p:nvSpPr>
        <p:spPr bwMode="auto">
          <a:xfrm>
            <a:off x="3376340" y="6518237"/>
            <a:ext cx="1269676" cy="215009"/>
          </a:xfrm>
          <a:prstGeom prst="rect">
            <a:avLst/>
          </a:prstGeom>
          <a:noFill/>
          <a:ln w="9525" algn="ctr">
            <a:noFill/>
            <a:miter lim="800000"/>
            <a:headEnd/>
            <a:tailEnd/>
          </a:ln>
          <a:effectLst/>
        </p:spPr>
        <p:txBody>
          <a:bodyPr wrap="none" lIns="64342" tIns="32170" rIns="64342" bIns="32170">
            <a:spAutoFit/>
          </a:bodyPr>
          <a:lstStyle/>
          <a:p>
            <a:pPr defTabSz="644043" eaLnBrk="0" hangingPunct="0">
              <a:defRPr/>
            </a:pPr>
            <a:r>
              <a:rPr lang="en-US" altLang="zh-CN" sz="975">
                <a:solidFill>
                  <a:srgbClr val="000000"/>
                </a:solidFill>
                <a:latin typeface="FrutigerNext LT Bold" charset="0"/>
              </a:rPr>
              <a:t>Huawei Confidential </a:t>
            </a:r>
          </a:p>
        </p:txBody>
      </p:sp>
      <p:sp>
        <p:nvSpPr>
          <p:cNvPr id="8" name="Text Box 66"/>
          <p:cNvSpPr txBox="1">
            <a:spLocks noChangeArrowheads="1"/>
          </p:cNvSpPr>
          <p:nvPr userDrawn="1"/>
        </p:nvSpPr>
        <p:spPr bwMode="auto">
          <a:xfrm>
            <a:off x="-2347708" y="1397326"/>
            <a:ext cx="2352470" cy="2752801"/>
          </a:xfrm>
          <a:prstGeom prst="rect">
            <a:avLst/>
          </a:prstGeom>
          <a:noFill/>
          <a:ln w="9525" algn="ctr">
            <a:noFill/>
            <a:miter lim="800000"/>
            <a:headEnd/>
            <a:tailEnd/>
          </a:ln>
          <a:effectLst/>
        </p:spPr>
        <p:txBody>
          <a:bodyPr lIns="64380" tIns="32190" rIns="64380" bIns="32190">
            <a:spAutoFit/>
          </a:bodyPr>
          <a:lstStyle/>
          <a:p>
            <a:pPr algn="r" defTabSz="644043" eaLnBrk="0" hangingPunct="0">
              <a:lnSpc>
                <a:spcPct val="125000"/>
              </a:lnSpc>
              <a:defRPr/>
            </a:pPr>
            <a:r>
              <a:rPr lang="en-US" sz="900" noProof="1">
                <a:solidFill>
                  <a:srgbClr val="FFFFFF"/>
                </a:solidFill>
                <a:latin typeface="Arial" pitchFamily="34" charset="0"/>
              </a:rPr>
              <a:t>Slide title</a:t>
            </a:r>
            <a:r>
              <a:rPr lang="en-US" altLang="zh-CN" sz="900">
                <a:solidFill>
                  <a:srgbClr val="FFFFFF"/>
                </a:solidFill>
                <a:latin typeface="Arial" pitchFamily="34" charset="0"/>
              </a:rPr>
              <a:t> </a:t>
            </a:r>
            <a:r>
              <a:rPr lang="en-US" altLang="zh-CN" sz="900">
                <a:solidFill>
                  <a:srgbClr val="FFFFFF"/>
                </a:solidFill>
                <a:latin typeface="Arial" pitchFamily="34" charset="0"/>
                <a:ea typeface="华文细黑" pitchFamily="2" charset="-122"/>
              </a:rPr>
              <a:t>:40-47pt  </a:t>
            </a:r>
          </a:p>
          <a:p>
            <a:pPr algn="r" defTabSz="644043" eaLnBrk="0" hangingPunct="0">
              <a:lnSpc>
                <a:spcPct val="125000"/>
              </a:lnSpc>
              <a:defRPr/>
            </a:pPr>
            <a:r>
              <a:rPr lang="en-US" sz="900" noProof="1">
                <a:solidFill>
                  <a:srgbClr val="FFFFFF"/>
                </a:solidFill>
                <a:latin typeface="Arial" pitchFamily="34" charset="0"/>
              </a:rPr>
              <a:t>Slide subtitle </a:t>
            </a:r>
            <a:r>
              <a:rPr lang="en-US" altLang="zh-CN" sz="900">
                <a:solidFill>
                  <a:srgbClr val="FFFFFF"/>
                </a:solidFill>
                <a:latin typeface="Arial" pitchFamily="34" charset="0"/>
                <a:ea typeface="华文细黑" pitchFamily="2" charset="-122"/>
              </a:rPr>
              <a:t>:26-30pt</a:t>
            </a:r>
          </a:p>
          <a:p>
            <a:pPr algn="r" defTabSz="644043" eaLnBrk="0" hangingPunct="0">
              <a:lnSpc>
                <a:spcPct val="125000"/>
              </a:lnSpc>
              <a:defRPr/>
            </a:pPr>
            <a:r>
              <a:rPr lang="en-US" altLang="zh-CN" sz="900">
                <a:solidFill>
                  <a:srgbClr val="FFFFFF"/>
                </a:solidFill>
                <a:latin typeface="Arial" pitchFamily="34" charset="0"/>
                <a:ea typeface="华文细黑" pitchFamily="2" charset="-122"/>
              </a:rPr>
              <a:t>Color::white</a:t>
            </a:r>
          </a:p>
          <a:p>
            <a:pPr algn="r" defTabSz="644043" eaLnBrk="0" hangingPunct="0">
              <a:lnSpc>
                <a:spcPct val="125000"/>
              </a:lnSpc>
              <a:defRPr/>
            </a:pPr>
            <a:r>
              <a:rPr lang="zh-CN" altLang="en-US" sz="900">
                <a:solidFill>
                  <a:srgbClr val="FFFFFF"/>
                </a:solidFill>
                <a:latin typeface="Arial" pitchFamily="34" charset="0"/>
              </a:rPr>
              <a:t> </a:t>
            </a:r>
            <a:r>
              <a:rPr lang="en-US" altLang="zh-CN" sz="900">
                <a:solidFill>
                  <a:srgbClr val="FFFFFF"/>
                </a:solidFill>
                <a:latin typeface="Arial" pitchFamily="34" charset="0"/>
              </a:rPr>
              <a:t>Corporate Font </a:t>
            </a:r>
            <a:r>
              <a:rPr lang="en-US" altLang="zh-CN" sz="900">
                <a:solidFill>
                  <a:srgbClr val="FFFFFF"/>
                </a:solidFill>
                <a:latin typeface="Arial" pitchFamily="34" charset="0"/>
                <a:ea typeface="华文细黑" pitchFamily="2" charset="-122"/>
              </a:rPr>
              <a:t>:</a:t>
            </a:r>
          </a:p>
          <a:p>
            <a:pPr algn="r" defTabSz="644043" eaLnBrk="0" hangingPunct="0">
              <a:lnSpc>
                <a:spcPct val="125000"/>
              </a:lnSpc>
              <a:defRPr/>
            </a:pPr>
            <a:r>
              <a:rPr lang="en-US" altLang="zh-CN" sz="900">
                <a:solidFill>
                  <a:srgbClr val="FFFFFF"/>
                </a:solidFill>
                <a:latin typeface="Arial" pitchFamily="34" charset="0"/>
                <a:ea typeface="华文细黑" pitchFamily="2" charset="-122"/>
              </a:rPr>
              <a:t>FrutigerNext LT Medium</a:t>
            </a:r>
          </a:p>
          <a:p>
            <a:pPr algn="r" defTabSz="644043" eaLnBrk="0" hangingPunct="0">
              <a:lnSpc>
                <a:spcPct val="125000"/>
              </a:lnSpc>
              <a:defRPr/>
            </a:pPr>
            <a:r>
              <a:rPr lang="en-US" altLang="zh-CN" sz="900">
                <a:solidFill>
                  <a:srgbClr val="FFFFFF"/>
                </a:solidFill>
                <a:latin typeface="Arial" pitchFamily="34" charset="0"/>
              </a:rPr>
              <a:t>Font to be used by customers and </a:t>
            </a:r>
          </a:p>
          <a:p>
            <a:pPr algn="r" defTabSz="644043" eaLnBrk="0" hangingPunct="0">
              <a:lnSpc>
                <a:spcPct val="125000"/>
              </a:lnSpc>
              <a:defRPr/>
            </a:pPr>
            <a:r>
              <a:rPr lang="en-US" altLang="zh-CN" sz="900">
                <a:solidFill>
                  <a:srgbClr val="FFFFFF"/>
                </a:solidFill>
                <a:latin typeface="Arial" pitchFamily="34" charset="0"/>
              </a:rPr>
              <a:t>partners </a:t>
            </a:r>
            <a:r>
              <a:rPr lang="en-US" altLang="zh-CN" sz="900">
                <a:solidFill>
                  <a:srgbClr val="FFFFFF"/>
                </a:solidFill>
                <a:latin typeface="Arial" pitchFamily="34" charset="0"/>
                <a:ea typeface="华文细黑" pitchFamily="2" charset="-122"/>
              </a:rPr>
              <a:t>: </a:t>
            </a:r>
          </a:p>
          <a:p>
            <a:pPr algn="r" defTabSz="644043" eaLnBrk="0" hangingPunct="0">
              <a:lnSpc>
                <a:spcPct val="125000"/>
              </a:lnSpc>
              <a:defRPr/>
            </a:pPr>
            <a:r>
              <a:rPr lang="en-US" altLang="zh-CN" sz="900">
                <a:solidFill>
                  <a:srgbClr val="FFFFFF"/>
                </a:solidFill>
                <a:latin typeface="Arial" pitchFamily="34" charset="0"/>
                <a:ea typeface="华文细黑" pitchFamily="2" charset="-122"/>
              </a:rPr>
              <a:t>Arial</a:t>
            </a:r>
            <a:endParaRPr lang="zh-CN" altLang="en-US" sz="900">
              <a:solidFill>
                <a:srgbClr val="FFFFFF"/>
              </a:solidFill>
              <a:latin typeface="Arial" pitchFamily="34" charset="0"/>
              <a:ea typeface="华文细黑" pitchFamily="2" charset="-122"/>
            </a:endParaRPr>
          </a:p>
          <a:p>
            <a:pPr algn="r" defTabSz="644043" eaLnBrk="0" hangingPunct="0">
              <a:lnSpc>
                <a:spcPct val="125000"/>
              </a:lnSpc>
              <a:defRPr/>
            </a:pPr>
            <a:endParaRPr lang="zh-CN" altLang="en-US" sz="900">
              <a:solidFill>
                <a:srgbClr val="FFFFFF"/>
              </a:solidFill>
              <a:latin typeface="Arial" pitchFamily="34" charset="0"/>
              <a:ea typeface="华文细黑" pitchFamily="2" charset="-122"/>
            </a:endParaRPr>
          </a:p>
          <a:p>
            <a:pPr algn="r" defTabSz="644043" eaLnBrk="0" hangingPunct="0">
              <a:lnSpc>
                <a:spcPct val="125000"/>
              </a:lnSpc>
              <a:defRPr/>
            </a:pPr>
            <a:endParaRPr lang="zh-CN" altLang="en-US" sz="900">
              <a:solidFill>
                <a:srgbClr val="FFFFFF"/>
              </a:solidFill>
              <a:latin typeface="Arial" pitchFamily="34" charset="0"/>
              <a:ea typeface="华文细黑" pitchFamily="2" charset="-122"/>
            </a:endParaRPr>
          </a:p>
          <a:p>
            <a:pPr algn="r" defTabSz="644043" eaLnBrk="0" hangingPunct="0">
              <a:lnSpc>
                <a:spcPct val="125000"/>
              </a:lnSpc>
              <a:defRPr/>
            </a:pPr>
            <a:endParaRPr lang="zh-CN" altLang="en-US" sz="900">
              <a:solidFill>
                <a:srgbClr val="FFFFFF"/>
              </a:solidFill>
              <a:latin typeface="Arial" pitchFamily="34" charset="0"/>
              <a:ea typeface="华文细黑" pitchFamily="2" charset="-122"/>
            </a:endParaRPr>
          </a:p>
          <a:p>
            <a:pPr algn="r" defTabSz="644043" eaLnBrk="0" hangingPunct="0">
              <a:lnSpc>
                <a:spcPct val="125000"/>
              </a:lnSpc>
              <a:defRPr/>
            </a:pPr>
            <a:endParaRPr lang="zh-CN" altLang="en-US" sz="900">
              <a:solidFill>
                <a:srgbClr val="FFFFFF"/>
              </a:solidFill>
              <a:latin typeface="Arial" pitchFamily="34" charset="0"/>
              <a:ea typeface="华文细黑" pitchFamily="2" charset="-122"/>
            </a:endParaRPr>
          </a:p>
          <a:p>
            <a:pPr algn="r" defTabSz="644043" eaLnBrk="0" hangingPunct="0">
              <a:lnSpc>
                <a:spcPct val="125000"/>
              </a:lnSpc>
              <a:defRPr/>
            </a:pPr>
            <a:endParaRPr lang="zh-CN" altLang="en-US" sz="900">
              <a:solidFill>
                <a:srgbClr val="FFFFFF"/>
              </a:solidFill>
              <a:latin typeface="Arial" pitchFamily="34" charset="0"/>
              <a:ea typeface="华文细黑" pitchFamily="2" charset="-122"/>
            </a:endParaRPr>
          </a:p>
          <a:p>
            <a:pPr algn="r" defTabSz="644043" eaLnBrk="0" hangingPunct="0">
              <a:lnSpc>
                <a:spcPct val="125000"/>
              </a:lnSpc>
              <a:defRPr/>
            </a:pPr>
            <a:endParaRPr lang="zh-CN" altLang="en-US" sz="900">
              <a:solidFill>
                <a:srgbClr val="FFFFFF"/>
              </a:solidFill>
              <a:latin typeface="Arial" pitchFamily="34" charset="0"/>
              <a:ea typeface="华文细黑" pitchFamily="2" charset="-122"/>
            </a:endParaRPr>
          </a:p>
          <a:p>
            <a:pPr algn="r" defTabSz="644043" eaLnBrk="0" hangingPunct="0">
              <a:lnSpc>
                <a:spcPct val="125000"/>
              </a:lnSpc>
              <a:spcBef>
                <a:spcPct val="50000"/>
              </a:spcBef>
              <a:defRPr/>
            </a:pPr>
            <a:endParaRPr lang="en-US" altLang="zh-CN" sz="900">
              <a:solidFill>
                <a:srgbClr val="FFFFFF"/>
              </a:solidFill>
              <a:latin typeface="Arial" pitchFamily="34" charset="0"/>
              <a:ea typeface="华文细黑" pitchFamily="2" charset="-122"/>
            </a:endParaRPr>
          </a:p>
        </p:txBody>
      </p:sp>
      <p:pic>
        <p:nvPicPr>
          <p:cNvPr id="9" name="Picture 5"/>
          <p:cNvPicPr>
            <a:picLocks noChangeAspect="1" noChangeArrowheads="1"/>
          </p:cNvPicPr>
          <p:nvPr userDrawn="1"/>
        </p:nvPicPr>
        <p:blipFill>
          <a:blip r:embed="rId4" cstate="email"/>
          <a:srcRect/>
          <a:stretch>
            <a:fillRect/>
          </a:stretch>
        </p:blipFill>
        <p:spPr bwMode="auto">
          <a:xfrm>
            <a:off x="4515651" y="5106617"/>
            <a:ext cx="1507202" cy="994005"/>
          </a:xfrm>
          <a:prstGeom prst="rect">
            <a:avLst/>
          </a:prstGeom>
          <a:noFill/>
          <a:ln w="9525">
            <a:noFill/>
            <a:miter lim="800000"/>
            <a:headEnd/>
            <a:tailEnd/>
          </a:ln>
        </p:spPr>
      </p:pic>
      <p:sp>
        <p:nvSpPr>
          <p:cNvPr id="10" name="Rectangle 15"/>
          <p:cNvSpPr>
            <a:spLocks noGrp="1" noChangeArrowheads="1"/>
          </p:cNvSpPr>
          <p:nvPr>
            <p:ph type="ctrTitle" sz="quarter"/>
          </p:nvPr>
        </p:nvSpPr>
        <p:spPr>
          <a:xfrm>
            <a:off x="580976" y="1462432"/>
            <a:ext cx="4495411" cy="1749830"/>
          </a:xfrm>
        </p:spPr>
        <p:txBody>
          <a:bodyPr/>
          <a:lstStyle>
            <a:lvl1pPr algn="ctr">
              <a:defRPr sz="3300" b="1">
                <a:solidFill>
                  <a:schemeClr val="bg1"/>
                </a:solidFill>
              </a:defRPr>
            </a:lvl1pPr>
          </a:lstStyle>
          <a:p>
            <a:r>
              <a:rPr lang="zh-CN" altLang="en-US" smtClean="0"/>
              <a:t>单击此处编辑母版标题样式</a:t>
            </a:r>
            <a:endParaRPr lang="zh-CN" altLang="en-US"/>
          </a:p>
        </p:txBody>
      </p:sp>
      <p:sp>
        <p:nvSpPr>
          <p:cNvPr id="11" name="Rectangle 16"/>
          <p:cNvSpPr>
            <a:spLocks noGrp="1" noChangeArrowheads="1"/>
          </p:cNvSpPr>
          <p:nvPr>
            <p:ph type="subTitle" sz="quarter" idx="1"/>
          </p:nvPr>
        </p:nvSpPr>
        <p:spPr>
          <a:xfrm>
            <a:off x="579788" y="3342462"/>
            <a:ext cx="4496599" cy="908260"/>
          </a:xfrm>
        </p:spPr>
        <p:txBody>
          <a:bodyPr lIns="85848" tIns="42924" rIns="85848" bIns="42924"/>
          <a:lstStyle>
            <a:lvl1pPr marL="0" indent="0" algn="ctr">
              <a:buFont typeface="Wingdings" pitchFamily="2" charset="2"/>
              <a:buNone/>
              <a:defRPr sz="1725" b="0">
                <a:solidFill>
                  <a:schemeClr val="bg1"/>
                </a:solidFill>
                <a:latin typeface="华文细黑" pitchFamily="2" charset="-122"/>
              </a:defRPr>
            </a:lvl1pPr>
          </a:lstStyle>
          <a:p>
            <a:r>
              <a:rPr lang="zh-CN" altLang="en-US" smtClean="0"/>
              <a:t>单击此处编辑母版副标题样式</a:t>
            </a:r>
            <a:endParaRPr lang="zh-CN" altLang="en-US"/>
          </a:p>
        </p:txBody>
      </p:sp>
      <p:sp>
        <p:nvSpPr>
          <p:cNvPr id="12" name="Rectangle 26"/>
          <p:cNvSpPr txBox="1">
            <a:spLocks noChangeArrowheads="1"/>
          </p:cNvSpPr>
          <p:nvPr userDrawn="1"/>
        </p:nvSpPr>
        <p:spPr bwMode="auto">
          <a:xfrm>
            <a:off x="579785" y="295354"/>
            <a:ext cx="1808402" cy="500179"/>
          </a:xfrm>
          <a:prstGeom prst="rect">
            <a:avLst/>
          </a:prstGeom>
          <a:noFill/>
          <a:ln w="9525">
            <a:noFill/>
            <a:miter lim="800000"/>
            <a:headEnd/>
            <a:tailEnd/>
          </a:ln>
          <a:effectLst/>
        </p:spPr>
        <p:txBody>
          <a:bodyPr vert="horz" wrap="square" lIns="64380" tIns="32190" rIns="64380" bIns="32190" numCol="1" anchor="t" anchorCtr="0" compatLnSpc="1">
            <a:prstTxWarp prst="textNoShape">
              <a:avLst/>
            </a:prstTxWarp>
          </a:bodyPr>
          <a:lstStyle>
            <a:lvl1pPr>
              <a:lnSpc>
                <a:spcPct val="100000"/>
              </a:lnSpc>
              <a:defRPr>
                <a:latin typeface="FrutigerNext LT Regular" pitchFamily="34" charset="0"/>
              </a:defRPr>
            </a:lvl1pPr>
          </a:lstStyle>
          <a:p>
            <a:pPr defTabSz="601186" eaLnBrk="0" hangingPunct="0">
              <a:defRPr/>
            </a:pPr>
            <a:fld id="{875C034D-B7F5-450A-A978-84D04EF91783}" type="datetime1">
              <a:rPr lang="zh-CN" altLang="en-US" sz="900" smtClean="0">
                <a:solidFill>
                  <a:srgbClr val="000000"/>
                </a:solidFill>
              </a:rPr>
              <a:pPr defTabSz="601186" eaLnBrk="0" hangingPunct="0">
                <a:defRPr/>
              </a:pPr>
              <a:t>2017/4/5</a:t>
            </a:fld>
            <a:endParaRPr lang="en-US" altLang="zh-CN" sz="900">
              <a:solidFill>
                <a:srgbClr val="000000"/>
              </a:solidFill>
            </a:endParaRPr>
          </a:p>
        </p:txBody>
      </p:sp>
      <p:sp>
        <p:nvSpPr>
          <p:cNvPr id="13" name="Freeform 18"/>
          <p:cNvSpPr>
            <a:spLocks/>
          </p:cNvSpPr>
          <p:nvPr userDrawn="1"/>
        </p:nvSpPr>
        <p:spPr bwMode="auto">
          <a:xfrm>
            <a:off x="2" y="792321"/>
            <a:ext cx="5980605" cy="4033382"/>
          </a:xfrm>
          <a:custGeom>
            <a:avLst/>
            <a:gdLst>
              <a:gd name="T0" fmla="*/ 1882 w 2215"/>
              <a:gd name="T1" fmla="*/ 1201 h 1201"/>
              <a:gd name="T2" fmla="*/ 2215 w 2215"/>
              <a:gd name="T3" fmla="*/ 0 h 1201"/>
              <a:gd name="T4" fmla="*/ 0 w 2215"/>
              <a:gd name="T5" fmla="*/ 0 h 1201"/>
              <a:gd name="T6" fmla="*/ 0 w 2215"/>
              <a:gd name="T7" fmla="*/ 1201 h 1201"/>
              <a:gd name="T8" fmla="*/ 1882 w 2215"/>
              <a:gd name="T9" fmla="*/ 1201 h 1201"/>
            </a:gdLst>
            <a:ahLst/>
            <a:cxnLst>
              <a:cxn ang="0">
                <a:pos x="T0" y="T1"/>
              </a:cxn>
              <a:cxn ang="0">
                <a:pos x="T2" y="T3"/>
              </a:cxn>
              <a:cxn ang="0">
                <a:pos x="T4" y="T5"/>
              </a:cxn>
              <a:cxn ang="0">
                <a:pos x="T6" y="T7"/>
              </a:cxn>
              <a:cxn ang="0">
                <a:pos x="T8" y="T9"/>
              </a:cxn>
            </a:cxnLst>
            <a:rect l="0" t="0" r="r" b="b"/>
            <a:pathLst>
              <a:path w="2215" h="1201">
                <a:moveTo>
                  <a:pt x="1882" y="1201"/>
                </a:moveTo>
                <a:cubicBezTo>
                  <a:pt x="2117" y="629"/>
                  <a:pt x="2196" y="243"/>
                  <a:pt x="2215" y="0"/>
                </a:cubicBezTo>
                <a:cubicBezTo>
                  <a:pt x="0" y="0"/>
                  <a:pt x="0" y="0"/>
                  <a:pt x="0" y="0"/>
                </a:cubicBezTo>
                <a:cubicBezTo>
                  <a:pt x="0" y="1201"/>
                  <a:pt x="0" y="1201"/>
                  <a:pt x="0" y="1201"/>
                </a:cubicBezTo>
                <a:lnTo>
                  <a:pt x="1882" y="1201"/>
                </a:lnTo>
                <a:close/>
              </a:path>
            </a:pathLst>
          </a:custGeom>
          <a:blipFill dpi="0" rotWithShape="1">
            <a:blip r:embed="rId5" cstate="email">
              <a:extLst>
                <a:ext uri="{28A0092B-C50C-407E-A947-70E740481C1C}">
                  <a14:useLocalDpi xmlns:a14="http://schemas.microsoft.com/office/drawing/2010/main" val="0"/>
                </a:ext>
              </a:extLst>
            </a:blip>
            <a:srcRect/>
            <a:stretch>
              <a:fillRect/>
            </a:stretch>
          </a:blipFill>
          <a:ln>
            <a:noFill/>
          </a:ln>
        </p:spPr>
        <p:txBody>
          <a:bodyPr vert="horz" wrap="square" lIns="68574" tIns="34287" rIns="68574" bIns="34287" numCol="1" anchor="t" anchorCtr="0" compatLnSpc="1">
            <a:prstTxWarp prst="textNoShape">
              <a:avLst/>
            </a:prstTxWarp>
          </a:bodyPr>
          <a:lstStyle/>
          <a:p>
            <a:endParaRPr lang="zh-CN" altLang="en-US" sz="1200">
              <a:solidFill>
                <a:srgbClr val="000000"/>
              </a:solidFill>
              <a:latin typeface="Arial" pitchFamily="34"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309" y="273114"/>
            <a:ext cx="3008836" cy="1162319"/>
          </a:xfrm>
        </p:spPr>
        <p:txBody>
          <a:bodyPr anchor="b"/>
          <a:lstStyle>
            <a:lvl1pPr algn="l">
              <a:defRPr sz="15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670" y="273122"/>
            <a:ext cx="5112638" cy="5854468"/>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309" y="1435437"/>
            <a:ext cx="3008836" cy="4692149"/>
          </a:xfrm>
        </p:spPr>
        <p:txBody>
          <a:bodyPr/>
          <a:lstStyle>
            <a:lvl1pPr marL="0" indent="0">
              <a:buNone/>
              <a:defRPr sz="1050"/>
            </a:lvl1pPr>
            <a:lvl2pPr marL="342854" indent="0">
              <a:buNone/>
              <a:defRPr sz="900"/>
            </a:lvl2pPr>
            <a:lvl3pPr marL="685709" indent="0">
              <a:buNone/>
              <a:defRPr sz="750"/>
            </a:lvl3pPr>
            <a:lvl4pPr marL="1028563" indent="0">
              <a:buNone/>
              <a:defRPr sz="675"/>
            </a:lvl4pPr>
            <a:lvl5pPr marL="1371417" indent="0">
              <a:buNone/>
              <a:defRPr sz="675"/>
            </a:lvl5pPr>
            <a:lvl6pPr marL="1714271" indent="0">
              <a:buNone/>
              <a:defRPr sz="675"/>
            </a:lvl6pPr>
            <a:lvl7pPr marL="2057126" indent="0">
              <a:buNone/>
              <a:defRPr sz="675"/>
            </a:lvl7pPr>
            <a:lvl8pPr marL="2399980" indent="0">
              <a:buNone/>
              <a:defRPr sz="675"/>
            </a:lvl8pPr>
            <a:lvl9pPr marL="2742834" indent="0">
              <a:buNone/>
              <a:defRPr sz="675"/>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r>
              <a:rPr lang="de-DE">
                <a:solidFill>
                  <a:srgbClr val="000000"/>
                </a:solidFill>
              </a:rPr>
              <a:t>Page </a:t>
            </a:r>
            <a:fld id="{D1152121-0A45-45A7-9429-ACF7D33D2C81}" type="slidenum">
              <a:rPr lang="de-DE">
                <a:solidFill>
                  <a:srgbClr val="000000"/>
                </a:solidFill>
              </a:rPr>
              <a:pPr/>
              <a:t>‹Nº›</a:t>
            </a:fld>
            <a:endParaRPr lang="en-GB">
              <a:solidFill>
                <a:srgbClr val="000000"/>
              </a:solidFill>
            </a:endParaRPr>
          </a:p>
        </p:txBody>
      </p:sp>
      <p:pic>
        <p:nvPicPr>
          <p:cNvPr id="6" name="Picture 5"/>
          <p:cNvPicPr>
            <a:picLocks noChangeAspect="1" noChangeArrowheads="1"/>
          </p:cNvPicPr>
          <p:nvPr userDrawn="1"/>
        </p:nvPicPr>
        <p:blipFill>
          <a:blip r:embed="rId2" cstate="email"/>
          <a:srcRect/>
          <a:stretch>
            <a:fillRect/>
          </a:stretch>
        </p:blipFill>
        <p:spPr bwMode="auto">
          <a:xfrm>
            <a:off x="125005" y="142913"/>
            <a:ext cx="909559" cy="600214"/>
          </a:xfrm>
          <a:prstGeom prst="rect">
            <a:avLst/>
          </a:prstGeom>
          <a:noFill/>
          <a:ln w="9525">
            <a:noFill/>
            <a:miter lim="800000"/>
            <a:headEnd/>
            <a:tailEnd/>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606" y="4801714"/>
            <a:ext cx="5487353" cy="566869"/>
          </a:xfrm>
        </p:spPr>
        <p:txBody>
          <a:bodyPr anchor="b"/>
          <a:lstStyle>
            <a:lvl1pPr algn="l">
              <a:defRPr sz="15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606" y="612919"/>
            <a:ext cx="5487353" cy="4115753"/>
          </a:xfrm>
        </p:spPr>
        <p:txBody>
          <a:bodyPr/>
          <a:lstStyle>
            <a:lvl1pPr marL="0" indent="0">
              <a:buNone/>
              <a:defRPr sz="2400"/>
            </a:lvl1pPr>
            <a:lvl2pPr marL="342854" indent="0">
              <a:buNone/>
              <a:defRPr sz="2100"/>
            </a:lvl2pPr>
            <a:lvl3pPr marL="685709" indent="0">
              <a:buNone/>
              <a:defRPr sz="1800"/>
            </a:lvl3pPr>
            <a:lvl4pPr marL="1028563" indent="0">
              <a:buNone/>
              <a:defRPr sz="1500"/>
            </a:lvl4pPr>
            <a:lvl5pPr marL="1371417" indent="0">
              <a:buNone/>
              <a:defRPr sz="1500"/>
            </a:lvl5pPr>
            <a:lvl6pPr marL="1714271" indent="0">
              <a:buNone/>
              <a:defRPr sz="1500"/>
            </a:lvl6pPr>
            <a:lvl7pPr marL="2057126" indent="0">
              <a:buNone/>
              <a:defRPr sz="1500"/>
            </a:lvl7pPr>
            <a:lvl8pPr marL="2399980" indent="0">
              <a:buNone/>
              <a:defRPr sz="1500"/>
            </a:lvl8pPr>
            <a:lvl9pPr marL="2742834" indent="0">
              <a:buNone/>
              <a:defRPr sz="1500"/>
            </a:lvl9pPr>
          </a:lstStyle>
          <a:p>
            <a:r>
              <a:rPr lang="zh-CN" altLang="en-US" smtClean="0"/>
              <a:t>单击图标添加图片</a:t>
            </a:r>
            <a:endParaRPr lang="zh-CN" altLang="en-US"/>
          </a:p>
        </p:txBody>
      </p:sp>
      <p:sp>
        <p:nvSpPr>
          <p:cNvPr id="4" name="文本占位符 3"/>
          <p:cNvSpPr>
            <a:spLocks noGrp="1"/>
          </p:cNvSpPr>
          <p:nvPr>
            <p:ph type="body" sz="half" idx="2"/>
          </p:nvPr>
        </p:nvSpPr>
        <p:spPr>
          <a:xfrm>
            <a:off x="1792606" y="5368581"/>
            <a:ext cx="5487353" cy="805048"/>
          </a:xfrm>
        </p:spPr>
        <p:txBody>
          <a:bodyPr/>
          <a:lstStyle>
            <a:lvl1pPr marL="0" indent="0">
              <a:buNone/>
              <a:defRPr sz="1050"/>
            </a:lvl1pPr>
            <a:lvl2pPr marL="342854" indent="0">
              <a:buNone/>
              <a:defRPr sz="900"/>
            </a:lvl2pPr>
            <a:lvl3pPr marL="685709" indent="0">
              <a:buNone/>
              <a:defRPr sz="750"/>
            </a:lvl3pPr>
            <a:lvl4pPr marL="1028563" indent="0">
              <a:buNone/>
              <a:defRPr sz="675"/>
            </a:lvl4pPr>
            <a:lvl5pPr marL="1371417" indent="0">
              <a:buNone/>
              <a:defRPr sz="675"/>
            </a:lvl5pPr>
            <a:lvl6pPr marL="1714271" indent="0">
              <a:buNone/>
              <a:defRPr sz="675"/>
            </a:lvl6pPr>
            <a:lvl7pPr marL="2057126" indent="0">
              <a:buNone/>
              <a:defRPr sz="675"/>
            </a:lvl7pPr>
            <a:lvl8pPr marL="2399980" indent="0">
              <a:buNone/>
              <a:defRPr sz="675"/>
            </a:lvl8pPr>
            <a:lvl9pPr marL="2742834" indent="0">
              <a:buNone/>
              <a:defRPr sz="675"/>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r>
              <a:rPr lang="de-DE">
                <a:solidFill>
                  <a:srgbClr val="000000"/>
                </a:solidFill>
              </a:rPr>
              <a:t>Page </a:t>
            </a:r>
            <a:fld id="{E4CCA09C-0C07-4217-81B5-487038311D11}" type="slidenum">
              <a:rPr lang="de-DE">
                <a:solidFill>
                  <a:srgbClr val="000000"/>
                </a:solidFill>
              </a:rPr>
              <a:pPr/>
              <a:t>‹Nº›</a:t>
            </a:fld>
            <a:endParaRPr lang="en-GB">
              <a:solidFill>
                <a:srgbClr val="000000"/>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r>
              <a:rPr lang="de-DE">
                <a:solidFill>
                  <a:srgbClr val="000000"/>
                </a:solidFill>
              </a:rPr>
              <a:t>Page </a:t>
            </a:r>
            <a:fld id="{14BCAD9D-719E-4126-9B89-5716AABC1CDB}" type="slidenum">
              <a:rPr lang="de-DE">
                <a:solidFill>
                  <a:srgbClr val="000000"/>
                </a:solidFill>
              </a:rPr>
              <a:pPr/>
              <a:t>‹Nº›</a:t>
            </a:fld>
            <a:endParaRPr lang="en-GB">
              <a:solidFill>
                <a:srgbClr val="000000"/>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01971" y="430321"/>
            <a:ext cx="1981544" cy="5406689"/>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52577" y="430321"/>
            <a:ext cx="5796969" cy="540668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r>
              <a:rPr lang="de-DE">
                <a:solidFill>
                  <a:srgbClr val="000000"/>
                </a:solidFill>
              </a:rPr>
              <a:t>Page </a:t>
            </a:r>
            <a:fld id="{56217871-A4B2-46F3-8C8B-4105ED60024A}" type="slidenum">
              <a:rPr lang="de-DE">
                <a:solidFill>
                  <a:srgbClr val="000000"/>
                </a:solidFill>
              </a:rPr>
              <a:pPr/>
              <a:t>‹Nº›</a:t>
            </a:fld>
            <a:endParaRPr lang="en-GB">
              <a:solidFill>
                <a:srgbClr val="000000"/>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849" y="336891"/>
            <a:ext cx="7842536" cy="759844"/>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3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008650"/>
      </p:ext>
    </p:extLst>
  </p:cSld>
  <p:clrMapOvr>
    <a:masterClrMapping/>
  </p:clrMapOvr>
  <p:transition spd="slow"/>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737" y="489064"/>
            <a:ext cx="8231267" cy="1143265"/>
          </a:xfrm>
          <a:prstGeom prst="rect">
            <a:avLst/>
          </a:prstGeom>
        </p:spPr>
        <p:txBody>
          <a:bodyPr/>
          <a:lstStyle>
            <a:lvl1pPr marL="0" marR="0" indent="0" algn="l" defTabSz="685709" rtl="0" eaLnBrk="1" fontAlgn="base" latinLnBrk="0" hangingPunct="1">
              <a:lnSpc>
                <a:spcPct val="100000"/>
              </a:lnSpc>
              <a:spcBef>
                <a:spcPct val="0"/>
              </a:spcBef>
              <a:spcAft>
                <a:spcPct val="0"/>
              </a:spcAft>
              <a:buClrTx/>
              <a:buSzTx/>
              <a:buFontTx/>
              <a:buNone/>
              <a:tabLst/>
              <a:defRPr>
                <a:solidFill>
                  <a:schemeClr val="tx1">
                    <a:lumMod val="75000"/>
                    <a:lumOff val="25000"/>
                  </a:schemeClr>
                </a:solidFill>
                <a:latin typeface="FrutigerNext LT Light" pitchFamily="34" charset="0"/>
                <a:ea typeface="微软雅黑" pitchFamily="34" charset="-122"/>
              </a:defRPr>
            </a:lvl1pPr>
          </a:lstStyle>
          <a:p>
            <a:r>
              <a:rPr lang="en-US" altLang="zh-CN" dirty="0" smtClean="0"/>
              <a:t>Content</a:t>
            </a:r>
            <a:endParaRPr lang="zh-CN" altLang="en-US" dirty="0"/>
          </a:p>
        </p:txBody>
      </p:sp>
      <p:sp>
        <p:nvSpPr>
          <p:cNvPr id="4" name="文本占位符 3"/>
          <p:cNvSpPr>
            <a:spLocks noGrp="1"/>
          </p:cNvSpPr>
          <p:nvPr>
            <p:ph type="body" sz="quarter" idx="10" hasCustomPrompt="1"/>
          </p:nvPr>
        </p:nvSpPr>
        <p:spPr>
          <a:xfrm>
            <a:off x="608357" y="1803817"/>
            <a:ext cx="7852681" cy="4074468"/>
          </a:xfrm>
          <a:prstGeom prst="rect">
            <a:avLst/>
          </a:prstGeom>
        </p:spPr>
        <p:txBody>
          <a:bodyPr/>
          <a:lstStyle>
            <a:lvl1pPr>
              <a:defRPr>
                <a:solidFill>
                  <a:schemeClr val="tx1">
                    <a:lumMod val="75000"/>
                    <a:lumOff val="25000"/>
                  </a:schemeClr>
                </a:solidFill>
                <a:latin typeface="微软雅黑" pitchFamily="34" charset="-122"/>
                <a:ea typeface="微软雅黑" pitchFamily="34" charset="-122"/>
              </a:defRPr>
            </a:lvl1pPr>
          </a:lstStyle>
          <a:p>
            <a:pPr lvl="0"/>
            <a:r>
              <a:rPr lang="zh-CN" altLang="en-US" dirty="0" smtClean="0"/>
              <a:t>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15106041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85" y="4748842"/>
            <a:ext cx="5617551" cy="61942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val="31107904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85737" y="274702"/>
            <a:ext cx="8231267" cy="1143265"/>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85737" y="1600573"/>
            <a:ext cx="8231267" cy="4527011"/>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9469574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435843" y="240513"/>
            <a:ext cx="8182344" cy="108025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66683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849" y="336891"/>
            <a:ext cx="7842536" cy="759844"/>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3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008650"/>
      </p:ext>
    </p:extLst>
  </p:cSld>
  <p:clrMapOvr>
    <a:masterClrMapping/>
  </p:clrMapOvr>
  <p:transition spd="slow"/>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737" y="489064"/>
            <a:ext cx="8231267" cy="1143265"/>
          </a:xfrm>
          <a:prstGeom prst="rect">
            <a:avLst/>
          </a:prstGeom>
        </p:spPr>
        <p:txBody>
          <a:bodyPr/>
          <a:lstStyle>
            <a:lvl1pPr marL="0" marR="0" indent="0" algn="l" defTabSz="685709" rtl="0" eaLnBrk="1" fontAlgn="base" latinLnBrk="0" hangingPunct="1">
              <a:lnSpc>
                <a:spcPct val="100000"/>
              </a:lnSpc>
              <a:spcBef>
                <a:spcPct val="0"/>
              </a:spcBef>
              <a:spcAft>
                <a:spcPct val="0"/>
              </a:spcAft>
              <a:buClrTx/>
              <a:buSzTx/>
              <a:buFontTx/>
              <a:buNone/>
              <a:tabLst/>
              <a:defRPr>
                <a:solidFill>
                  <a:schemeClr val="tx1">
                    <a:lumMod val="75000"/>
                    <a:lumOff val="25000"/>
                  </a:schemeClr>
                </a:solidFill>
                <a:latin typeface="FrutigerNext LT Light" pitchFamily="34" charset="0"/>
                <a:ea typeface="微软雅黑" pitchFamily="34" charset="-122"/>
              </a:defRPr>
            </a:lvl1pPr>
          </a:lstStyle>
          <a:p>
            <a:r>
              <a:rPr lang="en-US" altLang="zh-CN" dirty="0" smtClean="0"/>
              <a:t>Content</a:t>
            </a:r>
            <a:endParaRPr lang="zh-CN" altLang="en-US" dirty="0"/>
          </a:p>
        </p:txBody>
      </p:sp>
      <p:sp>
        <p:nvSpPr>
          <p:cNvPr id="4" name="文本占位符 3"/>
          <p:cNvSpPr>
            <a:spLocks noGrp="1"/>
          </p:cNvSpPr>
          <p:nvPr>
            <p:ph type="body" sz="quarter" idx="10" hasCustomPrompt="1"/>
          </p:nvPr>
        </p:nvSpPr>
        <p:spPr>
          <a:xfrm>
            <a:off x="608357" y="1803817"/>
            <a:ext cx="7852681" cy="4074468"/>
          </a:xfrm>
          <a:prstGeom prst="rect">
            <a:avLst/>
          </a:prstGeom>
        </p:spPr>
        <p:txBody>
          <a:bodyPr/>
          <a:lstStyle>
            <a:lvl1pPr>
              <a:defRPr>
                <a:solidFill>
                  <a:schemeClr val="tx1">
                    <a:lumMod val="75000"/>
                    <a:lumOff val="25000"/>
                  </a:schemeClr>
                </a:solidFill>
                <a:latin typeface="微软雅黑" pitchFamily="34" charset="-122"/>
                <a:ea typeface="微软雅黑" pitchFamily="34" charset="-122"/>
              </a:defRPr>
            </a:lvl1pPr>
          </a:lstStyle>
          <a:p>
            <a:pPr lvl="0"/>
            <a:r>
              <a:rPr lang="zh-CN" altLang="en-US" dirty="0" smtClean="0"/>
              <a:t>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151060414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85737" y="274702"/>
            <a:ext cx="8231267" cy="1143265"/>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85737" y="1600573"/>
            <a:ext cx="8231267" cy="4527011"/>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9469574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435843" y="240513"/>
            <a:ext cx="8182344" cy="108025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849" y="336891"/>
            <a:ext cx="7842536" cy="759844"/>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3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008650"/>
      </p:ext>
    </p:extLst>
  </p:cSld>
  <p:clrMapOvr>
    <a:masterClrMapping/>
  </p:clrMapOvr>
  <p:transition spd="slow"/>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85" y="4748842"/>
            <a:ext cx="5617551" cy="61942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val="7732698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737" y="489064"/>
            <a:ext cx="8231267" cy="1143265"/>
          </a:xfrm>
          <a:prstGeom prst="rect">
            <a:avLst/>
          </a:prstGeom>
        </p:spPr>
        <p:txBody>
          <a:bodyPr/>
          <a:lstStyle>
            <a:lvl1pPr marL="0" marR="0" indent="0" algn="l" defTabSz="685709" rtl="0" eaLnBrk="1" fontAlgn="base" latinLnBrk="0" hangingPunct="1">
              <a:lnSpc>
                <a:spcPct val="100000"/>
              </a:lnSpc>
              <a:spcBef>
                <a:spcPct val="0"/>
              </a:spcBef>
              <a:spcAft>
                <a:spcPct val="0"/>
              </a:spcAft>
              <a:buClrTx/>
              <a:buSzTx/>
              <a:buFontTx/>
              <a:buNone/>
              <a:tabLst/>
              <a:defRPr>
                <a:solidFill>
                  <a:schemeClr val="tx1">
                    <a:lumMod val="75000"/>
                    <a:lumOff val="25000"/>
                  </a:schemeClr>
                </a:solidFill>
                <a:latin typeface="FrutigerNext LT Light" pitchFamily="34" charset="0"/>
                <a:ea typeface="微软雅黑" pitchFamily="34" charset="-122"/>
              </a:defRPr>
            </a:lvl1pPr>
          </a:lstStyle>
          <a:p>
            <a:r>
              <a:rPr lang="en-US" altLang="zh-CN" dirty="0" smtClean="0"/>
              <a:t>Content</a:t>
            </a:r>
            <a:endParaRPr lang="zh-CN" altLang="en-US" dirty="0"/>
          </a:p>
        </p:txBody>
      </p:sp>
      <p:sp>
        <p:nvSpPr>
          <p:cNvPr id="4" name="文本占位符 3"/>
          <p:cNvSpPr>
            <a:spLocks noGrp="1"/>
          </p:cNvSpPr>
          <p:nvPr>
            <p:ph type="body" sz="quarter" idx="10" hasCustomPrompt="1"/>
          </p:nvPr>
        </p:nvSpPr>
        <p:spPr>
          <a:xfrm>
            <a:off x="608357" y="1803817"/>
            <a:ext cx="7852681" cy="4074468"/>
          </a:xfrm>
          <a:prstGeom prst="rect">
            <a:avLst/>
          </a:prstGeom>
        </p:spPr>
        <p:txBody>
          <a:bodyPr/>
          <a:lstStyle>
            <a:lvl1pPr>
              <a:defRPr>
                <a:solidFill>
                  <a:schemeClr val="tx1">
                    <a:lumMod val="75000"/>
                    <a:lumOff val="25000"/>
                  </a:schemeClr>
                </a:solidFill>
                <a:latin typeface="微软雅黑" pitchFamily="34" charset="-122"/>
                <a:ea typeface="微软雅黑" pitchFamily="34" charset="-122"/>
              </a:defRPr>
            </a:lvl1pPr>
          </a:lstStyle>
          <a:p>
            <a:pPr lvl="0"/>
            <a:r>
              <a:rPr lang="zh-CN" altLang="en-US" dirty="0" smtClean="0"/>
              <a:t>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151060414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85737" y="274702"/>
            <a:ext cx="8231267" cy="1143265"/>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85737" y="1600573"/>
            <a:ext cx="8231267" cy="4527011"/>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9469574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435843" y="240513"/>
            <a:ext cx="8182344" cy="108025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849" y="336891"/>
            <a:ext cx="7842536" cy="759844"/>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3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008650"/>
      </p:ext>
    </p:extLst>
  </p:cSld>
  <p:clrMapOvr>
    <a:masterClrMapping/>
  </p:clrMapOvr>
  <p:transition spd="slow"/>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737" y="489064"/>
            <a:ext cx="8231267" cy="1143265"/>
          </a:xfrm>
          <a:prstGeom prst="rect">
            <a:avLst/>
          </a:prstGeom>
        </p:spPr>
        <p:txBody>
          <a:bodyPr/>
          <a:lstStyle>
            <a:lvl1pPr marL="0" marR="0" indent="0" algn="l" defTabSz="685709" rtl="0" eaLnBrk="1" fontAlgn="base" latinLnBrk="0" hangingPunct="1">
              <a:lnSpc>
                <a:spcPct val="100000"/>
              </a:lnSpc>
              <a:spcBef>
                <a:spcPct val="0"/>
              </a:spcBef>
              <a:spcAft>
                <a:spcPct val="0"/>
              </a:spcAft>
              <a:buClrTx/>
              <a:buSzTx/>
              <a:buFontTx/>
              <a:buNone/>
              <a:tabLst/>
              <a:defRPr>
                <a:solidFill>
                  <a:schemeClr val="tx1">
                    <a:lumMod val="75000"/>
                    <a:lumOff val="25000"/>
                  </a:schemeClr>
                </a:solidFill>
                <a:latin typeface="FrutigerNext LT Light" pitchFamily="34" charset="0"/>
                <a:ea typeface="微软雅黑" pitchFamily="34" charset="-122"/>
              </a:defRPr>
            </a:lvl1pPr>
          </a:lstStyle>
          <a:p>
            <a:r>
              <a:rPr lang="en-US" altLang="zh-CN" dirty="0" smtClean="0"/>
              <a:t>Content</a:t>
            </a:r>
            <a:endParaRPr lang="zh-CN" altLang="en-US" dirty="0"/>
          </a:p>
        </p:txBody>
      </p:sp>
      <p:sp>
        <p:nvSpPr>
          <p:cNvPr id="4" name="文本占位符 3"/>
          <p:cNvSpPr>
            <a:spLocks noGrp="1"/>
          </p:cNvSpPr>
          <p:nvPr>
            <p:ph type="body" sz="quarter" idx="10" hasCustomPrompt="1"/>
          </p:nvPr>
        </p:nvSpPr>
        <p:spPr>
          <a:xfrm>
            <a:off x="608357" y="1803817"/>
            <a:ext cx="7852681" cy="4074468"/>
          </a:xfrm>
          <a:prstGeom prst="rect">
            <a:avLst/>
          </a:prstGeom>
        </p:spPr>
        <p:txBody>
          <a:bodyPr/>
          <a:lstStyle>
            <a:lvl1pPr>
              <a:defRPr>
                <a:solidFill>
                  <a:schemeClr val="tx1">
                    <a:lumMod val="75000"/>
                    <a:lumOff val="25000"/>
                  </a:schemeClr>
                </a:solidFill>
                <a:latin typeface="微软雅黑" pitchFamily="34" charset="-122"/>
                <a:ea typeface="微软雅黑" pitchFamily="34" charset="-122"/>
              </a:defRPr>
            </a:lvl1pPr>
          </a:lstStyle>
          <a:p>
            <a:pPr lvl="0"/>
            <a:r>
              <a:rPr lang="zh-CN" altLang="en-US" dirty="0" smtClean="0"/>
              <a:t>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151060414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85737" y="274702"/>
            <a:ext cx="8231267" cy="1143265"/>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85737" y="1600573"/>
            <a:ext cx="8231267" cy="4527011"/>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9469574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435843" y="240513"/>
            <a:ext cx="8182344" cy="108025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849" y="336891"/>
            <a:ext cx="7842536" cy="759844"/>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3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008650"/>
      </p:ext>
    </p:extLst>
  </p:cSld>
  <p:clrMapOvr>
    <a:masterClrMapping/>
  </p:clrMapOvr>
  <p:transition spd="slow"/>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85" y="4748842"/>
            <a:ext cx="5617551" cy="61942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val="27664071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737" y="489064"/>
            <a:ext cx="8231267" cy="1143265"/>
          </a:xfrm>
          <a:prstGeom prst="rect">
            <a:avLst/>
          </a:prstGeom>
        </p:spPr>
        <p:txBody>
          <a:bodyPr/>
          <a:lstStyle>
            <a:lvl1pPr marL="0" marR="0" indent="0" algn="l" defTabSz="685709" rtl="0" eaLnBrk="1" fontAlgn="base" latinLnBrk="0" hangingPunct="1">
              <a:lnSpc>
                <a:spcPct val="100000"/>
              </a:lnSpc>
              <a:spcBef>
                <a:spcPct val="0"/>
              </a:spcBef>
              <a:spcAft>
                <a:spcPct val="0"/>
              </a:spcAft>
              <a:buClrTx/>
              <a:buSzTx/>
              <a:buFontTx/>
              <a:buNone/>
              <a:tabLst/>
              <a:defRPr>
                <a:solidFill>
                  <a:schemeClr val="tx1">
                    <a:lumMod val="75000"/>
                    <a:lumOff val="25000"/>
                  </a:schemeClr>
                </a:solidFill>
                <a:latin typeface="FrutigerNext LT Light" pitchFamily="34" charset="0"/>
                <a:ea typeface="微软雅黑" pitchFamily="34" charset="-122"/>
              </a:defRPr>
            </a:lvl1pPr>
          </a:lstStyle>
          <a:p>
            <a:r>
              <a:rPr lang="en-US" altLang="zh-CN" dirty="0" smtClean="0"/>
              <a:t>Content</a:t>
            </a:r>
            <a:endParaRPr lang="zh-CN" altLang="en-US" dirty="0"/>
          </a:p>
        </p:txBody>
      </p:sp>
      <p:sp>
        <p:nvSpPr>
          <p:cNvPr id="4" name="文本占位符 3"/>
          <p:cNvSpPr>
            <a:spLocks noGrp="1"/>
          </p:cNvSpPr>
          <p:nvPr>
            <p:ph type="body" sz="quarter" idx="10" hasCustomPrompt="1"/>
          </p:nvPr>
        </p:nvSpPr>
        <p:spPr>
          <a:xfrm>
            <a:off x="608357" y="1803817"/>
            <a:ext cx="7852681" cy="4074468"/>
          </a:xfrm>
          <a:prstGeom prst="rect">
            <a:avLst/>
          </a:prstGeom>
        </p:spPr>
        <p:txBody>
          <a:bodyPr/>
          <a:lstStyle>
            <a:lvl1pPr>
              <a:defRPr>
                <a:solidFill>
                  <a:schemeClr val="tx1">
                    <a:lumMod val="75000"/>
                    <a:lumOff val="25000"/>
                  </a:schemeClr>
                </a:solidFill>
                <a:latin typeface="微软雅黑" pitchFamily="34" charset="-122"/>
                <a:ea typeface="微软雅黑" pitchFamily="34" charset="-122"/>
              </a:defRPr>
            </a:lvl1pPr>
          </a:lstStyle>
          <a:p>
            <a:pPr lvl="0"/>
            <a:r>
              <a:rPr lang="zh-CN" altLang="en-US" dirty="0" smtClean="0"/>
              <a:t>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Tree>
    <p:extLst>
      <p:ext uri="{BB962C8B-B14F-4D97-AF65-F5344CB8AC3E}">
        <p14:creationId xmlns:p14="http://schemas.microsoft.com/office/powerpoint/2010/main" val="151060414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85737" y="274702"/>
            <a:ext cx="8231267" cy="1143265"/>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85737" y="1600573"/>
            <a:ext cx="8231267" cy="4527011"/>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49469574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435843" y="240513"/>
            <a:ext cx="8182344" cy="108025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5849" y="336891"/>
            <a:ext cx="7842536" cy="759844"/>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3000" b="0" dirty="0">
                <a:solidFill>
                  <a:schemeClr val="tx2"/>
                </a:solidFill>
                <a:latin typeface="FrutigerNext LT Light" pitchFamily="34" charset="0"/>
                <a:ea typeface="黑体" pitchFamily="49" charset="-122"/>
              </a:defRPr>
            </a:lvl1pPr>
          </a:lstStyle>
          <a:p>
            <a:pPr lvl="0"/>
            <a:r>
              <a:rPr lang="en-US" altLang="zh-CN" dirty="0" smtClean="0"/>
              <a:t>HEADLINE TEXT TO BE PLACED</a:t>
            </a:r>
            <a:endParaRPr lang="zh-CN" altLang="en-US" dirty="0"/>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
        <p:nvSpPr>
          <p:cNvPr id="2" name="标题 1"/>
          <p:cNvSpPr>
            <a:spLocks noGrp="1"/>
          </p:cNvSpPr>
          <p:nvPr>
            <p:ph type="title"/>
          </p:nvPr>
        </p:nvSpPr>
        <p:spPr>
          <a:xfrm>
            <a:off x="435843" y="240513"/>
            <a:ext cx="8182344" cy="1080250"/>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366372177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85" y="2157970"/>
            <a:ext cx="5617551" cy="622333"/>
          </a:xfrm>
        </p:spPr>
        <p:txBody>
          <a:bodyPr/>
          <a:lstStyle/>
          <a:p>
            <a:r>
              <a:rPr lang="zh-CN" altLang="en-US" dirty="0" smtClean="0"/>
              <a:t>单击此处编辑母版标题样式</a:t>
            </a:r>
            <a:endParaRPr lang="zh-CN" altLang="en-US" dirty="0"/>
          </a:p>
        </p:txBody>
      </p:sp>
      <p:sp>
        <p:nvSpPr>
          <p:cNvPr id="8" name="副标题 2"/>
          <p:cNvSpPr>
            <a:spLocks noGrp="1"/>
          </p:cNvSpPr>
          <p:nvPr>
            <p:ph type="subTitle" idx="11"/>
          </p:nvPr>
        </p:nvSpPr>
        <p:spPr>
          <a:xfrm>
            <a:off x="755783" y="3069351"/>
            <a:ext cx="6401912" cy="492467"/>
          </a:xfrm>
          <a:prstGeom prst="rect">
            <a:avLst/>
          </a:prstGeom>
        </p:spPr>
        <p:txBody>
          <a:bodyPr/>
          <a:lstStyle>
            <a:lvl1pPr marL="0" indent="0" algn="l">
              <a:buNone/>
              <a:defRPr>
                <a:solidFill>
                  <a:schemeClr val="bg1"/>
                </a:solidFill>
              </a:defRPr>
            </a:lvl1pPr>
            <a:lvl2pPr marL="457231" indent="0" algn="ctr">
              <a:buNone/>
              <a:defRPr>
                <a:solidFill>
                  <a:schemeClr val="tx1">
                    <a:tint val="75000"/>
                  </a:schemeClr>
                </a:solidFill>
              </a:defRPr>
            </a:lvl2pPr>
            <a:lvl3pPr marL="914461" indent="0" algn="ctr">
              <a:buNone/>
              <a:defRPr>
                <a:solidFill>
                  <a:schemeClr val="tx1">
                    <a:tint val="75000"/>
                  </a:schemeClr>
                </a:solidFill>
              </a:defRPr>
            </a:lvl3pPr>
            <a:lvl4pPr marL="1371692" indent="0" algn="ctr">
              <a:buNone/>
              <a:defRPr>
                <a:solidFill>
                  <a:schemeClr val="tx1">
                    <a:tint val="75000"/>
                  </a:schemeClr>
                </a:solidFill>
              </a:defRPr>
            </a:lvl4pPr>
            <a:lvl5pPr marL="1828922" indent="0" algn="ctr">
              <a:buNone/>
              <a:defRPr>
                <a:solidFill>
                  <a:schemeClr val="tx1">
                    <a:tint val="75000"/>
                  </a:schemeClr>
                </a:solidFill>
              </a:defRPr>
            </a:lvl5pPr>
            <a:lvl6pPr marL="2286153" indent="0" algn="ctr">
              <a:buNone/>
              <a:defRPr>
                <a:solidFill>
                  <a:schemeClr val="tx1">
                    <a:tint val="75000"/>
                  </a:schemeClr>
                </a:solidFill>
              </a:defRPr>
            </a:lvl6pPr>
            <a:lvl7pPr marL="2743383" indent="0" algn="ctr">
              <a:buNone/>
              <a:defRPr>
                <a:solidFill>
                  <a:schemeClr val="tx1">
                    <a:tint val="75000"/>
                  </a:schemeClr>
                </a:solidFill>
              </a:defRPr>
            </a:lvl7pPr>
            <a:lvl8pPr marL="3200613" indent="0" algn="ctr">
              <a:buNone/>
              <a:defRPr>
                <a:solidFill>
                  <a:schemeClr val="tx1">
                    <a:tint val="75000"/>
                  </a:schemeClr>
                </a:solidFill>
              </a:defRPr>
            </a:lvl8pPr>
            <a:lvl9pPr marL="3657843" indent="0" algn="ctr">
              <a:buNone/>
              <a:defRPr>
                <a:solidFill>
                  <a:schemeClr val="tx1">
                    <a:tint val="75000"/>
                  </a:schemeClr>
                </a:solidFill>
              </a:defRPr>
            </a:lvl9pPr>
          </a:lstStyle>
          <a:p>
            <a:r>
              <a:rPr lang="zh-CN" altLang="en-US" smtClean="0"/>
              <a:t>单击此处编辑母版副标题样式</a:t>
            </a:r>
            <a:endParaRPr lang="zh-CN" altLang="en-US" dirty="0"/>
          </a:p>
        </p:txBody>
      </p:sp>
      <p:sp>
        <p:nvSpPr>
          <p:cNvPr id="4" name="Rectangle 19"/>
          <p:cNvSpPr>
            <a:spLocks noGrp="1" noChangeArrowheads="1"/>
          </p:cNvSpPr>
          <p:nvPr>
            <p:ph type="dt" sz="quarter" idx="12"/>
          </p:nvPr>
        </p:nvSpPr>
        <p:spPr>
          <a:ln/>
        </p:spPr>
        <p:txBody>
          <a:bodyPr/>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val="13976553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534416" y="2421683"/>
            <a:ext cx="4859579" cy="2520000"/>
          </a:xfrm>
        </p:spPr>
        <p:txBody>
          <a:bodyPr>
            <a:noAutofit/>
          </a:bodyPr>
          <a:lstStyle>
            <a:lvl1pPr algn="l">
              <a:defRPr sz="3300" b="1" baseline="0">
                <a:solidFill>
                  <a:schemeClr val="bg1"/>
                </a:solidFill>
                <a:latin typeface="+mn-lt"/>
                <a:ea typeface="黑体" pitchFamily="49" charset="-122"/>
                <a:cs typeface="Arial" pitchFamily="34" charset="0"/>
              </a:defRPr>
            </a:lvl1pPr>
          </a:lstStyle>
          <a:p>
            <a:r>
              <a:rPr lang="en-US" altLang="zh-CN" b="1" dirty="0" smtClean="0">
                <a:solidFill>
                  <a:schemeClr val="bg1"/>
                </a:solidFill>
                <a:latin typeface="Arial" panose="020B0604020202020204" pitchFamily="34" charset="0"/>
                <a:cs typeface="Arial" panose="020B0604020202020204" pitchFamily="34" charset="0"/>
              </a:rPr>
              <a:t>TITLE </a:t>
            </a:r>
            <a:br>
              <a:rPr lang="en-US" altLang="zh-CN" b="1" dirty="0" smtClean="0">
                <a:solidFill>
                  <a:schemeClr val="bg1"/>
                </a:solidFill>
                <a:latin typeface="Arial" panose="020B0604020202020204" pitchFamily="34" charset="0"/>
                <a:cs typeface="Arial" panose="020B0604020202020204" pitchFamily="34" charset="0"/>
              </a:rPr>
            </a:br>
            <a:r>
              <a:rPr lang="en-US" altLang="zh-CN" b="1" dirty="0" smtClean="0">
                <a:solidFill>
                  <a:schemeClr val="bg1"/>
                </a:solidFill>
                <a:latin typeface="Arial" panose="020B0604020202020204" pitchFamily="34" charset="0"/>
                <a:cs typeface="Arial" panose="020B0604020202020204" pitchFamily="34" charset="0"/>
              </a:rPr>
              <a:t>OF THE DAY</a:t>
            </a:r>
            <a:endParaRPr lang="fr-FR" altLang="zh-CN" sz="1500" b="1" dirty="0">
              <a:solidFill>
                <a:schemeClr val="bg1"/>
              </a:solidFill>
              <a:latin typeface="Arial" panose="020B0604020202020204" pitchFamily="34" charset="0"/>
              <a:cs typeface="Arial" panose="020B0604020202020204" pitchFamily="34" charset="0"/>
            </a:endParaRPr>
          </a:p>
        </p:txBody>
      </p:sp>
      <p:sp>
        <p:nvSpPr>
          <p:cNvPr id="3" name="副标题 2"/>
          <p:cNvSpPr>
            <a:spLocks noGrp="1"/>
          </p:cNvSpPr>
          <p:nvPr>
            <p:ph type="subTitle" idx="1" hasCustomPrompt="1"/>
          </p:nvPr>
        </p:nvSpPr>
        <p:spPr>
          <a:xfrm>
            <a:off x="1025395" y="4476981"/>
            <a:ext cx="3239720" cy="1080000"/>
          </a:xfrm>
        </p:spPr>
        <p:txBody>
          <a:bodyPr>
            <a:noAutofit/>
          </a:bodyPr>
          <a:lstStyle>
            <a:lvl1pPr marL="0" marR="0" indent="0" algn="l" defTabSz="914461" rtl="0" eaLnBrk="1" fontAlgn="auto" latinLnBrk="0" hangingPunct="1">
              <a:lnSpc>
                <a:spcPct val="100000"/>
              </a:lnSpc>
              <a:spcBef>
                <a:spcPts val="0"/>
              </a:spcBef>
              <a:spcAft>
                <a:spcPts val="0"/>
              </a:spcAft>
              <a:buClrTx/>
              <a:buSzTx/>
              <a:buFontTx/>
              <a:buNone/>
              <a:tabLst/>
              <a:defRPr sz="1500" b="1">
                <a:solidFill>
                  <a:schemeClr val="bg1"/>
                </a:solidFill>
                <a:latin typeface="+mn-lt"/>
                <a:ea typeface="黑体" pitchFamily="49" charset="-122"/>
                <a:cs typeface="Arial" pitchFamily="34" charset="0"/>
              </a:defRPr>
            </a:lvl1pPr>
            <a:lvl2pPr marL="457231" indent="0" algn="ctr">
              <a:buNone/>
              <a:defRPr>
                <a:solidFill>
                  <a:schemeClr val="tx1">
                    <a:tint val="75000"/>
                  </a:schemeClr>
                </a:solidFill>
              </a:defRPr>
            </a:lvl2pPr>
            <a:lvl3pPr marL="914461" indent="0" algn="ctr">
              <a:buNone/>
              <a:defRPr>
                <a:solidFill>
                  <a:schemeClr val="tx1">
                    <a:tint val="75000"/>
                  </a:schemeClr>
                </a:solidFill>
              </a:defRPr>
            </a:lvl3pPr>
            <a:lvl4pPr marL="1371692" indent="0" algn="ctr">
              <a:buNone/>
              <a:defRPr>
                <a:solidFill>
                  <a:schemeClr val="tx1">
                    <a:tint val="75000"/>
                  </a:schemeClr>
                </a:solidFill>
              </a:defRPr>
            </a:lvl4pPr>
            <a:lvl5pPr marL="1828922" indent="0" algn="ctr">
              <a:buNone/>
              <a:defRPr>
                <a:solidFill>
                  <a:schemeClr val="tx1">
                    <a:tint val="75000"/>
                  </a:schemeClr>
                </a:solidFill>
              </a:defRPr>
            </a:lvl5pPr>
            <a:lvl6pPr marL="2286153" indent="0" algn="ctr">
              <a:buNone/>
              <a:defRPr>
                <a:solidFill>
                  <a:schemeClr val="tx1">
                    <a:tint val="75000"/>
                  </a:schemeClr>
                </a:solidFill>
              </a:defRPr>
            </a:lvl6pPr>
            <a:lvl7pPr marL="2743383" indent="0" algn="ctr">
              <a:buNone/>
              <a:defRPr>
                <a:solidFill>
                  <a:schemeClr val="tx1">
                    <a:tint val="75000"/>
                  </a:schemeClr>
                </a:solidFill>
              </a:defRPr>
            </a:lvl7pPr>
            <a:lvl8pPr marL="3200613" indent="0" algn="ctr">
              <a:buNone/>
              <a:defRPr>
                <a:solidFill>
                  <a:schemeClr val="tx1">
                    <a:tint val="75000"/>
                  </a:schemeClr>
                </a:solidFill>
              </a:defRPr>
            </a:lvl8pPr>
            <a:lvl9pPr marL="3657843" indent="0" algn="ctr">
              <a:buNone/>
              <a:defRPr>
                <a:solidFill>
                  <a:schemeClr val="tx1">
                    <a:tint val="75000"/>
                  </a:schemeClr>
                </a:solidFill>
              </a:defRPr>
            </a:lvl9pPr>
          </a:lstStyle>
          <a:p>
            <a:r>
              <a:rPr lang="en-US" altLang="zh-CN" sz="1500" dirty="0" smtClean="0">
                <a:latin typeface="Arial" panose="020B0604020202020204" pitchFamily="34" charset="0"/>
              </a:rPr>
              <a:t>November 20</a:t>
            </a:r>
            <a:r>
              <a:rPr lang="en-US" altLang="zh-CN" sz="1500" baseline="30000" dirty="0" smtClean="0">
                <a:latin typeface="Arial" panose="020B0604020202020204" pitchFamily="34" charset="0"/>
              </a:rPr>
              <a:t>th</a:t>
            </a:r>
            <a:r>
              <a:rPr lang="en-US" altLang="zh-CN" sz="1500" dirty="0" smtClean="0">
                <a:latin typeface="Arial" panose="020B0604020202020204" pitchFamily="34" charset="0"/>
              </a:rPr>
              <a:t> 2015</a:t>
            </a:r>
            <a:endParaRPr lang="fr-FR" altLang="zh-CN" sz="1500" dirty="0">
              <a:latin typeface="Arial" panose="020B0604020202020204" pitchFamily="34" charset="0"/>
            </a:endParaRPr>
          </a:p>
        </p:txBody>
      </p:sp>
    </p:spTree>
    <p:extLst>
      <p:ext uri="{BB962C8B-B14F-4D97-AF65-F5344CB8AC3E}">
        <p14:creationId xmlns:p14="http://schemas.microsoft.com/office/powerpoint/2010/main" val="32741468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67" y="2056"/>
            <a:ext cx="9140677" cy="6855477"/>
          </a:xfrm>
          <a:prstGeom prst="rect">
            <a:avLst/>
          </a:prstGeom>
        </p:spPr>
      </p:pic>
    </p:spTree>
    <p:extLst>
      <p:ext uri="{BB962C8B-B14F-4D97-AF65-F5344CB8AC3E}">
        <p14:creationId xmlns:p14="http://schemas.microsoft.com/office/powerpoint/2010/main" val="319274826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标题和内容-lll">
    <p:spTree>
      <p:nvGrpSpPr>
        <p:cNvPr id="1" name=""/>
        <p:cNvGrpSpPr/>
        <p:nvPr/>
      </p:nvGrpSpPr>
      <p:grpSpPr>
        <a:xfrm>
          <a:off x="0" y="0"/>
          <a:ext cx="0" cy="0"/>
          <a:chOff x="0" y="0"/>
          <a:chExt cx="0" cy="0"/>
        </a:xfrm>
      </p:grpSpPr>
      <p:sp>
        <p:nvSpPr>
          <p:cNvPr id="2" name="标题 1"/>
          <p:cNvSpPr>
            <a:spLocks noGrp="1"/>
          </p:cNvSpPr>
          <p:nvPr>
            <p:ph type="title"/>
          </p:nvPr>
        </p:nvSpPr>
        <p:spPr>
          <a:xfrm>
            <a:off x="468694" y="332733"/>
            <a:ext cx="8206592" cy="941390"/>
          </a:xfrm>
          <a:prstGeom prst="rect">
            <a:avLst/>
          </a:prstGeom>
        </p:spPr>
        <p:txBody>
          <a:bodyPr anchor="ctr"/>
          <a:lstStyle>
            <a:lvl1pPr algn="l">
              <a:defRPr sz="2400" b="1">
                <a:solidFill>
                  <a:schemeClr val="bg1"/>
                </a:solidFill>
                <a:latin typeface="FrutigerNext LT Medium" panose="020B0603040504020204" pitchFamily="34" charset="0"/>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70302" y="1636396"/>
            <a:ext cx="8206592" cy="4530337"/>
          </a:xfrm>
          <a:prstGeom prst="rect">
            <a:avLst/>
          </a:prstGeom>
        </p:spPr>
        <p:txBody>
          <a:bodyPr/>
          <a:lstStyle>
            <a:lvl1pPr>
              <a:defRPr sz="2400">
                <a:solidFill>
                  <a:schemeClr val="bg1"/>
                </a:solidFill>
                <a:latin typeface="FrutigerNext LT Medium" panose="020B0603040504020204" pitchFamily="34" charset="0"/>
              </a:defRPr>
            </a:lvl1pPr>
            <a:lvl2pPr>
              <a:defRPr sz="2100">
                <a:solidFill>
                  <a:schemeClr val="bg1"/>
                </a:solidFill>
                <a:latin typeface="FrutigerNext LT Medium" panose="020B0603040504020204" pitchFamily="34" charset="0"/>
              </a:defRPr>
            </a:lvl2pPr>
            <a:lvl3pPr>
              <a:defRPr sz="1500">
                <a:solidFill>
                  <a:schemeClr val="bg1"/>
                </a:solidFill>
                <a:latin typeface="FrutigerNext LT Medium" panose="020B0603040504020204" pitchFamily="34" charset="0"/>
              </a:defRPr>
            </a:lvl3pPr>
            <a:lvl4pPr>
              <a:defRPr sz="1350">
                <a:solidFill>
                  <a:schemeClr val="bg1"/>
                </a:solidFill>
                <a:latin typeface="FrutigerNext LT Medium" panose="020B0603040504020204" pitchFamily="34" charset="0"/>
              </a:defRPr>
            </a:lvl4pPr>
            <a:lvl5pPr>
              <a:defRPr sz="1350">
                <a:solidFill>
                  <a:schemeClr val="bg1"/>
                </a:solidFill>
                <a:latin typeface="FrutigerNext LT Medium" panose="020B0603040504020204" pitchFamily="34" charset="0"/>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28337609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3" name="标题 1"/>
          <p:cNvSpPr>
            <a:spLocks noGrp="1"/>
          </p:cNvSpPr>
          <p:nvPr>
            <p:ph type="ctrTitle" hasCustomPrompt="1"/>
          </p:nvPr>
        </p:nvSpPr>
        <p:spPr>
          <a:xfrm>
            <a:off x="323146" y="165140"/>
            <a:ext cx="7921739" cy="1056245"/>
          </a:xfrm>
          <a:prstGeom prst="rect">
            <a:avLst/>
          </a:prstGeom>
        </p:spPr>
        <p:txBody>
          <a:bodyPr>
            <a:noAutofit/>
          </a:bodyPr>
          <a:lstStyle>
            <a:lvl1pPr marL="0" marR="0" indent="0" algn="l" defTabSz="914278" rtl="0" eaLnBrk="1" fontAlgn="auto" latinLnBrk="0" hangingPunct="1">
              <a:lnSpc>
                <a:spcPct val="100000"/>
              </a:lnSpc>
              <a:spcBef>
                <a:spcPct val="0"/>
              </a:spcBef>
              <a:spcAft>
                <a:spcPts val="0"/>
              </a:spcAft>
              <a:buClrTx/>
              <a:buSzTx/>
              <a:buFontTx/>
              <a:buNone/>
              <a:tabLst/>
              <a:defRPr sz="2399" b="1">
                <a:solidFill>
                  <a:schemeClr val="bg1"/>
                </a:solidFill>
              </a:defRPr>
            </a:lvl1pPr>
          </a:lstStyle>
          <a:p>
            <a:r>
              <a:rPr lang="en-US" altLang="zh-CN" dirty="0" smtClean="0"/>
              <a:t>Headline in Arial bold 32 point</a:t>
            </a:r>
          </a:p>
        </p:txBody>
      </p:sp>
    </p:spTree>
    <p:extLst>
      <p:ext uri="{BB962C8B-B14F-4D97-AF65-F5344CB8AC3E}">
        <p14:creationId xmlns:p14="http://schemas.microsoft.com/office/powerpoint/2010/main" val="366524151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85" y="4748842"/>
            <a:ext cx="5617551" cy="61942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extLst>
      <p:ext uri="{BB962C8B-B14F-4D97-AF65-F5344CB8AC3E}">
        <p14:creationId xmlns:p14="http://schemas.microsoft.com/office/powerpoint/2010/main" val="19298236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23145" y="165139"/>
            <a:ext cx="7921739" cy="1056245"/>
          </a:xfrm>
        </p:spPr>
        <p:txBody>
          <a:bodyPr>
            <a:noAutofit/>
          </a:bodyPr>
          <a:lstStyle>
            <a:lvl1pPr marL="0" marR="0" indent="0" algn="l" defTabSz="914461" rtl="0" eaLnBrk="1" fontAlgn="auto" latinLnBrk="0" hangingPunct="1">
              <a:lnSpc>
                <a:spcPct val="100000"/>
              </a:lnSpc>
              <a:spcBef>
                <a:spcPct val="0"/>
              </a:spcBef>
              <a:spcAft>
                <a:spcPts val="0"/>
              </a:spcAft>
              <a:buClrTx/>
              <a:buSzTx/>
              <a:buFontTx/>
              <a:buNone/>
              <a:tabLst/>
              <a:defRPr sz="3000" b="1">
                <a:solidFill>
                  <a:schemeClr val="bg1"/>
                </a:solidFill>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323144" y="1501202"/>
            <a:ext cx="8508428" cy="4801111"/>
          </a:xfrm>
        </p:spPr>
        <p:txBody>
          <a:bodyPr>
            <a:normAutofit/>
          </a:bodyPr>
          <a:lstStyle>
            <a:lvl1pPr marL="0" marR="0" indent="0" algn="l" defTabSz="914461" rtl="0" eaLnBrk="1" fontAlgn="auto" latinLnBrk="0" hangingPunct="1">
              <a:lnSpc>
                <a:spcPct val="100000"/>
              </a:lnSpc>
              <a:spcBef>
                <a:spcPct val="20000"/>
              </a:spcBef>
              <a:spcAft>
                <a:spcPts val="0"/>
              </a:spcAft>
              <a:buClrTx/>
              <a:buSzTx/>
              <a:buFont typeface="Arial" pitchFamily="34" charset="0"/>
              <a:buNone/>
              <a:tabLst/>
              <a:defRPr sz="2100" baseline="0">
                <a:solidFill>
                  <a:schemeClr val="bg1"/>
                </a:solidFill>
              </a:defRPr>
            </a:lvl1pPr>
            <a:lvl2pPr marL="457231" indent="0" algn="ctr">
              <a:buNone/>
              <a:defRPr>
                <a:solidFill>
                  <a:schemeClr val="tx1">
                    <a:tint val="75000"/>
                  </a:schemeClr>
                </a:solidFill>
              </a:defRPr>
            </a:lvl2pPr>
            <a:lvl3pPr marL="914461" indent="0" algn="ctr">
              <a:buNone/>
              <a:defRPr>
                <a:solidFill>
                  <a:schemeClr val="tx1">
                    <a:tint val="75000"/>
                  </a:schemeClr>
                </a:solidFill>
              </a:defRPr>
            </a:lvl3pPr>
            <a:lvl4pPr marL="1371692" indent="0" algn="ctr">
              <a:buNone/>
              <a:defRPr>
                <a:solidFill>
                  <a:schemeClr val="tx1">
                    <a:tint val="75000"/>
                  </a:schemeClr>
                </a:solidFill>
              </a:defRPr>
            </a:lvl4pPr>
            <a:lvl5pPr marL="1828922" indent="0" algn="ctr">
              <a:buNone/>
              <a:defRPr>
                <a:solidFill>
                  <a:schemeClr val="tx1">
                    <a:tint val="75000"/>
                  </a:schemeClr>
                </a:solidFill>
              </a:defRPr>
            </a:lvl5pPr>
            <a:lvl6pPr marL="2286153" indent="0" algn="ctr">
              <a:buNone/>
              <a:defRPr>
                <a:solidFill>
                  <a:schemeClr val="tx1">
                    <a:tint val="75000"/>
                  </a:schemeClr>
                </a:solidFill>
              </a:defRPr>
            </a:lvl6pPr>
            <a:lvl7pPr marL="2743383" indent="0" algn="ctr">
              <a:buNone/>
              <a:defRPr>
                <a:solidFill>
                  <a:schemeClr val="tx1">
                    <a:tint val="75000"/>
                  </a:schemeClr>
                </a:solidFill>
              </a:defRPr>
            </a:lvl7pPr>
            <a:lvl8pPr marL="3200613" indent="0" algn="ctr">
              <a:buNone/>
              <a:defRPr>
                <a:solidFill>
                  <a:schemeClr val="tx1">
                    <a:tint val="75000"/>
                  </a:schemeClr>
                </a:solidFill>
              </a:defRPr>
            </a:lvl8pPr>
            <a:lvl9pPr marL="3657843"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350005185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0979715"/>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32370" y="6403873"/>
            <a:ext cx="1057183" cy="1101980"/>
          </a:xfrm>
          <a:prstGeom prst="rect">
            <a:avLst/>
          </a:prstGeom>
        </p:spPr>
        <p:txBody>
          <a:bodyPr lIns="121828" tIns="60918" rIns="121828" bIns="60918"/>
          <a:lstStyle/>
          <a:p>
            <a:endParaRPr lang="de-DE" altLang="zh-CN" smtClean="0">
              <a:solidFill>
                <a:srgbClr val="000000"/>
              </a:solidFill>
            </a:endParaRPr>
          </a:p>
          <a:p>
            <a:r>
              <a:rPr lang="de-DE" altLang="zh-CN" smtClean="0">
                <a:solidFill>
                  <a:srgbClr val="000000"/>
                </a:solidFill>
              </a:rPr>
              <a:t>Page </a:t>
            </a:r>
            <a:fld id="{8E86A71A-3F4B-4803-845C-7058DE3A958C}" type="slidenum">
              <a:rPr lang="de-DE" altLang="zh-CN" smtClean="0">
                <a:solidFill>
                  <a:srgbClr val="000000"/>
                </a:solidFill>
              </a:rPr>
              <a:pPr/>
              <a:t>‹Nº›</a:t>
            </a:fld>
            <a:endParaRPr lang="en-GB" altLang="zh-CN" smtClean="0">
              <a:solidFill>
                <a:srgbClr val="000000"/>
              </a:solidFill>
            </a:endParaRPr>
          </a:p>
        </p:txBody>
      </p:sp>
    </p:spTree>
    <p:extLst>
      <p:ext uri="{BB962C8B-B14F-4D97-AF65-F5344CB8AC3E}">
        <p14:creationId xmlns:p14="http://schemas.microsoft.com/office/powerpoint/2010/main" val="1709770110"/>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5932370" y="6403872"/>
            <a:ext cx="1057183" cy="1101980"/>
          </a:xfrm>
          <a:prstGeom prst="rect">
            <a:avLst/>
          </a:prstGeom>
        </p:spPr>
        <p:txBody>
          <a:bodyPr/>
          <a:lstStyle>
            <a:lvl1pPr>
              <a:buClr>
                <a:srgbClr val="CC9900"/>
              </a:buClr>
              <a:buFont typeface="Wingdings" pitchFamily="2" charset="2"/>
              <a:buChar char="n"/>
              <a:defRPr b="1"/>
            </a:lvl1pPr>
          </a:lstStyle>
          <a:p>
            <a:pPr>
              <a:defRPr/>
            </a:pPr>
            <a:endParaRPr lang="de-DE" altLang="zh-CN">
              <a:solidFill>
                <a:prstClr val="white"/>
              </a:solidFill>
            </a:endParaRPr>
          </a:p>
          <a:p>
            <a:pPr>
              <a:defRPr/>
            </a:pPr>
            <a:r>
              <a:rPr lang="de-DE" altLang="zh-CN">
                <a:solidFill>
                  <a:prstClr val="white"/>
                </a:solidFill>
              </a:rPr>
              <a:t>Page </a:t>
            </a:r>
            <a:fld id="{556A6E8A-A075-4B13-B6B2-2461868E8E7A}" type="slidenum">
              <a:rPr lang="de-DE" altLang="zh-CN">
                <a:solidFill>
                  <a:prstClr val="white"/>
                </a:solidFill>
              </a:rPr>
              <a:pPr>
                <a:defRPr/>
              </a:pPr>
              <a:t>‹Nº›</a:t>
            </a:fld>
            <a:endParaRPr lang="en-GB" altLang="zh-CN">
              <a:solidFill>
                <a:prstClr val="white"/>
              </a:solidFill>
            </a:endParaRPr>
          </a:p>
        </p:txBody>
      </p:sp>
    </p:spTree>
    <p:extLst>
      <p:ext uri="{BB962C8B-B14F-4D97-AF65-F5344CB8AC3E}">
        <p14:creationId xmlns:p14="http://schemas.microsoft.com/office/powerpoint/2010/main" val="1372549197"/>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84000" y="399601"/>
            <a:ext cx="7747000" cy="395869"/>
          </a:xfrm>
          <a:noFill/>
          <a:ln>
            <a:noFill/>
          </a:ln>
          <a:effectLst/>
          <a:extLst/>
        </p:spPr>
        <p:txBody>
          <a:bodyPr lIns="36000" tIns="36000" rIns="36000" bIns="36000" anchor="t">
            <a:spAutoFit/>
          </a:bodyPr>
          <a:lstStyle>
            <a:lvl1pPr>
              <a:defRPr lang="zh-CN" altLang="en-US" sz="2100" b="1" kern="1200">
                <a:latin typeface="FrutigerNext LT Medium" pitchFamily="34" charset="0"/>
              </a:defRPr>
            </a:lvl1pPr>
          </a:lstStyle>
          <a:p>
            <a:pPr lvl="0"/>
            <a:r>
              <a:rPr lang="zh-CN" altLang="en-US" dirty="0" smtClean="0"/>
              <a:t>单击此处编辑母版标题样式</a:t>
            </a:r>
            <a:endParaRPr lang="zh-CN" altLang="en-US" dirty="0"/>
          </a:p>
        </p:txBody>
      </p:sp>
      <p:sp>
        <p:nvSpPr>
          <p:cNvPr id="3" name="Rectangle 10"/>
          <p:cNvSpPr>
            <a:spLocks noGrp="1" noChangeArrowheads="1"/>
          </p:cNvSpPr>
          <p:nvPr>
            <p:ph type="dt" sz="half" idx="10"/>
          </p:nvPr>
        </p:nvSpPr>
        <p:spPr>
          <a:xfrm>
            <a:off x="6362700" y="6491288"/>
            <a:ext cx="2097088" cy="455612"/>
          </a:xfrm>
          <a:prstGeom prst="rect">
            <a:avLst/>
          </a:prstGeom>
          <a:ln/>
        </p:spPr>
        <p:txBody>
          <a:bodyPr/>
          <a:lstStyle>
            <a:lvl1pPr>
              <a:defRPr/>
            </a:lvl1pPr>
          </a:lstStyle>
          <a:p>
            <a:r>
              <a:rPr lang="de-DE" altLang="zh-CN">
                <a:solidFill>
                  <a:prstClr val="white"/>
                </a:solidFill>
              </a:rPr>
              <a:t>Page </a:t>
            </a:r>
            <a:fld id="{9E42A978-DB2E-4ED1-8994-20AA84FDBB34}" type="slidenum">
              <a:rPr lang="de-DE" altLang="zh-CN">
                <a:solidFill>
                  <a:prstClr val="white"/>
                </a:solidFill>
              </a:rPr>
              <a:pPr/>
              <a:t>‹Nº›</a:t>
            </a:fld>
            <a:endParaRPr lang="en-GB" altLang="zh-CN">
              <a:solidFill>
                <a:prstClr val="white"/>
              </a:solidFill>
            </a:endParaRPr>
          </a:p>
        </p:txBody>
      </p:sp>
    </p:spTree>
    <p:extLst>
      <p:ext uri="{BB962C8B-B14F-4D97-AF65-F5344CB8AC3E}">
        <p14:creationId xmlns:p14="http://schemas.microsoft.com/office/powerpoint/2010/main" val="3577646974"/>
      </p:ext>
    </p:extLst>
  </p:cSld>
  <p:clrMapOvr>
    <a:masterClrMapping/>
  </p:clrMapOvr>
  <p:transition advClick="0"/>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1_标题和内容-lll">
    <p:spTree>
      <p:nvGrpSpPr>
        <p:cNvPr id="1" name=""/>
        <p:cNvGrpSpPr/>
        <p:nvPr/>
      </p:nvGrpSpPr>
      <p:grpSpPr>
        <a:xfrm>
          <a:off x="0" y="0"/>
          <a:ext cx="0" cy="0"/>
          <a:chOff x="0" y="0"/>
          <a:chExt cx="0" cy="0"/>
        </a:xfrm>
      </p:grpSpPr>
      <p:sp>
        <p:nvSpPr>
          <p:cNvPr id="2" name="标题 1"/>
          <p:cNvSpPr>
            <a:spLocks noGrp="1"/>
          </p:cNvSpPr>
          <p:nvPr>
            <p:ph type="title"/>
          </p:nvPr>
        </p:nvSpPr>
        <p:spPr>
          <a:xfrm>
            <a:off x="468694" y="332733"/>
            <a:ext cx="8206592" cy="941390"/>
          </a:xfrm>
          <a:prstGeom prst="rect">
            <a:avLst/>
          </a:prstGeom>
        </p:spPr>
        <p:txBody>
          <a:bodyPr anchor="ctr"/>
          <a:lstStyle>
            <a:lvl1pPr algn="l">
              <a:defRPr sz="2400" b="1">
                <a:solidFill>
                  <a:schemeClr val="bg1"/>
                </a:solidFill>
                <a:latin typeface="FrutigerNext LT Medium" panose="020B0603040504020204" pitchFamily="34" charset="0"/>
                <a:ea typeface="微软雅黑"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470302" y="1636396"/>
            <a:ext cx="8206592" cy="4530337"/>
          </a:xfrm>
          <a:prstGeom prst="rect">
            <a:avLst/>
          </a:prstGeom>
        </p:spPr>
        <p:txBody>
          <a:bodyPr/>
          <a:lstStyle>
            <a:lvl1pPr>
              <a:defRPr sz="2400">
                <a:solidFill>
                  <a:schemeClr val="bg1"/>
                </a:solidFill>
                <a:latin typeface="FrutigerNext LT Medium" panose="020B0603040504020204" pitchFamily="34" charset="0"/>
              </a:defRPr>
            </a:lvl1pPr>
            <a:lvl2pPr>
              <a:defRPr sz="2100">
                <a:solidFill>
                  <a:schemeClr val="bg1"/>
                </a:solidFill>
                <a:latin typeface="FrutigerNext LT Medium" panose="020B0603040504020204" pitchFamily="34" charset="0"/>
              </a:defRPr>
            </a:lvl2pPr>
            <a:lvl3pPr>
              <a:defRPr sz="1500">
                <a:solidFill>
                  <a:schemeClr val="bg1"/>
                </a:solidFill>
                <a:latin typeface="FrutigerNext LT Medium" panose="020B0603040504020204" pitchFamily="34" charset="0"/>
              </a:defRPr>
            </a:lvl3pPr>
            <a:lvl4pPr>
              <a:defRPr sz="1350">
                <a:solidFill>
                  <a:schemeClr val="bg1"/>
                </a:solidFill>
                <a:latin typeface="FrutigerNext LT Medium" panose="020B0603040504020204" pitchFamily="34" charset="0"/>
              </a:defRPr>
            </a:lvl4pPr>
            <a:lvl5pPr>
              <a:defRPr sz="1350">
                <a:solidFill>
                  <a:schemeClr val="bg1"/>
                </a:solidFill>
                <a:latin typeface="FrutigerNext LT Medium" panose="020B0603040504020204" pitchFamily="34" charset="0"/>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275489787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23145" y="165139"/>
            <a:ext cx="7921739" cy="1056245"/>
          </a:xfrm>
        </p:spPr>
        <p:txBody>
          <a:bodyPr>
            <a:noAutofit/>
          </a:bodyPr>
          <a:lstStyle>
            <a:lvl1pPr marL="0" marR="0" indent="0" algn="l" defTabSz="914461" rtl="0" eaLnBrk="1" fontAlgn="auto" latinLnBrk="0" hangingPunct="1">
              <a:lnSpc>
                <a:spcPct val="100000"/>
              </a:lnSpc>
              <a:spcBef>
                <a:spcPct val="0"/>
              </a:spcBef>
              <a:spcAft>
                <a:spcPts val="0"/>
              </a:spcAft>
              <a:buClrTx/>
              <a:buSzTx/>
              <a:buFontTx/>
              <a:buNone/>
              <a:tabLst/>
              <a:defRPr sz="3000" b="1">
                <a:solidFill>
                  <a:schemeClr val="bg1"/>
                </a:solidFill>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323144" y="1501202"/>
            <a:ext cx="8508428" cy="4801111"/>
          </a:xfrm>
        </p:spPr>
        <p:txBody>
          <a:bodyPr>
            <a:normAutofit/>
          </a:bodyPr>
          <a:lstStyle>
            <a:lvl1pPr marL="0" marR="0" indent="0" algn="l" defTabSz="914461" rtl="0" eaLnBrk="1" fontAlgn="auto" latinLnBrk="0" hangingPunct="1">
              <a:lnSpc>
                <a:spcPct val="100000"/>
              </a:lnSpc>
              <a:spcBef>
                <a:spcPct val="20000"/>
              </a:spcBef>
              <a:spcAft>
                <a:spcPts val="0"/>
              </a:spcAft>
              <a:buClrTx/>
              <a:buSzTx/>
              <a:buFont typeface="Arial" pitchFamily="34" charset="0"/>
              <a:buNone/>
              <a:tabLst/>
              <a:defRPr sz="2100" baseline="0">
                <a:solidFill>
                  <a:schemeClr val="bg1"/>
                </a:solidFill>
              </a:defRPr>
            </a:lvl1pPr>
            <a:lvl2pPr marL="457231" indent="0" algn="ctr">
              <a:buNone/>
              <a:defRPr>
                <a:solidFill>
                  <a:schemeClr val="tx1">
                    <a:tint val="75000"/>
                  </a:schemeClr>
                </a:solidFill>
              </a:defRPr>
            </a:lvl2pPr>
            <a:lvl3pPr marL="914461" indent="0" algn="ctr">
              <a:buNone/>
              <a:defRPr>
                <a:solidFill>
                  <a:schemeClr val="tx1">
                    <a:tint val="75000"/>
                  </a:schemeClr>
                </a:solidFill>
              </a:defRPr>
            </a:lvl3pPr>
            <a:lvl4pPr marL="1371692" indent="0" algn="ctr">
              <a:buNone/>
              <a:defRPr>
                <a:solidFill>
                  <a:schemeClr val="tx1">
                    <a:tint val="75000"/>
                  </a:schemeClr>
                </a:solidFill>
              </a:defRPr>
            </a:lvl4pPr>
            <a:lvl5pPr marL="1828922" indent="0" algn="ctr">
              <a:buNone/>
              <a:defRPr>
                <a:solidFill>
                  <a:schemeClr val="tx1">
                    <a:tint val="75000"/>
                  </a:schemeClr>
                </a:solidFill>
              </a:defRPr>
            </a:lvl5pPr>
            <a:lvl6pPr marL="2286153" indent="0" algn="ctr">
              <a:buNone/>
              <a:defRPr>
                <a:solidFill>
                  <a:schemeClr val="tx1">
                    <a:tint val="75000"/>
                  </a:schemeClr>
                </a:solidFill>
              </a:defRPr>
            </a:lvl6pPr>
            <a:lvl7pPr marL="2743383" indent="0" algn="ctr">
              <a:buNone/>
              <a:defRPr>
                <a:solidFill>
                  <a:schemeClr val="tx1">
                    <a:tint val="75000"/>
                  </a:schemeClr>
                </a:solidFill>
              </a:defRPr>
            </a:lvl7pPr>
            <a:lvl8pPr marL="3200613" indent="0" algn="ctr">
              <a:buNone/>
              <a:defRPr>
                <a:solidFill>
                  <a:schemeClr val="tx1">
                    <a:tint val="75000"/>
                  </a:schemeClr>
                </a:solidFill>
              </a:defRPr>
            </a:lvl8pPr>
            <a:lvl9pPr marL="3657843"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131161900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5932370" y="6403872"/>
            <a:ext cx="1057183" cy="1101980"/>
          </a:xfrm>
          <a:prstGeom prst="rect">
            <a:avLst/>
          </a:prstGeom>
        </p:spPr>
        <p:txBody>
          <a:bodyPr/>
          <a:lstStyle>
            <a:lvl1pPr>
              <a:buClr>
                <a:srgbClr val="CC9900"/>
              </a:buClr>
              <a:buFont typeface="Wingdings" pitchFamily="2" charset="2"/>
              <a:buChar char="n"/>
              <a:defRPr b="1"/>
            </a:lvl1pPr>
          </a:lstStyle>
          <a:p>
            <a:pPr>
              <a:defRPr/>
            </a:pPr>
            <a:endParaRPr lang="de-DE" altLang="zh-CN">
              <a:solidFill>
                <a:prstClr val="white"/>
              </a:solidFill>
            </a:endParaRPr>
          </a:p>
          <a:p>
            <a:pPr>
              <a:defRPr/>
            </a:pPr>
            <a:r>
              <a:rPr lang="de-DE" altLang="zh-CN">
                <a:solidFill>
                  <a:prstClr val="white"/>
                </a:solidFill>
              </a:rPr>
              <a:t>Page </a:t>
            </a:r>
            <a:fld id="{556A6E8A-A075-4B13-B6B2-2461868E8E7A}" type="slidenum">
              <a:rPr lang="de-DE" altLang="zh-CN">
                <a:solidFill>
                  <a:prstClr val="white"/>
                </a:solidFill>
              </a:rPr>
              <a:pPr>
                <a:defRPr/>
              </a:pPr>
              <a:t>‹Nº›</a:t>
            </a:fld>
            <a:endParaRPr lang="en-GB" altLang="zh-CN">
              <a:solidFill>
                <a:prstClr val="white"/>
              </a:solidFill>
            </a:endParaRPr>
          </a:p>
        </p:txBody>
      </p:sp>
    </p:spTree>
    <p:extLst>
      <p:ext uri="{BB962C8B-B14F-4D97-AF65-F5344CB8AC3E}">
        <p14:creationId xmlns:p14="http://schemas.microsoft.com/office/powerpoint/2010/main" val="3370979182"/>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84000" y="399601"/>
            <a:ext cx="7747000" cy="395869"/>
          </a:xfrm>
          <a:noFill/>
          <a:ln>
            <a:noFill/>
          </a:ln>
          <a:effectLst/>
          <a:extLst/>
        </p:spPr>
        <p:txBody>
          <a:bodyPr lIns="36000" tIns="36000" rIns="36000" bIns="36000" anchor="t">
            <a:spAutoFit/>
          </a:bodyPr>
          <a:lstStyle>
            <a:lvl1pPr>
              <a:defRPr lang="zh-CN" altLang="en-US" sz="2100" b="1" kern="1200">
                <a:latin typeface="FrutigerNext LT Medium" pitchFamily="34" charset="0"/>
              </a:defRPr>
            </a:lvl1pPr>
          </a:lstStyle>
          <a:p>
            <a:pPr lvl="0"/>
            <a:r>
              <a:rPr lang="zh-CN" altLang="en-US" dirty="0" smtClean="0"/>
              <a:t>单击此处编辑母版标题样式</a:t>
            </a:r>
            <a:endParaRPr lang="zh-CN" altLang="en-US" dirty="0"/>
          </a:p>
        </p:txBody>
      </p:sp>
      <p:sp>
        <p:nvSpPr>
          <p:cNvPr id="3" name="Rectangle 10"/>
          <p:cNvSpPr>
            <a:spLocks noGrp="1" noChangeArrowheads="1"/>
          </p:cNvSpPr>
          <p:nvPr>
            <p:ph type="dt" sz="half" idx="10"/>
          </p:nvPr>
        </p:nvSpPr>
        <p:spPr>
          <a:xfrm>
            <a:off x="6362700" y="6491288"/>
            <a:ext cx="2097088" cy="455612"/>
          </a:xfrm>
          <a:prstGeom prst="rect">
            <a:avLst/>
          </a:prstGeom>
          <a:ln/>
        </p:spPr>
        <p:txBody>
          <a:bodyPr/>
          <a:lstStyle>
            <a:lvl1pPr>
              <a:defRPr/>
            </a:lvl1pPr>
          </a:lstStyle>
          <a:p>
            <a:r>
              <a:rPr lang="de-DE" altLang="zh-CN">
                <a:solidFill>
                  <a:prstClr val="white"/>
                </a:solidFill>
              </a:rPr>
              <a:t>Page </a:t>
            </a:r>
            <a:fld id="{9E42A978-DB2E-4ED1-8994-20AA84FDBB34}" type="slidenum">
              <a:rPr lang="de-DE" altLang="zh-CN">
                <a:solidFill>
                  <a:prstClr val="white"/>
                </a:solidFill>
              </a:rPr>
              <a:pPr/>
              <a:t>‹Nº›</a:t>
            </a:fld>
            <a:endParaRPr lang="en-GB" altLang="zh-CN">
              <a:solidFill>
                <a:prstClr val="white"/>
              </a:solidFill>
            </a:endParaRPr>
          </a:p>
        </p:txBody>
      </p:sp>
    </p:spTree>
    <p:extLst>
      <p:ext uri="{BB962C8B-B14F-4D97-AF65-F5344CB8AC3E}">
        <p14:creationId xmlns:p14="http://schemas.microsoft.com/office/powerpoint/2010/main" val="1136041503"/>
      </p:ext>
    </p:extLst>
  </p:cSld>
  <p:clrMapOvr>
    <a:masterClrMapping/>
  </p:clrMapOvr>
  <p:transition advClick="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1A5B2B23-E5F0-44D7-A9FF-4B8E82156B39}" type="datetimeFigureOut">
              <a:rPr lang="zh-CN" altLang="en-US" smtClean="0"/>
              <a:pPr/>
              <a:t>2017/4/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2563A90-55EF-4D2C-B954-EDF55F24A661}" type="slidenum">
              <a:rPr lang="zh-CN" altLang="en-US" smtClean="0"/>
              <a:pPr/>
              <a:t>‹Nº›</a:t>
            </a:fld>
            <a:endParaRPr lang="zh-CN" altLang="en-US"/>
          </a:p>
        </p:txBody>
      </p:sp>
      <p:sp>
        <p:nvSpPr>
          <p:cNvPr id="7" name="标题 1"/>
          <p:cNvSpPr>
            <a:spLocks noGrp="1"/>
          </p:cNvSpPr>
          <p:nvPr>
            <p:ph type="ctrTitle" hasCustomPrompt="1"/>
          </p:nvPr>
        </p:nvSpPr>
        <p:spPr>
          <a:xfrm>
            <a:off x="665204" y="429314"/>
            <a:ext cx="8369274" cy="888392"/>
          </a:xfrm>
        </p:spPr>
        <p:txBody>
          <a:bodyPr>
            <a:noAutofit/>
          </a:bodyPr>
          <a:lstStyle>
            <a:lvl1pPr marL="0" marR="0" indent="0" algn="l" defTabSz="914461" rtl="0" eaLnBrk="1" fontAlgn="auto" latinLnBrk="0" hangingPunct="1">
              <a:lnSpc>
                <a:spcPct val="100000"/>
              </a:lnSpc>
              <a:spcBef>
                <a:spcPct val="0"/>
              </a:spcBef>
              <a:spcAft>
                <a:spcPts val="0"/>
              </a:spcAft>
              <a:buClrTx/>
              <a:buSzTx/>
              <a:buFontTx/>
              <a:buNone/>
              <a:tabLst/>
              <a:defRPr sz="2700" b="1">
                <a:solidFill>
                  <a:schemeClr val="bg1"/>
                </a:solidFill>
                <a:latin typeface="FrutigerNext LT RegularCn" panose="020B0506040504020204" pitchFamily="34" charset="0"/>
              </a:defRPr>
            </a:lvl1pPr>
          </a:lstStyle>
          <a:p>
            <a:r>
              <a:rPr lang="en-US" altLang="zh-CN" dirty="0" smtClean="0"/>
              <a:t>Headline in Arial Regular 36 point</a:t>
            </a:r>
          </a:p>
        </p:txBody>
      </p:sp>
    </p:spTree>
    <p:extLst>
      <p:ext uri="{BB962C8B-B14F-4D97-AF65-F5344CB8AC3E}">
        <p14:creationId xmlns:p14="http://schemas.microsoft.com/office/powerpoint/2010/main" val="312771125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4041" name="Picture 9" descr="Logo"/>
          <p:cNvPicPr preferRelativeResize="0">
            <a:picLocks noChangeArrowheads="1"/>
          </p:cNvPicPr>
          <p:nvPr/>
        </p:nvPicPr>
        <p:blipFill>
          <a:blip r:embed="rId2" cstate="email"/>
          <a:srcRect/>
          <a:stretch>
            <a:fillRect/>
          </a:stretch>
        </p:blipFill>
        <p:spPr bwMode="auto">
          <a:xfrm>
            <a:off x="7510181" y="5590943"/>
            <a:ext cx="763720" cy="763764"/>
          </a:xfrm>
          <a:prstGeom prst="rect">
            <a:avLst/>
          </a:prstGeom>
          <a:noFill/>
          <a:ln w="9525">
            <a:noFill/>
            <a:miter lim="800000"/>
            <a:headEnd/>
            <a:tailEnd/>
          </a:ln>
        </p:spPr>
      </p:pic>
      <p:pic>
        <p:nvPicPr>
          <p:cNvPr id="44042" name="Picture 10" descr="2"/>
          <p:cNvPicPr>
            <a:picLocks noChangeAspect="1" noChangeArrowheads="1"/>
          </p:cNvPicPr>
          <p:nvPr/>
        </p:nvPicPr>
        <p:blipFill>
          <a:blip r:embed="rId3" cstate="email"/>
          <a:srcRect/>
          <a:stretch>
            <a:fillRect/>
          </a:stretch>
        </p:blipFill>
        <p:spPr bwMode="auto">
          <a:xfrm>
            <a:off x="0" y="782819"/>
            <a:ext cx="9145588" cy="3810882"/>
          </a:xfrm>
          <a:prstGeom prst="rect">
            <a:avLst/>
          </a:prstGeom>
          <a:noFill/>
        </p:spPr>
      </p:pic>
      <p:sp>
        <p:nvSpPr>
          <p:cNvPr id="44047" name="Rectangle 15"/>
          <p:cNvSpPr>
            <a:spLocks noGrp="1" noChangeArrowheads="1"/>
          </p:cNvSpPr>
          <p:nvPr>
            <p:ph type="ctrTitle" sz="quarter"/>
          </p:nvPr>
        </p:nvSpPr>
        <p:spPr>
          <a:xfrm>
            <a:off x="636700" y="1392572"/>
            <a:ext cx="5304758" cy="1667261"/>
          </a:xfrm>
        </p:spPr>
        <p:txBody>
          <a:bodyPr/>
          <a:lstStyle>
            <a:lvl1pPr>
              <a:defRPr sz="3225" b="1">
                <a:solidFill>
                  <a:schemeClr val="bg1"/>
                </a:solidFill>
              </a:defRPr>
            </a:lvl1pPr>
          </a:lstStyle>
          <a:p>
            <a:r>
              <a:rPr lang="zh-CN" altLang="en-US" smtClean="0"/>
              <a:t>单击此处编辑母版标题样式</a:t>
            </a:r>
            <a:endParaRPr lang="zh-CN" altLang="en-US"/>
          </a:p>
        </p:txBody>
      </p:sp>
      <p:sp>
        <p:nvSpPr>
          <p:cNvPr id="44048" name="Rectangle 16"/>
          <p:cNvSpPr>
            <a:spLocks noGrp="1" noChangeArrowheads="1"/>
          </p:cNvSpPr>
          <p:nvPr>
            <p:ph type="subTitle" sz="quarter" idx="1"/>
          </p:nvPr>
        </p:nvSpPr>
        <p:spPr>
          <a:xfrm>
            <a:off x="684332" y="3183685"/>
            <a:ext cx="5306346" cy="865387"/>
          </a:xfrm>
        </p:spPr>
        <p:txBody>
          <a:bodyPr lIns="80139" tIns="40069" rIns="80139" bIns="40069"/>
          <a:lstStyle>
            <a:lvl1pPr marL="0" indent="0">
              <a:buFont typeface="Wingdings" pitchFamily="2" charset="2"/>
              <a:buNone/>
              <a:defRPr sz="2100">
                <a:solidFill>
                  <a:schemeClr val="bg1"/>
                </a:solidFill>
                <a:latin typeface="华文细黑" pitchFamily="2" charset="-122"/>
              </a:defRPr>
            </a:lvl1pPr>
          </a:lstStyle>
          <a:p>
            <a:r>
              <a:rPr lang="zh-CN" altLang="en-US" smtClean="0"/>
              <a:t>单击此处编辑母版副标题样式</a:t>
            </a:r>
            <a:endParaRPr lang="zh-CN" altLang="en-US"/>
          </a:p>
        </p:txBody>
      </p:sp>
      <p:sp>
        <p:nvSpPr>
          <p:cNvPr id="44052" name="Text Box 20"/>
          <p:cNvSpPr txBox="1">
            <a:spLocks noChangeArrowheads="1"/>
          </p:cNvSpPr>
          <p:nvPr/>
        </p:nvSpPr>
        <p:spPr bwMode="auto">
          <a:xfrm>
            <a:off x="652606" y="6208564"/>
            <a:ext cx="2083425" cy="199176"/>
          </a:xfrm>
          <a:prstGeom prst="rect">
            <a:avLst/>
          </a:prstGeom>
          <a:noFill/>
          <a:ln w="9525">
            <a:noFill/>
            <a:miter lim="800000"/>
            <a:headEnd/>
            <a:tailEnd/>
          </a:ln>
        </p:spPr>
        <p:txBody>
          <a:bodyPr wrap="none" lIns="60088" tIns="30045" rIns="60088" bIns="30045">
            <a:spAutoFit/>
          </a:bodyPr>
          <a:lstStyle/>
          <a:p>
            <a:pPr defTabSz="601186" eaLnBrk="0" hangingPunct="0"/>
            <a:r>
              <a:rPr lang="en-US" altLang="zh-CN" sz="900">
                <a:solidFill>
                  <a:srgbClr val="000000"/>
                </a:solidFill>
                <a:latin typeface="FrutigerNext LT Bold" pitchFamily="1" charset="0"/>
                <a:ea typeface="ＭＳ Ｐゴシック" pitchFamily="34" charset="-128"/>
              </a:rPr>
              <a:t>HUAWEI TECHNOLOGIES CO., LTD.</a:t>
            </a:r>
            <a:endParaRPr lang="en-US" altLang="zh-CN" sz="1650">
              <a:solidFill>
                <a:srgbClr val="000000"/>
              </a:solidFill>
              <a:latin typeface="Arial" charset="0"/>
              <a:ea typeface="ＭＳ Ｐゴシック" pitchFamily="34" charset="-128"/>
            </a:endParaRPr>
          </a:p>
        </p:txBody>
      </p:sp>
      <p:sp>
        <p:nvSpPr>
          <p:cNvPr id="44054" name="Text Box 22"/>
          <p:cNvSpPr txBox="1">
            <a:spLocks noChangeArrowheads="1"/>
          </p:cNvSpPr>
          <p:nvPr/>
        </p:nvSpPr>
        <p:spPr bwMode="auto">
          <a:xfrm>
            <a:off x="7225968" y="4095111"/>
            <a:ext cx="1019031" cy="199176"/>
          </a:xfrm>
          <a:prstGeom prst="rect">
            <a:avLst/>
          </a:prstGeom>
          <a:noFill/>
          <a:ln w="9525">
            <a:noFill/>
            <a:miter lim="800000"/>
            <a:headEnd/>
            <a:tailEnd/>
          </a:ln>
        </p:spPr>
        <p:txBody>
          <a:bodyPr wrap="none" lIns="60088" tIns="30045" rIns="60088" bIns="30045">
            <a:spAutoFit/>
          </a:bodyPr>
          <a:lstStyle/>
          <a:p>
            <a:pPr defTabSz="601186" eaLnBrk="0" hangingPunct="0"/>
            <a:r>
              <a:rPr lang="en-US" altLang="zh-CN" sz="900">
                <a:solidFill>
                  <a:srgbClr val="FFFFFF"/>
                </a:solidFill>
                <a:latin typeface="FrutigerNext LT Regular" pitchFamily="34" charset="0"/>
                <a:ea typeface="ＭＳ Ｐゴシック" pitchFamily="34" charset="-128"/>
              </a:rPr>
              <a:t>www.huawei.com</a:t>
            </a:r>
          </a:p>
        </p:txBody>
      </p:sp>
      <p:sp>
        <p:nvSpPr>
          <p:cNvPr id="44055" name="Rectangle 23"/>
          <p:cNvSpPr>
            <a:spLocks noChangeArrowheads="1"/>
          </p:cNvSpPr>
          <p:nvPr/>
        </p:nvSpPr>
        <p:spPr bwMode="auto">
          <a:xfrm>
            <a:off x="3985349" y="6208564"/>
            <a:ext cx="1179283" cy="199146"/>
          </a:xfrm>
          <a:prstGeom prst="rect">
            <a:avLst/>
          </a:prstGeom>
          <a:noFill/>
          <a:ln w="9525" algn="ctr">
            <a:noFill/>
            <a:miter lim="800000"/>
            <a:headEnd/>
            <a:tailEnd/>
          </a:ln>
          <a:effectLst/>
        </p:spPr>
        <p:txBody>
          <a:bodyPr wrap="none" lIns="60064" tIns="30030" rIns="60064" bIns="30030">
            <a:spAutoFit/>
          </a:bodyPr>
          <a:lstStyle/>
          <a:p>
            <a:pPr defTabSz="601186" eaLnBrk="0" hangingPunct="0"/>
            <a:r>
              <a:rPr lang="en-US" altLang="zh-CN" sz="900">
                <a:solidFill>
                  <a:srgbClr val="000000"/>
                </a:solidFill>
                <a:latin typeface="FrutigerNext LT Bold" pitchFamily="1" charset="0"/>
                <a:ea typeface="ＭＳ Ｐゴシック" pitchFamily="34" charset="-128"/>
              </a:rPr>
              <a:t>Huawei Confidential </a:t>
            </a:r>
          </a:p>
        </p:txBody>
      </p:sp>
      <p:sp>
        <p:nvSpPr>
          <p:cNvPr id="44057" name="Rectangle 25"/>
          <p:cNvSpPr>
            <a:spLocks noChangeArrowheads="1"/>
          </p:cNvSpPr>
          <p:nvPr/>
        </p:nvSpPr>
        <p:spPr bwMode="auto">
          <a:xfrm>
            <a:off x="6794124" y="247708"/>
            <a:ext cx="1116766" cy="222229"/>
          </a:xfrm>
          <a:prstGeom prst="rect">
            <a:avLst/>
          </a:prstGeom>
          <a:noFill/>
          <a:ln w="9525" algn="ctr">
            <a:noFill/>
            <a:miter lim="800000"/>
            <a:headEnd/>
            <a:tailEnd/>
          </a:ln>
          <a:effectLst/>
        </p:spPr>
        <p:txBody>
          <a:bodyPr wrap="none" lIns="60064" tIns="30030" rIns="60064" bIns="30030">
            <a:spAutoFit/>
          </a:bodyPr>
          <a:lstStyle/>
          <a:p>
            <a:pPr defTabSz="601186" eaLnBrk="0" hangingPunct="0"/>
            <a:r>
              <a:rPr lang="en-US" altLang="zh-CN" sz="1050" b="1">
                <a:solidFill>
                  <a:srgbClr val="666666"/>
                </a:solidFill>
                <a:latin typeface="FrutigerNext LT Regular" pitchFamily="34" charset="0"/>
                <a:ea typeface="ＭＳ Ｐゴシック" pitchFamily="34" charset="-128"/>
              </a:rPr>
              <a:t>Security Level:</a:t>
            </a:r>
            <a:r>
              <a:rPr lang="zh-CN" altLang="en-US" sz="1050" b="1">
                <a:solidFill>
                  <a:srgbClr val="666666"/>
                </a:solidFill>
                <a:latin typeface="FrutigerNext LT Regular" pitchFamily="34" charset="0"/>
                <a:ea typeface="ＭＳ Ｐゴシック" pitchFamily="34" charset="-128"/>
              </a:rPr>
              <a:t> </a:t>
            </a:r>
          </a:p>
        </p:txBody>
      </p:sp>
      <p:sp>
        <p:nvSpPr>
          <p:cNvPr id="44058" name="Rectangle 26"/>
          <p:cNvSpPr>
            <a:spLocks noGrp="1" noChangeArrowheads="1"/>
          </p:cNvSpPr>
          <p:nvPr>
            <p:ph type="dt" sz="quarter" idx="2"/>
          </p:nvPr>
        </p:nvSpPr>
        <p:spPr>
          <a:xfrm>
            <a:off x="684334" y="282643"/>
            <a:ext cx="2133971" cy="474773"/>
          </a:xfrm>
        </p:spPr>
        <p:txBody>
          <a:bodyPr lIns="80139" tIns="40069" rIns="80139" bIns="40069"/>
          <a:lstStyle>
            <a:lvl1pPr>
              <a:lnSpc>
                <a:spcPct val="100000"/>
              </a:lnSpc>
              <a:defRPr>
                <a:latin typeface="+mn-lt"/>
              </a:defRPr>
            </a:lvl1pPr>
          </a:lstStyle>
          <a:p>
            <a:fld id="{32026D93-F48A-4331-836E-4E58F3F62137}" type="datetime1">
              <a:rPr lang="zh-CN" altLang="en-US">
                <a:solidFill>
                  <a:srgbClr val="000000"/>
                </a:solidFill>
              </a:rPr>
              <a:pPr/>
              <a:t>2017/4/5</a:t>
            </a:fld>
            <a:endParaRPr lang="en-US" altLang="zh-CN">
              <a:solidFill>
                <a:srgbClr val="000000"/>
              </a:solidFill>
            </a:endParaRPr>
          </a:p>
        </p:txBody>
      </p:sp>
      <p:sp>
        <p:nvSpPr>
          <p:cNvPr id="44098" name="Text Box 66"/>
          <p:cNvSpPr txBox="1">
            <a:spLocks noChangeArrowheads="1"/>
          </p:cNvSpPr>
          <p:nvPr/>
        </p:nvSpPr>
        <p:spPr bwMode="auto">
          <a:xfrm>
            <a:off x="-1968839" y="1322694"/>
            <a:ext cx="1968843" cy="2842254"/>
          </a:xfrm>
          <a:prstGeom prst="rect">
            <a:avLst/>
          </a:prstGeom>
          <a:noFill/>
          <a:ln w="9525" algn="ctr">
            <a:noFill/>
            <a:miter lim="800000"/>
            <a:headEnd/>
            <a:tailEnd/>
          </a:ln>
          <a:effectLst/>
        </p:spPr>
        <p:txBody>
          <a:bodyPr lIns="60099" tIns="30049" rIns="60099" bIns="30049">
            <a:spAutoFit/>
          </a:bodyPr>
          <a:lstStyle/>
          <a:p>
            <a:pPr algn="r" defTabSz="601186" eaLnBrk="0" hangingPunct="0">
              <a:lnSpc>
                <a:spcPct val="125000"/>
              </a:lnSpc>
            </a:pPr>
            <a:r>
              <a:rPr lang="zh-CN" altLang="en-US" sz="825">
                <a:solidFill>
                  <a:srgbClr val="FFFFFF"/>
                </a:solidFill>
                <a:latin typeface="Arial" charset="0"/>
                <a:ea typeface="华文细黑" pitchFamily="2" charset="-122"/>
              </a:rPr>
              <a:t>英文标题</a:t>
            </a:r>
            <a:r>
              <a:rPr lang="en-US" altLang="zh-CN" sz="825">
                <a:solidFill>
                  <a:srgbClr val="FFFFFF"/>
                </a:solidFill>
                <a:latin typeface="Arial" charset="0"/>
                <a:ea typeface="华文细黑" pitchFamily="2" charset="-122"/>
              </a:rPr>
              <a:t>:40-47pt  </a:t>
            </a:r>
          </a:p>
          <a:p>
            <a:pPr algn="r" defTabSz="601186" eaLnBrk="0" hangingPunct="0">
              <a:lnSpc>
                <a:spcPct val="125000"/>
              </a:lnSpc>
            </a:pPr>
            <a:r>
              <a:rPr lang="zh-CN" altLang="en-US" sz="825">
                <a:solidFill>
                  <a:srgbClr val="FFFFFF"/>
                </a:solidFill>
                <a:latin typeface="Arial" charset="0"/>
                <a:ea typeface="华文细黑" pitchFamily="2" charset="-122"/>
              </a:rPr>
              <a:t>副标题</a:t>
            </a:r>
            <a:r>
              <a:rPr lang="en-US" altLang="zh-CN" sz="825">
                <a:solidFill>
                  <a:srgbClr val="FFFFFF"/>
                </a:solidFill>
                <a:latin typeface="Arial" charset="0"/>
                <a:ea typeface="华文细黑" pitchFamily="2" charset="-122"/>
              </a:rPr>
              <a:t>:26-30pt</a:t>
            </a:r>
          </a:p>
          <a:p>
            <a:pPr algn="r" defTabSz="601186" eaLnBrk="0" hangingPunct="0">
              <a:lnSpc>
                <a:spcPct val="125000"/>
              </a:lnSpc>
            </a:pPr>
            <a:r>
              <a:rPr lang="zh-CN" altLang="en-US" sz="825">
                <a:solidFill>
                  <a:srgbClr val="FFFFFF"/>
                </a:solidFill>
                <a:latin typeface="Arial" charset="0"/>
                <a:ea typeface="华文细黑" pitchFamily="2" charset="-122"/>
              </a:rPr>
              <a:t>字体颜色</a:t>
            </a:r>
            <a:r>
              <a:rPr lang="en-US" altLang="zh-CN" sz="825">
                <a:solidFill>
                  <a:srgbClr val="FFFFFF"/>
                </a:solidFill>
                <a:latin typeface="Arial" charset="0"/>
                <a:ea typeface="华文细黑" pitchFamily="2" charset="-122"/>
              </a:rPr>
              <a:t>:</a:t>
            </a:r>
            <a:r>
              <a:rPr lang="zh-CN" altLang="en-US" sz="825">
                <a:solidFill>
                  <a:srgbClr val="FFFFFF"/>
                </a:solidFill>
                <a:latin typeface="Arial" charset="0"/>
                <a:ea typeface="华文细黑" pitchFamily="2" charset="-122"/>
              </a:rPr>
              <a:t>反白</a:t>
            </a:r>
          </a:p>
          <a:p>
            <a:pPr algn="r" defTabSz="601186" eaLnBrk="0" hangingPunct="0">
              <a:lnSpc>
                <a:spcPct val="125000"/>
              </a:lnSpc>
            </a:pPr>
            <a:r>
              <a:rPr lang="zh-CN" altLang="en-US" sz="825">
                <a:solidFill>
                  <a:srgbClr val="FFFFFF"/>
                </a:solidFill>
                <a:latin typeface="Arial" charset="0"/>
                <a:ea typeface="华文细黑" pitchFamily="2" charset="-122"/>
              </a:rPr>
              <a:t>内部使用字体 </a:t>
            </a:r>
            <a:r>
              <a:rPr lang="en-US" altLang="zh-CN" sz="825">
                <a:solidFill>
                  <a:srgbClr val="FFFFFF"/>
                </a:solidFill>
                <a:latin typeface="Arial" charset="0"/>
                <a:ea typeface="华文细黑" pitchFamily="2" charset="-122"/>
              </a:rPr>
              <a:t>:</a:t>
            </a:r>
          </a:p>
          <a:p>
            <a:pPr algn="r" defTabSz="601186" eaLnBrk="0" hangingPunct="0">
              <a:lnSpc>
                <a:spcPct val="125000"/>
              </a:lnSpc>
            </a:pPr>
            <a:r>
              <a:rPr lang="en-US" altLang="zh-CN" sz="825">
                <a:solidFill>
                  <a:srgbClr val="FFFFFF"/>
                </a:solidFill>
                <a:latin typeface="Arial" charset="0"/>
                <a:ea typeface="华文细黑" pitchFamily="2" charset="-122"/>
              </a:rPr>
              <a:t>FrutigerNext LT Medium</a:t>
            </a:r>
          </a:p>
          <a:p>
            <a:pPr algn="r" defTabSz="601186" eaLnBrk="0" hangingPunct="0">
              <a:lnSpc>
                <a:spcPct val="125000"/>
              </a:lnSpc>
            </a:pPr>
            <a:r>
              <a:rPr lang="zh-CN" altLang="en-US" sz="825">
                <a:solidFill>
                  <a:srgbClr val="FFFFFF"/>
                </a:solidFill>
                <a:latin typeface="Arial" charset="0"/>
                <a:ea typeface="华文细黑" pitchFamily="2" charset="-122"/>
              </a:rPr>
              <a:t>外部使用字体 </a:t>
            </a:r>
            <a:r>
              <a:rPr lang="en-US" altLang="zh-CN" sz="825">
                <a:solidFill>
                  <a:srgbClr val="FFFFFF"/>
                </a:solidFill>
                <a:latin typeface="Arial" charset="0"/>
                <a:ea typeface="华文细黑" pitchFamily="2" charset="-122"/>
              </a:rPr>
              <a:t>: Arial</a:t>
            </a:r>
            <a:endParaRPr lang="zh-CN" altLang="en-US" sz="825">
              <a:solidFill>
                <a:srgbClr val="FFFFFF"/>
              </a:solidFill>
              <a:latin typeface="Arial" charset="0"/>
              <a:ea typeface="华文细黑" pitchFamily="2" charset="-122"/>
            </a:endParaRPr>
          </a:p>
          <a:p>
            <a:pPr algn="r" defTabSz="601186" eaLnBrk="0" hangingPunct="0">
              <a:lnSpc>
                <a:spcPct val="125000"/>
              </a:lnSpc>
            </a:pPr>
            <a:endParaRPr lang="zh-CN" altLang="en-US" sz="825">
              <a:solidFill>
                <a:srgbClr val="FFFFFF"/>
              </a:solidFill>
              <a:latin typeface="Arial" charset="0"/>
              <a:ea typeface="华文细黑" pitchFamily="2" charset="-122"/>
            </a:endParaRPr>
          </a:p>
          <a:p>
            <a:pPr algn="r" defTabSz="601186" eaLnBrk="0" hangingPunct="0">
              <a:lnSpc>
                <a:spcPct val="125000"/>
              </a:lnSpc>
            </a:pPr>
            <a:endParaRPr lang="zh-CN" altLang="en-US" sz="825">
              <a:solidFill>
                <a:srgbClr val="FFFFFF"/>
              </a:solidFill>
              <a:latin typeface="Arial" charset="0"/>
              <a:ea typeface="华文细黑" pitchFamily="2" charset="-122"/>
            </a:endParaRPr>
          </a:p>
          <a:p>
            <a:pPr algn="r" defTabSz="601186" eaLnBrk="0" hangingPunct="0">
              <a:lnSpc>
                <a:spcPct val="125000"/>
              </a:lnSpc>
            </a:pPr>
            <a:r>
              <a:rPr lang="zh-CN" altLang="en-US" sz="825">
                <a:solidFill>
                  <a:srgbClr val="FFFFFF"/>
                </a:solidFill>
                <a:latin typeface="Arial" charset="0"/>
                <a:ea typeface="华文细黑" pitchFamily="2" charset="-122"/>
              </a:rPr>
              <a:t>中文标题</a:t>
            </a:r>
            <a:r>
              <a:rPr lang="en-US" altLang="zh-CN" sz="825">
                <a:solidFill>
                  <a:srgbClr val="FFFFFF"/>
                </a:solidFill>
                <a:latin typeface="Arial" charset="0"/>
                <a:ea typeface="华文细黑" pitchFamily="2" charset="-122"/>
              </a:rPr>
              <a:t>:35-47pt</a:t>
            </a:r>
          </a:p>
          <a:p>
            <a:pPr algn="r" defTabSz="601186" eaLnBrk="0" hangingPunct="0">
              <a:lnSpc>
                <a:spcPct val="125000"/>
              </a:lnSpc>
            </a:pPr>
            <a:r>
              <a:rPr lang="zh-CN" altLang="en-US" sz="825">
                <a:solidFill>
                  <a:srgbClr val="FFFFFF"/>
                </a:solidFill>
                <a:latin typeface="Arial" charset="0"/>
                <a:ea typeface="华文细黑" pitchFamily="2" charset="-122"/>
              </a:rPr>
              <a:t>字体</a:t>
            </a:r>
            <a:r>
              <a:rPr lang="en-US" altLang="zh-CN" sz="825">
                <a:solidFill>
                  <a:srgbClr val="FFFFFF"/>
                </a:solidFill>
                <a:latin typeface="Arial" charset="0"/>
                <a:ea typeface="华文细黑" pitchFamily="2" charset="-122"/>
              </a:rPr>
              <a:t>:</a:t>
            </a:r>
            <a:r>
              <a:rPr lang="zh-CN" altLang="en-US" sz="825">
                <a:solidFill>
                  <a:srgbClr val="FFFFFF"/>
                </a:solidFill>
                <a:latin typeface="Arial" charset="0"/>
                <a:ea typeface="华文细黑" pitchFamily="2" charset="-122"/>
              </a:rPr>
              <a:t>黑体</a:t>
            </a:r>
          </a:p>
          <a:p>
            <a:pPr algn="r" defTabSz="601186" eaLnBrk="0" hangingPunct="0">
              <a:lnSpc>
                <a:spcPct val="125000"/>
              </a:lnSpc>
            </a:pPr>
            <a:r>
              <a:rPr lang="en-US" altLang="zh-CN" sz="825">
                <a:solidFill>
                  <a:srgbClr val="FFFFFF"/>
                </a:solidFill>
                <a:latin typeface="Arial" charset="0"/>
                <a:ea typeface="华文细黑" pitchFamily="2" charset="-122"/>
              </a:rPr>
              <a:t>  </a:t>
            </a:r>
            <a:r>
              <a:rPr lang="zh-CN" altLang="en-US" sz="825">
                <a:solidFill>
                  <a:srgbClr val="FFFFFF"/>
                </a:solidFill>
                <a:latin typeface="Arial" charset="0"/>
                <a:ea typeface="华文细黑" pitchFamily="2" charset="-122"/>
              </a:rPr>
              <a:t>副标题</a:t>
            </a:r>
            <a:r>
              <a:rPr lang="en-US" altLang="zh-CN" sz="825">
                <a:solidFill>
                  <a:srgbClr val="FFFFFF"/>
                </a:solidFill>
                <a:latin typeface="Arial" charset="0"/>
                <a:ea typeface="华文细黑" pitchFamily="2" charset="-122"/>
              </a:rPr>
              <a:t>:24-28pt</a:t>
            </a:r>
            <a:endParaRPr lang="zh-CN" altLang="en-US" sz="825">
              <a:solidFill>
                <a:srgbClr val="FFFFFF"/>
              </a:solidFill>
              <a:latin typeface="Arial" charset="0"/>
              <a:ea typeface="华文细黑" pitchFamily="2" charset="-122"/>
            </a:endParaRPr>
          </a:p>
          <a:p>
            <a:pPr algn="r" defTabSz="601186" eaLnBrk="0" hangingPunct="0">
              <a:lnSpc>
                <a:spcPct val="125000"/>
              </a:lnSpc>
            </a:pPr>
            <a:r>
              <a:rPr lang="zh-CN" altLang="en-US" sz="825">
                <a:solidFill>
                  <a:srgbClr val="FFFFFF"/>
                </a:solidFill>
                <a:latin typeface="Arial" charset="0"/>
                <a:ea typeface="华文细黑" pitchFamily="2" charset="-122"/>
              </a:rPr>
              <a:t>字体颜色</a:t>
            </a:r>
            <a:r>
              <a:rPr lang="en-US" altLang="zh-CN" sz="825">
                <a:solidFill>
                  <a:srgbClr val="FFFFFF"/>
                </a:solidFill>
                <a:latin typeface="Arial" charset="0"/>
                <a:ea typeface="华文细黑" pitchFamily="2" charset="-122"/>
              </a:rPr>
              <a:t>:</a:t>
            </a:r>
            <a:r>
              <a:rPr lang="zh-CN" altLang="en-US" sz="825">
                <a:solidFill>
                  <a:srgbClr val="FFFFFF"/>
                </a:solidFill>
                <a:latin typeface="Arial" charset="0"/>
                <a:ea typeface="华文细黑" pitchFamily="2" charset="-122"/>
              </a:rPr>
              <a:t>反白</a:t>
            </a:r>
          </a:p>
          <a:p>
            <a:pPr algn="r" defTabSz="601186" eaLnBrk="0" hangingPunct="0">
              <a:lnSpc>
                <a:spcPct val="125000"/>
              </a:lnSpc>
            </a:pPr>
            <a:r>
              <a:rPr lang="zh-CN" altLang="en-US" sz="825">
                <a:solidFill>
                  <a:srgbClr val="FFFFFF"/>
                </a:solidFill>
                <a:latin typeface="Arial" charset="0"/>
                <a:ea typeface="华文细黑" pitchFamily="2" charset="-122"/>
              </a:rPr>
              <a:t>字体</a:t>
            </a:r>
            <a:r>
              <a:rPr lang="en-US" altLang="zh-CN" sz="825">
                <a:solidFill>
                  <a:srgbClr val="FFFFFF"/>
                </a:solidFill>
                <a:latin typeface="Arial" charset="0"/>
                <a:ea typeface="华文细黑" pitchFamily="2" charset="-122"/>
              </a:rPr>
              <a:t>:</a:t>
            </a:r>
            <a:r>
              <a:rPr lang="zh-CN" altLang="en-US" sz="825">
                <a:solidFill>
                  <a:srgbClr val="FFFFFF"/>
                </a:solidFill>
                <a:latin typeface="Arial" charset="0"/>
                <a:ea typeface="华文细黑" pitchFamily="2" charset="-122"/>
              </a:rPr>
              <a:t>细黑体</a:t>
            </a:r>
          </a:p>
          <a:p>
            <a:pPr algn="r" defTabSz="601186" eaLnBrk="0" hangingPunct="0">
              <a:lnSpc>
                <a:spcPct val="125000"/>
              </a:lnSpc>
            </a:pPr>
            <a:endParaRPr lang="zh-CN" altLang="en-US" sz="825">
              <a:solidFill>
                <a:srgbClr val="FFFFFF"/>
              </a:solidFill>
              <a:latin typeface="Arial" charset="0"/>
              <a:ea typeface="华文细黑" pitchFamily="2" charset="-122"/>
            </a:endParaRPr>
          </a:p>
          <a:p>
            <a:pPr algn="r" defTabSz="601186" eaLnBrk="0" hangingPunct="0">
              <a:lnSpc>
                <a:spcPct val="125000"/>
              </a:lnSpc>
            </a:pPr>
            <a:endParaRPr lang="zh-CN" altLang="en-US" sz="825">
              <a:solidFill>
                <a:srgbClr val="FFFFFF"/>
              </a:solidFill>
              <a:latin typeface="Arial" charset="0"/>
              <a:ea typeface="华文细黑" pitchFamily="2" charset="-122"/>
            </a:endParaRPr>
          </a:p>
          <a:p>
            <a:pPr algn="r" defTabSz="601186" eaLnBrk="0" hangingPunct="0">
              <a:lnSpc>
                <a:spcPct val="125000"/>
              </a:lnSpc>
            </a:pPr>
            <a:endParaRPr lang="zh-CN" altLang="en-US" sz="825">
              <a:solidFill>
                <a:srgbClr val="FFFFFF"/>
              </a:solidFill>
              <a:latin typeface="Arial" charset="0"/>
              <a:ea typeface="华文细黑" pitchFamily="2" charset="-122"/>
            </a:endParaRPr>
          </a:p>
          <a:p>
            <a:pPr algn="r" defTabSz="601186" eaLnBrk="0" hangingPunct="0">
              <a:lnSpc>
                <a:spcPct val="125000"/>
              </a:lnSpc>
              <a:spcBef>
                <a:spcPct val="50000"/>
              </a:spcBef>
            </a:pPr>
            <a:endParaRPr lang="zh-CN" altLang="en-US" sz="825">
              <a:solidFill>
                <a:srgbClr val="000000"/>
              </a:solidFill>
              <a:latin typeface="Arial" charset="0"/>
              <a:ea typeface="华文细黑" pitchFamily="2" charset="-122"/>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23145" y="165139"/>
            <a:ext cx="7921739" cy="1056245"/>
          </a:xfrm>
        </p:spPr>
        <p:txBody>
          <a:bodyPr>
            <a:noAutofit/>
          </a:bodyPr>
          <a:lstStyle>
            <a:lvl1pPr marL="0" marR="0" indent="0" algn="l" defTabSz="914461" rtl="0" eaLnBrk="1" fontAlgn="auto" latinLnBrk="0" hangingPunct="1">
              <a:lnSpc>
                <a:spcPct val="100000"/>
              </a:lnSpc>
              <a:spcBef>
                <a:spcPct val="0"/>
              </a:spcBef>
              <a:spcAft>
                <a:spcPts val="0"/>
              </a:spcAft>
              <a:buClrTx/>
              <a:buSzTx/>
              <a:buFontTx/>
              <a:buNone/>
              <a:tabLst/>
              <a:defRPr sz="3000" b="1">
                <a:solidFill>
                  <a:schemeClr val="bg1"/>
                </a:solidFill>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323144" y="1501202"/>
            <a:ext cx="8508428" cy="4801111"/>
          </a:xfrm>
        </p:spPr>
        <p:txBody>
          <a:bodyPr>
            <a:normAutofit/>
          </a:bodyPr>
          <a:lstStyle>
            <a:lvl1pPr marL="0" marR="0" indent="0" algn="l" defTabSz="914461" rtl="0" eaLnBrk="1" fontAlgn="auto" latinLnBrk="0" hangingPunct="1">
              <a:lnSpc>
                <a:spcPct val="100000"/>
              </a:lnSpc>
              <a:spcBef>
                <a:spcPct val="20000"/>
              </a:spcBef>
              <a:spcAft>
                <a:spcPts val="0"/>
              </a:spcAft>
              <a:buClrTx/>
              <a:buSzTx/>
              <a:buFont typeface="Arial" pitchFamily="34" charset="0"/>
              <a:buNone/>
              <a:tabLst/>
              <a:defRPr sz="2100" baseline="0">
                <a:solidFill>
                  <a:schemeClr val="bg1"/>
                </a:solidFill>
              </a:defRPr>
            </a:lvl1pPr>
            <a:lvl2pPr marL="457231" indent="0" algn="ctr">
              <a:buNone/>
              <a:defRPr>
                <a:solidFill>
                  <a:schemeClr val="tx1">
                    <a:tint val="75000"/>
                  </a:schemeClr>
                </a:solidFill>
              </a:defRPr>
            </a:lvl2pPr>
            <a:lvl3pPr marL="914461" indent="0" algn="ctr">
              <a:buNone/>
              <a:defRPr>
                <a:solidFill>
                  <a:schemeClr val="tx1">
                    <a:tint val="75000"/>
                  </a:schemeClr>
                </a:solidFill>
              </a:defRPr>
            </a:lvl3pPr>
            <a:lvl4pPr marL="1371692" indent="0" algn="ctr">
              <a:buNone/>
              <a:defRPr>
                <a:solidFill>
                  <a:schemeClr val="tx1">
                    <a:tint val="75000"/>
                  </a:schemeClr>
                </a:solidFill>
              </a:defRPr>
            </a:lvl4pPr>
            <a:lvl5pPr marL="1828922" indent="0" algn="ctr">
              <a:buNone/>
              <a:defRPr>
                <a:solidFill>
                  <a:schemeClr val="tx1">
                    <a:tint val="75000"/>
                  </a:schemeClr>
                </a:solidFill>
              </a:defRPr>
            </a:lvl5pPr>
            <a:lvl6pPr marL="2286153" indent="0" algn="ctr">
              <a:buNone/>
              <a:defRPr>
                <a:solidFill>
                  <a:schemeClr val="tx1">
                    <a:tint val="75000"/>
                  </a:schemeClr>
                </a:solidFill>
              </a:defRPr>
            </a:lvl6pPr>
            <a:lvl7pPr marL="2743383" indent="0" algn="ctr">
              <a:buNone/>
              <a:defRPr>
                <a:solidFill>
                  <a:schemeClr val="tx1">
                    <a:tint val="75000"/>
                  </a:schemeClr>
                </a:solidFill>
              </a:defRPr>
            </a:lvl7pPr>
            <a:lvl8pPr marL="3200613" indent="0" algn="ctr">
              <a:buNone/>
              <a:defRPr>
                <a:solidFill>
                  <a:schemeClr val="tx1">
                    <a:tint val="75000"/>
                  </a:schemeClr>
                </a:solidFill>
              </a:defRPr>
            </a:lvl8pPr>
            <a:lvl9pPr marL="3657843"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116601828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32370" y="6403873"/>
            <a:ext cx="1057183" cy="1101980"/>
          </a:xfrm>
          <a:prstGeom prst="rect">
            <a:avLst/>
          </a:prstGeom>
        </p:spPr>
        <p:txBody>
          <a:bodyPr lIns="121828" tIns="60918" rIns="121828" bIns="60918"/>
          <a:lstStyle/>
          <a:p>
            <a:endParaRPr lang="de-DE" altLang="zh-CN" smtClean="0">
              <a:solidFill>
                <a:srgbClr val="000000"/>
              </a:solidFill>
            </a:endParaRPr>
          </a:p>
          <a:p>
            <a:r>
              <a:rPr lang="de-DE" altLang="zh-CN" smtClean="0">
                <a:solidFill>
                  <a:srgbClr val="000000"/>
                </a:solidFill>
              </a:rPr>
              <a:t>Page </a:t>
            </a:r>
            <a:fld id="{8E86A71A-3F4B-4803-845C-7058DE3A958C}" type="slidenum">
              <a:rPr lang="de-DE" altLang="zh-CN" smtClean="0">
                <a:solidFill>
                  <a:srgbClr val="000000"/>
                </a:solidFill>
              </a:rPr>
              <a:pPr/>
              <a:t>‹Nº›</a:t>
            </a:fld>
            <a:endParaRPr lang="en-GB" altLang="zh-CN" smtClean="0">
              <a:solidFill>
                <a:srgbClr val="000000"/>
              </a:solidFill>
            </a:endParaRPr>
          </a:p>
        </p:txBody>
      </p:sp>
    </p:spTree>
    <p:extLst>
      <p:ext uri="{BB962C8B-B14F-4D97-AF65-F5344CB8AC3E}">
        <p14:creationId xmlns:p14="http://schemas.microsoft.com/office/powerpoint/2010/main" val="2905177708"/>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5932370" y="6403872"/>
            <a:ext cx="1057183" cy="1101980"/>
          </a:xfrm>
          <a:prstGeom prst="rect">
            <a:avLst/>
          </a:prstGeom>
        </p:spPr>
        <p:txBody>
          <a:bodyPr/>
          <a:lstStyle>
            <a:lvl1pPr>
              <a:buClr>
                <a:srgbClr val="CC9900"/>
              </a:buClr>
              <a:buFont typeface="Wingdings" pitchFamily="2" charset="2"/>
              <a:buChar char="n"/>
              <a:defRPr b="1"/>
            </a:lvl1pPr>
          </a:lstStyle>
          <a:p>
            <a:pPr>
              <a:defRPr/>
            </a:pPr>
            <a:endParaRPr lang="de-DE" altLang="zh-CN">
              <a:solidFill>
                <a:prstClr val="white"/>
              </a:solidFill>
            </a:endParaRPr>
          </a:p>
          <a:p>
            <a:pPr>
              <a:defRPr/>
            </a:pPr>
            <a:r>
              <a:rPr lang="de-DE" altLang="zh-CN">
                <a:solidFill>
                  <a:prstClr val="white"/>
                </a:solidFill>
              </a:rPr>
              <a:t>Page </a:t>
            </a:r>
            <a:fld id="{556A6E8A-A075-4B13-B6B2-2461868E8E7A}" type="slidenum">
              <a:rPr lang="de-DE" altLang="zh-CN">
                <a:solidFill>
                  <a:prstClr val="white"/>
                </a:solidFill>
              </a:rPr>
              <a:pPr>
                <a:defRPr/>
              </a:pPr>
              <a:t>‹Nº›</a:t>
            </a:fld>
            <a:endParaRPr lang="en-GB" altLang="zh-CN">
              <a:solidFill>
                <a:prstClr val="white"/>
              </a:solidFill>
            </a:endParaRPr>
          </a:p>
        </p:txBody>
      </p:sp>
    </p:spTree>
    <p:extLst>
      <p:ext uri="{BB962C8B-B14F-4D97-AF65-F5344CB8AC3E}">
        <p14:creationId xmlns:p14="http://schemas.microsoft.com/office/powerpoint/2010/main" val="1615671386"/>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84000" y="399601"/>
            <a:ext cx="7747000" cy="395869"/>
          </a:xfrm>
          <a:noFill/>
          <a:ln>
            <a:noFill/>
          </a:ln>
          <a:effectLst/>
          <a:extLst/>
        </p:spPr>
        <p:txBody>
          <a:bodyPr lIns="36000" tIns="36000" rIns="36000" bIns="36000" anchor="t">
            <a:spAutoFit/>
          </a:bodyPr>
          <a:lstStyle>
            <a:lvl1pPr>
              <a:defRPr lang="zh-CN" altLang="en-US" sz="2100" b="1" kern="1200">
                <a:latin typeface="FrutigerNext LT Medium" pitchFamily="34" charset="0"/>
              </a:defRPr>
            </a:lvl1pPr>
          </a:lstStyle>
          <a:p>
            <a:pPr lvl="0"/>
            <a:r>
              <a:rPr lang="zh-CN" altLang="en-US" dirty="0" smtClean="0"/>
              <a:t>单击此处编辑母版标题样式</a:t>
            </a:r>
            <a:endParaRPr lang="zh-CN" altLang="en-US" dirty="0"/>
          </a:p>
        </p:txBody>
      </p:sp>
      <p:sp>
        <p:nvSpPr>
          <p:cNvPr id="3" name="Rectangle 10"/>
          <p:cNvSpPr>
            <a:spLocks noGrp="1" noChangeArrowheads="1"/>
          </p:cNvSpPr>
          <p:nvPr>
            <p:ph type="dt" sz="half" idx="10"/>
          </p:nvPr>
        </p:nvSpPr>
        <p:spPr>
          <a:xfrm>
            <a:off x="6362700" y="6491288"/>
            <a:ext cx="2097088" cy="455612"/>
          </a:xfrm>
          <a:prstGeom prst="rect">
            <a:avLst/>
          </a:prstGeom>
          <a:ln/>
        </p:spPr>
        <p:txBody>
          <a:bodyPr/>
          <a:lstStyle>
            <a:lvl1pPr>
              <a:defRPr/>
            </a:lvl1pPr>
          </a:lstStyle>
          <a:p>
            <a:r>
              <a:rPr lang="de-DE" altLang="zh-CN">
                <a:solidFill>
                  <a:prstClr val="white"/>
                </a:solidFill>
              </a:rPr>
              <a:t>Page </a:t>
            </a:r>
            <a:fld id="{9E42A978-DB2E-4ED1-8994-20AA84FDBB34}" type="slidenum">
              <a:rPr lang="de-DE" altLang="zh-CN">
                <a:solidFill>
                  <a:prstClr val="white"/>
                </a:solidFill>
              </a:rPr>
              <a:pPr/>
              <a:t>‹Nº›</a:t>
            </a:fld>
            <a:endParaRPr lang="en-GB" altLang="zh-CN">
              <a:solidFill>
                <a:prstClr val="white"/>
              </a:solidFill>
            </a:endParaRPr>
          </a:p>
        </p:txBody>
      </p:sp>
    </p:spTree>
    <p:extLst>
      <p:ext uri="{BB962C8B-B14F-4D97-AF65-F5344CB8AC3E}">
        <p14:creationId xmlns:p14="http://schemas.microsoft.com/office/powerpoint/2010/main" val="728819889"/>
      </p:ext>
    </p:extLst>
  </p:cSld>
  <p:clrMapOvr>
    <a:masterClrMapping/>
  </p:clrMapOvr>
  <p:transition advClick="0"/>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57169" y="325516"/>
            <a:ext cx="7831251" cy="871739"/>
          </a:xfrm>
          <a:prstGeom prst="rect">
            <a:avLst/>
          </a:prstGeom>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657168" y="1629154"/>
            <a:ext cx="7831252" cy="4195146"/>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93501780"/>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23145" y="165139"/>
            <a:ext cx="7921739" cy="1056245"/>
          </a:xfrm>
        </p:spPr>
        <p:txBody>
          <a:bodyPr>
            <a:noAutofit/>
          </a:bodyPr>
          <a:lstStyle>
            <a:lvl1pPr marL="0" marR="0" indent="0" algn="l" defTabSz="914461" rtl="0" eaLnBrk="1" fontAlgn="auto" latinLnBrk="0" hangingPunct="1">
              <a:lnSpc>
                <a:spcPct val="100000"/>
              </a:lnSpc>
              <a:spcBef>
                <a:spcPct val="0"/>
              </a:spcBef>
              <a:spcAft>
                <a:spcPts val="0"/>
              </a:spcAft>
              <a:buClrTx/>
              <a:buSzTx/>
              <a:buFontTx/>
              <a:buNone/>
              <a:tabLst/>
              <a:defRPr sz="3000" b="1">
                <a:solidFill>
                  <a:schemeClr val="bg1"/>
                </a:solidFill>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323144" y="1501202"/>
            <a:ext cx="8508428" cy="4801111"/>
          </a:xfrm>
        </p:spPr>
        <p:txBody>
          <a:bodyPr>
            <a:normAutofit/>
          </a:bodyPr>
          <a:lstStyle>
            <a:lvl1pPr marL="0" marR="0" indent="0" algn="l" defTabSz="914461" rtl="0" eaLnBrk="1" fontAlgn="auto" latinLnBrk="0" hangingPunct="1">
              <a:lnSpc>
                <a:spcPct val="100000"/>
              </a:lnSpc>
              <a:spcBef>
                <a:spcPct val="20000"/>
              </a:spcBef>
              <a:spcAft>
                <a:spcPts val="0"/>
              </a:spcAft>
              <a:buClrTx/>
              <a:buSzTx/>
              <a:buFont typeface="Arial" pitchFamily="34" charset="0"/>
              <a:buNone/>
              <a:tabLst/>
              <a:defRPr sz="2100" baseline="0">
                <a:solidFill>
                  <a:schemeClr val="bg1"/>
                </a:solidFill>
              </a:defRPr>
            </a:lvl1pPr>
            <a:lvl2pPr marL="457231" indent="0" algn="ctr">
              <a:buNone/>
              <a:defRPr>
                <a:solidFill>
                  <a:schemeClr val="tx1">
                    <a:tint val="75000"/>
                  </a:schemeClr>
                </a:solidFill>
              </a:defRPr>
            </a:lvl2pPr>
            <a:lvl3pPr marL="914461" indent="0" algn="ctr">
              <a:buNone/>
              <a:defRPr>
                <a:solidFill>
                  <a:schemeClr val="tx1">
                    <a:tint val="75000"/>
                  </a:schemeClr>
                </a:solidFill>
              </a:defRPr>
            </a:lvl3pPr>
            <a:lvl4pPr marL="1371692" indent="0" algn="ctr">
              <a:buNone/>
              <a:defRPr>
                <a:solidFill>
                  <a:schemeClr val="tx1">
                    <a:tint val="75000"/>
                  </a:schemeClr>
                </a:solidFill>
              </a:defRPr>
            </a:lvl4pPr>
            <a:lvl5pPr marL="1828922" indent="0" algn="ctr">
              <a:buNone/>
              <a:defRPr>
                <a:solidFill>
                  <a:schemeClr val="tx1">
                    <a:tint val="75000"/>
                  </a:schemeClr>
                </a:solidFill>
              </a:defRPr>
            </a:lvl5pPr>
            <a:lvl6pPr marL="2286153" indent="0" algn="ctr">
              <a:buNone/>
              <a:defRPr>
                <a:solidFill>
                  <a:schemeClr val="tx1">
                    <a:tint val="75000"/>
                  </a:schemeClr>
                </a:solidFill>
              </a:defRPr>
            </a:lvl6pPr>
            <a:lvl7pPr marL="2743383" indent="0" algn="ctr">
              <a:buNone/>
              <a:defRPr>
                <a:solidFill>
                  <a:schemeClr val="tx1">
                    <a:tint val="75000"/>
                  </a:schemeClr>
                </a:solidFill>
              </a:defRPr>
            </a:lvl7pPr>
            <a:lvl8pPr marL="3200613" indent="0" algn="ctr">
              <a:buNone/>
              <a:defRPr>
                <a:solidFill>
                  <a:schemeClr val="tx1">
                    <a:tint val="75000"/>
                  </a:schemeClr>
                </a:solidFill>
              </a:defRPr>
            </a:lvl8pPr>
            <a:lvl9pPr marL="3657843"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260566618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9862587"/>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32370" y="6403873"/>
            <a:ext cx="1057183" cy="1101980"/>
          </a:xfrm>
          <a:prstGeom prst="rect">
            <a:avLst/>
          </a:prstGeom>
        </p:spPr>
        <p:txBody>
          <a:bodyPr lIns="121828" tIns="60918" rIns="121828" bIns="60918"/>
          <a:lstStyle/>
          <a:p>
            <a:endParaRPr lang="de-DE" altLang="zh-CN" smtClean="0">
              <a:solidFill>
                <a:srgbClr val="000000"/>
              </a:solidFill>
            </a:endParaRPr>
          </a:p>
          <a:p>
            <a:r>
              <a:rPr lang="de-DE" altLang="zh-CN" smtClean="0">
                <a:solidFill>
                  <a:srgbClr val="000000"/>
                </a:solidFill>
              </a:rPr>
              <a:t>Page </a:t>
            </a:r>
            <a:fld id="{8E86A71A-3F4B-4803-845C-7058DE3A958C}" type="slidenum">
              <a:rPr lang="de-DE" altLang="zh-CN" smtClean="0">
                <a:solidFill>
                  <a:srgbClr val="000000"/>
                </a:solidFill>
              </a:rPr>
              <a:pPr/>
              <a:t>‹Nº›</a:t>
            </a:fld>
            <a:endParaRPr lang="en-GB" altLang="zh-CN" smtClean="0">
              <a:solidFill>
                <a:srgbClr val="000000"/>
              </a:solidFill>
            </a:endParaRPr>
          </a:p>
        </p:txBody>
      </p:sp>
    </p:spTree>
    <p:extLst>
      <p:ext uri="{BB962C8B-B14F-4D97-AF65-F5344CB8AC3E}">
        <p14:creationId xmlns:p14="http://schemas.microsoft.com/office/powerpoint/2010/main" val="3039124963"/>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5932370" y="6403872"/>
            <a:ext cx="1057183" cy="1101980"/>
          </a:xfrm>
          <a:prstGeom prst="rect">
            <a:avLst/>
          </a:prstGeom>
        </p:spPr>
        <p:txBody>
          <a:bodyPr/>
          <a:lstStyle>
            <a:lvl1pPr>
              <a:buClr>
                <a:srgbClr val="CC9900"/>
              </a:buClr>
              <a:buFont typeface="Wingdings" pitchFamily="2" charset="2"/>
              <a:buChar char="n"/>
              <a:defRPr b="1"/>
            </a:lvl1pPr>
          </a:lstStyle>
          <a:p>
            <a:pPr>
              <a:defRPr/>
            </a:pPr>
            <a:endParaRPr lang="de-DE" altLang="zh-CN">
              <a:solidFill>
                <a:prstClr val="white"/>
              </a:solidFill>
            </a:endParaRPr>
          </a:p>
          <a:p>
            <a:pPr>
              <a:defRPr/>
            </a:pPr>
            <a:r>
              <a:rPr lang="de-DE" altLang="zh-CN">
                <a:solidFill>
                  <a:prstClr val="white"/>
                </a:solidFill>
              </a:rPr>
              <a:t>Page </a:t>
            </a:r>
            <a:fld id="{556A6E8A-A075-4B13-B6B2-2461868E8E7A}" type="slidenum">
              <a:rPr lang="de-DE" altLang="zh-CN">
                <a:solidFill>
                  <a:prstClr val="white"/>
                </a:solidFill>
              </a:rPr>
              <a:pPr>
                <a:defRPr/>
              </a:pPr>
              <a:t>‹Nº›</a:t>
            </a:fld>
            <a:endParaRPr lang="en-GB" altLang="zh-CN">
              <a:solidFill>
                <a:prstClr val="white"/>
              </a:solidFill>
            </a:endParaRPr>
          </a:p>
        </p:txBody>
      </p:sp>
    </p:spTree>
    <p:extLst>
      <p:ext uri="{BB962C8B-B14F-4D97-AF65-F5344CB8AC3E}">
        <p14:creationId xmlns:p14="http://schemas.microsoft.com/office/powerpoint/2010/main" val="3936131469"/>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84000" y="399601"/>
            <a:ext cx="7747000" cy="395869"/>
          </a:xfrm>
          <a:noFill/>
          <a:ln>
            <a:noFill/>
          </a:ln>
          <a:effectLst/>
          <a:extLst/>
        </p:spPr>
        <p:txBody>
          <a:bodyPr lIns="36000" tIns="36000" rIns="36000" bIns="36000" anchor="t">
            <a:spAutoFit/>
          </a:bodyPr>
          <a:lstStyle>
            <a:lvl1pPr>
              <a:defRPr lang="zh-CN" altLang="en-US" sz="2100" b="1" kern="1200">
                <a:latin typeface="FrutigerNext LT Medium" pitchFamily="34" charset="0"/>
              </a:defRPr>
            </a:lvl1pPr>
          </a:lstStyle>
          <a:p>
            <a:pPr lvl="0"/>
            <a:r>
              <a:rPr lang="zh-CN" altLang="en-US" dirty="0" smtClean="0"/>
              <a:t>单击此处编辑母版标题样式</a:t>
            </a:r>
            <a:endParaRPr lang="zh-CN" altLang="en-US" dirty="0"/>
          </a:p>
        </p:txBody>
      </p:sp>
      <p:sp>
        <p:nvSpPr>
          <p:cNvPr id="3" name="Rectangle 10"/>
          <p:cNvSpPr>
            <a:spLocks noGrp="1" noChangeArrowheads="1"/>
          </p:cNvSpPr>
          <p:nvPr>
            <p:ph type="dt" sz="half" idx="10"/>
          </p:nvPr>
        </p:nvSpPr>
        <p:spPr>
          <a:xfrm>
            <a:off x="6362700" y="6491288"/>
            <a:ext cx="2097088" cy="455612"/>
          </a:xfrm>
          <a:prstGeom prst="rect">
            <a:avLst/>
          </a:prstGeom>
          <a:ln/>
        </p:spPr>
        <p:txBody>
          <a:bodyPr/>
          <a:lstStyle>
            <a:lvl1pPr>
              <a:defRPr/>
            </a:lvl1pPr>
          </a:lstStyle>
          <a:p>
            <a:r>
              <a:rPr lang="de-DE" altLang="zh-CN">
                <a:solidFill>
                  <a:prstClr val="white"/>
                </a:solidFill>
              </a:rPr>
              <a:t>Page </a:t>
            </a:r>
            <a:fld id="{9E42A978-DB2E-4ED1-8994-20AA84FDBB34}" type="slidenum">
              <a:rPr lang="de-DE" altLang="zh-CN">
                <a:solidFill>
                  <a:prstClr val="white"/>
                </a:solidFill>
              </a:rPr>
              <a:pPr/>
              <a:t>‹Nº›</a:t>
            </a:fld>
            <a:endParaRPr lang="en-GB" altLang="zh-CN">
              <a:solidFill>
                <a:prstClr val="white"/>
              </a:solidFill>
            </a:endParaRPr>
          </a:p>
        </p:txBody>
      </p:sp>
    </p:spTree>
    <p:extLst>
      <p:ext uri="{BB962C8B-B14F-4D97-AF65-F5344CB8AC3E}">
        <p14:creationId xmlns:p14="http://schemas.microsoft.com/office/powerpoint/2010/main" val="3766769396"/>
      </p:ext>
    </p:extLst>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r>
              <a:rPr lang="de-DE">
                <a:solidFill>
                  <a:srgbClr val="000000"/>
                </a:solidFill>
              </a:rPr>
              <a:t>Page </a:t>
            </a:r>
            <a:fld id="{4780C888-D246-4D83-BA9A-935D9575F7D7}" type="slidenum">
              <a:rPr lang="de-DE">
                <a:solidFill>
                  <a:srgbClr val="000000"/>
                </a:solidFill>
              </a:rPr>
              <a:pPr/>
              <a:t>‹Nº›</a:t>
            </a:fld>
            <a:endParaRPr lang="en-GB">
              <a:solidFill>
                <a:srgbClr val="000000"/>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57169" y="325516"/>
            <a:ext cx="7831251" cy="871739"/>
          </a:xfrm>
          <a:prstGeom prst="rect">
            <a:avLst/>
          </a:prstGeom>
        </p:spPr>
        <p:txBody>
          <a:body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657168" y="1629154"/>
            <a:ext cx="7831252" cy="4195146"/>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52644980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23144" y="165139"/>
            <a:ext cx="7921739" cy="1056245"/>
          </a:xfrm>
        </p:spPr>
        <p:txBody>
          <a:bodyPr>
            <a:noAutofit/>
          </a:bodyPr>
          <a:lstStyle>
            <a:lvl1pPr marL="0" marR="0" indent="0" algn="l" defTabSz="914461" rtl="0" eaLnBrk="1" fontAlgn="auto" latinLnBrk="0" hangingPunct="1">
              <a:lnSpc>
                <a:spcPct val="100000"/>
              </a:lnSpc>
              <a:spcBef>
                <a:spcPct val="0"/>
              </a:spcBef>
              <a:spcAft>
                <a:spcPts val="0"/>
              </a:spcAft>
              <a:buClrTx/>
              <a:buSzTx/>
              <a:buFontTx/>
              <a:buNone/>
              <a:tabLst/>
              <a:defRPr sz="3000" b="1">
                <a:solidFill>
                  <a:schemeClr val="bg1"/>
                </a:solidFill>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323144" y="1501202"/>
            <a:ext cx="8508428" cy="4801111"/>
          </a:xfrm>
        </p:spPr>
        <p:txBody>
          <a:bodyPr>
            <a:normAutofit/>
          </a:bodyPr>
          <a:lstStyle>
            <a:lvl1pPr marL="0" marR="0" indent="0" algn="l" defTabSz="914461" rtl="0" eaLnBrk="1" fontAlgn="auto" latinLnBrk="0" hangingPunct="1">
              <a:lnSpc>
                <a:spcPct val="100000"/>
              </a:lnSpc>
              <a:spcBef>
                <a:spcPct val="20000"/>
              </a:spcBef>
              <a:spcAft>
                <a:spcPts val="0"/>
              </a:spcAft>
              <a:buClrTx/>
              <a:buSzTx/>
              <a:buFont typeface="Arial" pitchFamily="34" charset="0"/>
              <a:buNone/>
              <a:tabLst/>
              <a:defRPr sz="2100" baseline="0">
                <a:solidFill>
                  <a:schemeClr val="bg1"/>
                </a:solidFill>
              </a:defRPr>
            </a:lvl1pPr>
            <a:lvl2pPr marL="457231" indent="0" algn="ctr">
              <a:buNone/>
              <a:defRPr>
                <a:solidFill>
                  <a:schemeClr val="tx1">
                    <a:tint val="75000"/>
                  </a:schemeClr>
                </a:solidFill>
              </a:defRPr>
            </a:lvl2pPr>
            <a:lvl3pPr marL="914461" indent="0" algn="ctr">
              <a:buNone/>
              <a:defRPr>
                <a:solidFill>
                  <a:schemeClr val="tx1">
                    <a:tint val="75000"/>
                  </a:schemeClr>
                </a:solidFill>
              </a:defRPr>
            </a:lvl3pPr>
            <a:lvl4pPr marL="1371692" indent="0" algn="ctr">
              <a:buNone/>
              <a:defRPr>
                <a:solidFill>
                  <a:schemeClr val="tx1">
                    <a:tint val="75000"/>
                  </a:schemeClr>
                </a:solidFill>
              </a:defRPr>
            </a:lvl4pPr>
            <a:lvl5pPr marL="1828922" indent="0" algn="ctr">
              <a:buNone/>
              <a:defRPr>
                <a:solidFill>
                  <a:schemeClr val="tx1">
                    <a:tint val="75000"/>
                  </a:schemeClr>
                </a:solidFill>
              </a:defRPr>
            </a:lvl5pPr>
            <a:lvl6pPr marL="2286153" indent="0" algn="ctr">
              <a:buNone/>
              <a:defRPr>
                <a:solidFill>
                  <a:schemeClr val="tx1">
                    <a:tint val="75000"/>
                  </a:schemeClr>
                </a:solidFill>
              </a:defRPr>
            </a:lvl6pPr>
            <a:lvl7pPr marL="2743383" indent="0" algn="ctr">
              <a:buNone/>
              <a:defRPr>
                <a:solidFill>
                  <a:schemeClr val="tx1">
                    <a:tint val="75000"/>
                  </a:schemeClr>
                </a:solidFill>
              </a:defRPr>
            </a:lvl7pPr>
            <a:lvl8pPr marL="3200613" indent="0" algn="ctr">
              <a:buNone/>
              <a:defRPr>
                <a:solidFill>
                  <a:schemeClr val="tx1">
                    <a:tint val="75000"/>
                  </a:schemeClr>
                </a:solidFill>
              </a:defRPr>
            </a:lvl8pPr>
            <a:lvl9pPr marL="3657843"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val="33221603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23144" y="333450"/>
            <a:ext cx="7921739" cy="672368"/>
          </a:xfrm>
          <a:prstGeom prst="rect">
            <a:avLst/>
          </a:prstGeom>
        </p:spPr>
        <p:txBody>
          <a:bodyPr>
            <a:noAutofit/>
          </a:bodyPr>
          <a:lstStyle>
            <a:lvl1pPr marL="0" marR="0" indent="0" algn="l" defTabSz="914461" rtl="0" eaLnBrk="1" fontAlgn="auto" latinLnBrk="0" hangingPunct="1">
              <a:lnSpc>
                <a:spcPct val="100000"/>
              </a:lnSpc>
              <a:spcBef>
                <a:spcPct val="0"/>
              </a:spcBef>
              <a:spcAft>
                <a:spcPts val="0"/>
              </a:spcAft>
              <a:buClrTx/>
              <a:buSzTx/>
              <a:buFontTx/>
              <a:buNone/>
              <a:tabLst/>
              <a:defRPr sz="2700" b="1">
                <a:solidFill>
                  <a:schemeClr val="bg1"/>
                </a:solidFill>
              </a:defRPr>
            </a:lvl1pPr>
          </a:lstStyle>
          <a:p>
            <a:r>
              <a:rPr lang="en-US" altLang="zh-CN" dirty="0" smtClean="0"/>
              <a:t>Headline in Arial bold 40 point</a:t>
            </a:r>
          </a:p>
        </p:txBody>
      </p:sp>
    </p:spTree>
    <p:extLst>
      <p:ext uri="{BB962C8B-B14F-4D97-AF65-F5344CB8AC3E}">
        <p14:creationId xmlns:p14="http://schemas.microsoft.com/office/powerpoint/2010/main" val="2791148114"/>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节标题">
    <p:spTree>
      <p:nvGrpSpPr>
        <p:cNvPr id="1" name=""/>
        <p:cNvGrpSpPr/>
        <p:nvPr/>
      </p:nvGrpSpPr>
      <p:grpSpPr>
        <a:xfrm>
          <a:off x="0" y="0"/>
          <a:ext cx="0" cy="0"/>
          <a:chOff x="0" y="0"/>
          <a:chExt cx="0" cy="0"/>
        </a:xfrm>
      </p:grpSpPr>
      <p:sp>
        <p:nvSpPr>
          <p:cNvPr id="3" name="Title 2"/>
          <p:cNvSpPr>
            <a:spLocks noGrp="1"/>
          </p:cNvSpPr>
          <p:nvPr>
            <p:ph type="title"/>
          </p:nvPr>
        </p:nvSpPr>
        <p:spPr>
          <a:xfrm>
            <a:off x="490502" y="107602"/>
            <a:ext cx="8232458" cy="808038"/>
          </a:xfrm>
          <a:prstGeom prst="rect">
            <a:avLst/>
          </a:prstGeom>
        </p:spPr>
        <p:txBody>
          <a:bodyPr/>
          <a:lstStyle>
            <a:lvl1pPr>
              <a:defRPr>
                <a:latin typeface="Arial" pitchFamily="34" charset="0"/>
                <a:ea typeface="微软雅黑" pitchFamily="34" charset="-122"/>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9188282"/>
      </p:ext>
    </p:extLst>
  </p:cSld>
  <p:clrMapOvr>
    <a:masterClrMapping/>
  </p:clrMapOv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9658570"/>
      </p:ext>
    </p:extLst>
  </p:cSld>
  <p:clrMapOvr>
    <a:masterClrMapping/>
  </p:clrMapOvr>
  <p:transition advClick="0"/>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94427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802531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443" y="4407980"/>
            <a:ext cx="7773750" cy="1362390"/>
          </a:xfrm>
        </p:spPr>
        <p:txBody>
          <a:bodyPr anchor="t"/>
          <a:lstStyle>
            <a:lvl1pPr algn="l">
              <a:defRPr sz="3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443" y="2907388"/>
            <a:ext cx="7773750" cy="1500534"/>
          </a:xfrm>
        </p:spPr>
        <p:txBody>
          <a:bodyPr anchor="b"/>
          <a:lstStyle>
            <a:lvl1pPr marL="0" indent="0">
              <a:buNone/>
              <a:defRPr sz="1500"/>
            </a:lvl1pPr>
            <a:lvl2pPr marL="342854" indent="0">
              <a:buNone/>
              <a:defRPr sz="1350"/>
            </a:lvl2pPr>
            <a:lvl3pPr marL="685709" indent="0">
              <a:buNone/>
              <a:defRPr sz="1200"/>
            </a:lvl3pPr>
            <a:lvl4pPr marL="1028563" indent="0">
              <a:buNone/>
              <a:defRPr sz="1050"/>
            </a:lvl4pPr>
            <a:lvl5pPr marL="1371417" indent="0">
              <a:buNone/>
              <a:defRPr sz="1050"/>
            </a:lvl5pPr>
            <a:lvl6pPr marL="1714271" indent="0">
              <a:buNone/>
              <a:defRPr sz="1050"/>
            </a:lvl6pPr>
            <a:lvl7pPr marL="2057126" indent="0">
              <a:buNone/>
              <a:defRPr sz="1050"/>
            </a:lvl7pPr>
            <a:lvl8pPr marL="2399980" indent="0">
              <a:buNone/>
              <a:defRPr sz="1050"/>
            </a:lvl8pPr>
            <a:lvl9pPr marL="2742834" indent="0">
              <a:buNone/>
              <a:defRPr sz="1050"/>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r>
              <a:rPr lang="de-DE">
                <a:solidFill>
                  <a:srgbClr val="000000"/>
                </a:solidFill>
              </a:rPr>
              <a:t>Page </a:t>
            </a:r>
            <a:fld id="{C0003A64-5180-4BEA-91CE-0BBE5769450C}" type="slidenum">
              <a:rPr lang="de-DE">
                <a:solidFill>
                  <a:srgbClr val="000000"/>
                </a:solidFill>
              </a:rPr>
              <a:pPr/>
              <a:t>‹Nº›</a:t>
            </a:fld>
            <a:endParaRPr lang="en-GB">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52578" y="1641857"/>
            <a:ext cx="3888462" cy="4195146"/>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93470" y="1641857"/>
            <a:ext cx="3890051" cy="4195146"/>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lvl1pPr>
              <a:defRPr/>
            </a:lvl1pPr>
          </a:lstStyle>
          <a:p>
            <a:r>
              <a:rPr lang="de-DE">
                <a:solidFill>
                  <a:srgbClr val="000000"/>
                </a:solidFill>
              </a:rPr>
              <a:t>Page </a:t>
            </a:r>
            <a:fld id="{1F5CBCCD-48F8-4C63-AF73-FB531FA3E164}" type="slidenum">
              <a:rPr lang="de-DE">
                <a:solidFill>
                  <a:srgbClr val="000000"/>
                </a:solidFill>
              </a:rPr>
              <a:pPr/>
              <a:t>‹Nº›</a:t>
            </a:fld>
            <a:endParaRPr lang="en-GB">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theme" Target="../theme/theme1.xml"/><Relationship Id="rId5" Type="http://schemas.openxmlformats.org/officeDocument/2006/relationships/image" Target="../media/image4.jpeg"/><Relationship Id="rId4"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16.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10.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17.png"/></Relationships>
</file>

<file path=ppt/slideMasters/_rels/slideMaster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9.xml"/><Relationship Id="rId7" Type="http://schemas.openxmlformats.org/officeDocument/2006/relationships/image" Target="../media/image22.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11.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23.png"/></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theme" Target="../theme/theme12.xml"/><Relationship Id="rId1" Type="http://schemas.openxmlformats.org/officeDocument/2006/relationships/slideLayout" Target="../slideLayouts/slideLayout22.xml"/><Relationship Id="rId4" Type="http://schemas.openxmlformats.org/officeDocument/2006/relationships/image" Target="../media/image23.png"/></Relationships>
</file>

<file path=ppt/slideMasters/_rels/slideMaster1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5.xml"/><Relationship Id="rId7" Type="http://schemas.openxmlformats.org/officeDocument/2006/relationships/image" Target="../media/image22.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13.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image" Target="../media/image23.png"/></Relationships>
</file>

<file path=ppt/slideMasters/_rels/slideMaster1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30.xml"/><Relationship Id="rId7" Type="http://schemas.openxmlformats.org/officeDocument/2006/relationships/image" Target="../media/image22.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14.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23.png"/></Relationships>
</file>

<file path=ppt/slideMasters/_rels/slideMaster1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35.xml"/><Relationship Id="rId7" Type="http://schemas.openxmlformats.org/officeDocument/2006/relationships/image" Target="../media/image22.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15.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image" Target="../media/image23.png"/></Relationships>
</file>

<file path=ppt/slideMasters/_rels/slideMaster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40.xml"/><Relationship Id="rId7" Type="http://schemas.openxmlformats.org/officeDocument/2006/relationships/image" Target="../media/image22.pn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16.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image" Target="../media/image23.png"/></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26.png"/><Relationship Id="rId5" Type="http://schemas.microsoft.com/office/2007/relationships/hdphoto" Target="../media/hdphoto1.wdp"/><Relationship Id="rId4" Type="http://schemas.openxmlformats.org/officeDocument/2006/relationships/image" Target="../media/image25.png"/></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8.xml"/><Relationship Id="rId1" Type="http://schemas.openxmlformats.org/officeDocument/2006/relationships/slideLayout" Target="../slideLayouts/slideLayout45.xml"/><Relationship Id="rId5" Type="http://schemas.openxmlformats.org/officeDocument/2006/relationships/image" Target="../media/image28.png"/><Relationship Id="rId4" Type="http://schemas.openxmlformats.org/officeDocument/2006/relationships/image" Target="../media/image27.jpeg"/></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image" Target="../media/image29.jpeg"/><Relationship Id="rId5" Type="http://schemas.openxmlformats.org/officeDocument/2006/relationships/theme" Target="../theme/theme19.xml"/><Relationship Id="rId4"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2.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slideLayout" Target="../slideLayouts/slideLayout52.xml"/><Relationship Id="rId7" Type="http://schemas.openxmlformats.org/officeDocument/2006/relationships/theme" Target="../theme/theme20.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image" Target="../media/image29.jpeg"/><Relationship Id="rId5" Type="http://schemas.openxmlformats.org/officeDocument/2006/relationships/theme" Target="../theme/theme21.xml"/><Relationship Id="rId4" Type="http://schemas.openxmlformats.org/officeDocument/2006/relationships/slideLayout" Target="../slideLayouts/slideLayout59.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image" Target="../media/image29.jpe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22.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slideLayout" Target="../slideLayouts/slideLayout67.xml"/><Relationship Id="rId7" Type="http://schemas.openxmlformats.org/officeDocument/2006/relationships/theme" Target="../theme/theme23.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theme" Target="../theme/theme24.xml"/><Relationship Id="rId1" Type="http://schemas.openxmlformats.org/officeDocument/2006/relationships/slideLayout" Target="../slideLayouts/slideLayout71.xml"/></Relationships>
</file>

<file path=ppt/slideMasters/_rels/slideMaster2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4.xml"/><Relationship Id="rId7" Type="http://schemas.openxmlformats.org/officeDocument/2006/relationships/tags" Target="../tags/tag1.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vmlDrawing" Target="../drawings/vmlDrawing1.vml"/><Relationship Id="rId5" Type="http://schemas.openxmlformats.org/officeDocument/2006/relationships/theme" Target="../theme/theme25.xml"/><Relationship Id="rId10" Type="http://schemas.openxmlformats.org/officeDocument/2006/relationships/image" Target="../media/image29.jpeg"/><Relationship Id="rId4" Type="http://schemas.openxmlformats.org/officeDocument/2006/relationships/slideLayout" Target="../slideLayouts/slideLayout75.xml"/><Relationship Id="rId9" Type="http://schemas.openxmlformats.org/officeDocument/2006/relationships/image" Target="../media/image31.emf"/></Relationships>
</file>

<file path=ppt/slideMasters/_rels/slideMaster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theme" Target="../theme/theme26.xml"/><Relationship Id="rId1" Type="http://schemas.openxmlformats.org/officeDocument/2006/relationships/slideLayout" Target="../slideLayouts/slideLayout76.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8.jpe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10.jpe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5.xml"/><Relationship Id="rId5" Type="http://schemas.openxmlformats.org/officeDocument/2006/relationships/image" Target="../media/image3.png"/><Relationship Id="rId4" Type="http://schemas.openxmlformats.org/officeDocument/2006/relationships/image" Target="../media/image12.jpeg"/></Relationships>
</file>

<file path=ppt/slideMasters/_rels/slideMaster7.xml.rels><?xml version="1.0" encoding="UTF-8" standalone="yes"?>
<Relationships xmlns="http://schemas.openxmlformats.org/package/2006/relationships"><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77"/>
          <p:cNvGrpSpPr>
            <a:grpSpLocks/>
          </p:cNvGrpSpPr>
          <p:nvPr/>
        </p:nvGrpSpPr>
        <p:grpSpPr bwMode="auto">
          <a:xfrm>
            <a:off x="9326596" y="3504426"/>
            <a:ext cx="919323" cy="3224960"/>
            <a:chOff x="5839" y="2251"/>
            <a:chExt cx="579" cy="2031"/>
          </a:xfrm>
        </p:grpSpPr>
        <p:sp>
          <p:nvSpPr>
            <p:cNvPr id="1038" name="Rectangle 78"/>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1039" name="Group 79"/>
            <p:cNvGrpSpPr>
              <a:grpSpLocks/>
            </p:cNvGrpSpPr>
            <p:nvPr userDrawn="1"/>
          </p:nvGrpSpPr>
          <p:grpSpPr bwMode="auto">
            <a:xfrm>
              <a:off x="5893" y="2387"/>
              <a:ext cx="466" cy="115"/>
              <a:chOff x="5893" y="2387"/>
              <a:chExt cx="466" cy="115"/>
            </a:xfrm>
          </p:grpSpPr>
          <p:sp>
            <p:nvSpPr>
              <p:cNvPr id="1100" name="Rectangle 80"/>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01" name="Rectangle 81"/>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02" name="Rectangle 82"/>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03" name="Rectangle 83"/>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0" name="Group 84"/>
            <p:cNvGrpSpPr>
              <a:grpSpLocks/>
            </p:cNvGrpSpPr>
            <p:nvPr userDrawn="1"/>
          </p:nvGrpSpPr>
          <p:grpSpPr bwMode="auto">
            <a:xfrm>
              <a:off x="5893" y="2523"/>
              <a:ext cx="466" cy="115"/>
              <a:chOff x="5893" y="2523"/>
              <a:chExt cx="466" cy="115"/>
            </a:xfrm>
          </p:grpSpPr>
          <p:sp>
            <p:nvSpPr>
              <p:cNvPr id="1096" name="Rectangle 85"/>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97" name="Rectangle 86"/>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98" name="Rectangle 87"/>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99" name="Rectangle 88"/>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1" name="Group 89"/>
            <p:cNvGrpSpPr>
              <a:grpSpLocks/>
            </p:cNvGrpSpPr>
            <p:nvPr userDrawn="1"/>
          </p:nvGrpSpPr>
          <p:grpSpPr bwMode="auto">
            <a:xfrm>
              <a:off x="5893" y="2659"/>
              <a:ext cx="466" cy="115"/>
              <a:chOff x="5893" y="2659"/>
              <a:chExt cx="466" cy="115"/>
            </a:xfrm>
          </p:grpSpPr>
          <p:sp>
            <p:nvSpPr>
              <p:cNvPr id="1092" name="Rectangle 90"/>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93" name="Rectangle 91"/>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94" name="Rectangle 92"/>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95" name="Rectangle 93"/>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2" name="Group 94"/>
            <p:cNvGrpSpPr>
              <a:grpSpLocks/>
            </p:cNvGrpSpPr>
            <p:nvPr userDrawn="1"/>
          </p:nvGrpSpPr>
          <p:grpSpPr bwMode="auto">
            <a:xfrm>
              <a:off x="5893" y="2251"/>
              <a:ext cx="466" cy="119"/>
              <a:chOff x="5893" y="2251"/>
              <a:chExt cx="466" cy="119"/>
            </a:xfrm>
          </p:grpSpPr>
          <p:sp>
            <p:nvSpPr>
              <p:cNvPr id="1088" name="Rectangle 95"/>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89" name="Rectangle 96"/>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90" name="Rectangle 97"/>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91" name="Rectangle 98"/>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3" name="Group 99"/>
            <p:cNvGrpSpPr>
              <a:grpSpLocks/>
            </p:cNvGrpSpPr>
            <p:nvPr userDrawn="1"/>
          </p:nvGrpSpPr>
          <p:grpSpPr bwMode="auto">
            <a:xfrm>
              <a:off x="5893" y="2886"/>
              <a:ext cx="466" cy="115"/>
              <a:chOff x="5893" y="2886"/>
              <a:chExt cx="466" cy="115"/>
            </a:xfrm>
          </p:grpSpPr>
          <p:sp>
            <p:nvSpPr>
              <p:cNvPr id="1084" name="Rectangle 100"/>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85" name="Rectangle 101"/>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86" name="Rectangle 102"/>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87" name="Rectangle 103"/>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4" name="Group 104"/>
            <p:cNvGrpSpPr>
              <a:grpSpLocks/>
            </p:cNvGrpSpPr>
            <p:nvPr userDrawn="1"/>
          </p:nvGrpSpPr>
          <p:grpSpPr bwMode="auto">
            <a:xfrm>
              <a:off x="5893" y="3022"/>
              <a:ext cx="466" cy="115"/>
              <a:chOff x="5893" y="3022"/>
              <a:chExt cx="466" cy="115"/>
            </a:xfrm>
          </p:grpSpPr>
          <p:sp>
            <p:nvSpPr>
              <p:cNvPr id="1080" name="Rectangle 105"/>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81" name="Rectangle 106"/>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82" name="Rectangle 107"/>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83" name="Rectangle 108"/>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5" name="Group 109"/>
            <p:cNvGrpSpPr>
              <a:grpSpLocks/>
            </p:cNvGrpSpPr>
            <p:nvPr userDrawn="1"/>
          </p:nvGrpSpPr>
          <p:grpSpPr bwMode="auto">
            <a:xfrm>
              <a:off x="5893" y="3158"/>
              <a:ext cx="466" cy="115"/>
              <a:chOff x="5893" y="3158"/>
              <a:chExt cx="466" cy="115"/>
            </a:xfrm>
          </p:grpSpPr>
          <p:sp>
            <p:nvSpPr>
              <p:cNvPr id="1076" name="Rectangle 110"/>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77" name="Rectangle 111"/>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78" name="Rectangle 112"/>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79" name="Rectangle 113"/>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6" name="Group 114"/>
            <p:cNvGrpSpPr>
              <a:grpSpLocks/>
            </p:cNvGrpSpPr>
            <p:nvPr userDrawn="1"/>
          </p:nvGrpSpPr>
          <p:grpSpPr bwMode="auto">
            <a:xfrm>
              <a:off x="5893" y="3385"/>
              <a:ext cx="466" cy="115"/>
              <a:chOff x="5893" y="3385"/>
              <a:chExt cx="466" cy="115"/>
            </a:xfrm>
          </p:grpSpPr>
          <p:sp>
            <p:nvSpPr>
              <p:cNvPr id="1072" name="Rectangle 115"/>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73" name="Rectangle 116"/>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74" name="Rectangle 117"/>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75" name="Rectangle 118"/>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7" name="Group 119"/>
            <p:cNvGrpSpPr>
              <a:grpSpLocks/>
            </p:cNvGrpSpPr>
            <p:nvPr userDrawn="1"/>
          </p:nvGrpSpPr>
          <p:grpSpPr bwMode="auto">
            <a:xfrm>
              <a:off x="5893" y="3521"/>
              <a:ext cx="466" cy="115"/>
              <a:chOff x="5893" y="3521"/>
              <a:chExt cx="466" cy="115"/>
            </a:xfrm>
          </p:grpSpPr>
          <p:sp>
            <p:nvSpPr>
              <p:cNvPr id="1068" name="Rectangle 120"/>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69" name="Rectangle 121"/>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70" name="Rectangle 122"/>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71" name="Rectangle 123"/>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8" name="Group 124"/>
            <p:cNvGrpSpPr>
              <a:grpSpLocks/>
            </p:cNvGrpSpPr>
            <p:nvPr userDrawn="1"/>
          </p:nvGrpSpPr>
          <p:grpSpPr bwMode="auto">
            <a:xfrm>
              <a:off x="5893" y="3657"/>
              <a:ext cx="466" cy="115"/>
              <a:chOff x="5893" y="3657"/>
              <a:chExt cx="466" cy="115"/>
            </a:xfrm>
          </p:grpSpPr>
          <p:sp>
            <p:nvSpPr>
              <p:cNvPr id="1064" name="Rectangle 125"/>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65" name="Rectangle 126"/>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66" name="Rectangle 127"/>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67" name="Rectangle 128"/>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49" name="Group 129"/>
            <p:cNvGrpSpPr>
              <a:grpSpLocks/>
            </p:cNvGrpSpPr>
            <p:nvPr userDrawn="1"/>
          </p:nvGrpSpPr>
          <p:grpSpPr bwMode="auto">
            <a:xfrm>
              <a:off x="5893" y="3884"/>
              <a:ext cx="466" cy="115"/>
              <a:chOff x="5893" y="3884"/>
              <a:chExt cx="466" cy="115"/>
            </a:xfrm>
          </p:grpSpPr>
          <p:sp>
            <p:nvSpPr>
              <p:cNvPr id="1060" name="Rectangle 130"/>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61" name="Rectangle 131"/>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62" name="Rectangle 132"/>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63" name="Rectangle 133"/>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50" name="Group 134"/>
            <p:cNvGrpSpPr>
              <a:grpSpLocks/>
            </p:cNvGrpSpPr>
            <p:nvPr userDrawn="1"/>
          </p:nvGrpSpPr>
          <p:grpSpPr bwMode="auto">
            <a:xfrm>
              <a:off x="5893" y="4026"/>
              <a:ext cx="466" cy="115"/>
              <a:chOff x="5893" y="4026"/>
              <a:chExt cx="466" cy="115"/>
            </a:xfrm>
          </p:grpSpPr>
          <p:sp>
            <p:nvSpPr>
              <p:cNvPr id="1056" name="Rectangle 135"/>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57" name="Rectangle 136"/>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58" name="Rectangle 137"/>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59" name="Rectangle 138"/>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51" name="Group 139"/>
            <p:cNvGrpSpPr>
              <a:grpSpLocks/>
            </p:cNvGrpSpPr>
            <p:nvPr userDrawn="1"/>
          </p:nvGrpSpPr>
          <p:grpSpPr bwMode="auto">
            <a:xfrm>
              <a:off x="5893" y="4167"/>
              <a:ext cx="466" cy="115"/>
              <a:chOff x="5893" y="4167"/>
              <a:chExt cx="466" cy="115"/>
            </a:xfrm>
          </p:grpSpPr>
          <p:sp>
            <p:nvSpPr>
              <p:cNvPr id="1052" name="Rectangle 140"/>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53" name="Rectangle 141"/>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54" name="Rectangle 142"/>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55" name="Rectangle 143"/>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1027" name="Rectangle 144"/>
          <p:cNvSpPr>
            <a:spLocks noChangeArrowheads="1"/>
          </p:cNvSpPr>
          <p:nvPr/>
        </p:nvSpPr>
        <p:spPr bwMode="auto">
          <a:xfrm>
            <a:off x="9253560" y="1333810"/>
            <a:ext cx="1192420" cy="15697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latin typeface="Arial" pitchFamily="34" charset="0"/>
                <a:ea typeface="黑体" pitchFamily="49" charset="-122"/>
              </a:rPr>
              <a:t>配色参考方案：</a:t>
            </a:r>
          </a:p>
          <a:p>
            <a:pPr>
              <a:lnSpc>
                <a:spcPct val="120000"/>
              </a:lnSpc>
              <a:spcBef>
                <a:spcPct val="20000"/>
              </a:spcBef>
            </a:pPr>
            <a:r>
              <a:rPr lang="zh-CN" altLang="en-US" sz="1125" dirty="0">
                <a:solidFill>
                  <a:srgbClr val="FFFFFF"/>
                </a:solidFill>
                <a:latin typeface="Arial" pitchFamily="34" charset="0"/>
                <a:ea typeface="黑体" pitchFamily="49" charset="-122"/>
              </a:rPr>
              <a:t>建议同一页面内不超过四种颜色，以下是</a:t>
            </a:r>
            <a:r>
              <a:rPr lang="en-US" altLang="zh-CN" sz="1125" dirty="0">
                <a:solidFill>
                  <a:srgbClr val="FFFFFF"/>
                </a:solidFill>
                <a:latin typeface="Arial" pitchFamily="34" charset="0"/>
                <a:ea typeface="黑体" pitchFamily="49" charset="-122"/>
              </a:rPr>
              <a:t>13</a:t>
            </a:r>
            <a:r>
              <a:rPr lang="zh-CN" altLang="en-US" sz="1125" dirty="0">
                <a:solidFill>
                  <a:srgbClr val="FFFFFF"/>
                </a:solidFill>
                <a:latin typeface="Arial" pitchFamily="34" charset="0"/>
                <a:ea typeface="黑体" pitchFamily="49" charset="-122"/>
              </a:rPr>
              <a:t>组配色方案，同一页面内只选择一组使用。（仅供参考）</a:t>
            </a:r>
          </a:p>
        </p:txBody>
      </p:sp>
      <p:sp>
        <p:nvSpPr>
          <p:cNvPr id="1028" name="Rectangle 145"/>
          <p:cNvSpPr>
            <a:spLocks noChangeArrowheads="1"/>
          </p:cNvSpPr>
          <p:nvPr/>
        </p:nvSpPr>
        <p:spPr bwMode="auto">
          <a:xfrm>
            <a:off x="9253558" y="1"/>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latin typeface="Arial" pitchFamily="34" charset="0"/>
                <a:ea typeface="黑体" pitchFamily="49" charset="-122"/>
              </a:rPr>
              <a:t>客户或者合作伙伴的标志放在右上角</a:t>
            </a:r>
            <a:r>
              <a:rPr lang="en-US" altLang="zh-CN" sz="1125" dirty="0">
                <a:solidFill>
                  <a:srgbClr val="FFFFFF"/>
                </a:solidFill>
                <a:latin typeface="Arial" pitchFamily="34" charset="0"/>
                <a:ea typeface="黑体" pitchFamily="49" charset="-122"/>
              </a:rPr>
              <a:t>.</a:t>
            </a:r>
            <a:endParaRPr lang="zh-CN" altLang="en-US" sz="1125" dirty="0">
              <a:solidFill>
                <a:srgbClr val="FFFFFF"/>
              </a:solidFill>
              <a:latin typeface="Arial" pitchFamily="34" charset="0"/>
              <a:ea typeface="黑体" pitchFamily="49" charset="-122"/>
            </a:endParaRPr>
          </a:p>
        </p:txBody>
      </p:sp>
      <p:pic>
        <p:nvPicPr>
          <p:cNvPr id="1029" name="Picture 146" descr="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973364"/>
            <a:ext cx="9145588" cy="3810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3" name="Text Box 7"/>
          <p:cNvSpPr txBox="1">
            <a:spLocks noChangeArrowheads="1"/>
          </p:cNvSpPr>
          <p:nvPr/>
        </p:nvSpPr>
        <p:spPr bwMode="auto">
          <a:xfrm>
            <a:off x="7230732" y="4012544"/>
            <a:ext cx="1152900" cy="2423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50" tIns="45725" rIns="91450" bIns="45725">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975" dirty="0" smtClean="0">
                <a:solidFill>
                  <a:srgbClr val="FFFFFF"/>
                </a:solidFill>
                <a:latin typeface="FrutigerNext LT Bold" pitchFamily="34" charset="0"/>
                <a:ea typeface="MS PGothic" pitchFamily="34" charset="-128"/>
              </a:rPr>
              <a:t>www.huawei.com</a:t>
            </a:r>
          </a:p>
        </p:txBody>
      </p:sp>
      <p:sp>
        <p:nvSpPr>
          <p:cNvPr id="1031" name="Rectangle 2"/>
          <p:cNvSpPr>
            <a:spLocks noGrp="1" noChangeArrowheads="1"/>
          </p:cNvSpPr>
          <p:nvPr>
            <p:ph type="title"/>
          </p:nvPr>
        </p:nvSpPr>
        <p:spPr bwMode="auto">
          <a:xfrm>
            <a:off x="755785" y="2157179"/>
            <a:ext cx="5617551" cy="62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2412" rIns="121944" bIns="62412" numCol="1" anchor="ctr" anchorCtr="0" compatLnSpc="1">
            <a:prstTxWarp prst="textNoShape">
              <a:avLst/>
            </a:prstTxWarp>
            <a:spAutoFit/>
          </a:bodyPr>
          <a:lstStyle/>
          <a:p>
            <a:pPr lvl="0"/>
            <a:r>
              <a:rPr lang="zh-CN" altLang="en-US" dirty="0" smtClean="0"/>
              <a:t>单击此处编辑母版标题样式</a:t>
            </a:r>
          </a:p>
        </p:txBody>
      </p:sp>
      <p:sp>
        <p:nvSpPr>
          <p:cNvPr id="1032" name="Rectangle 3"/>
          <p:cNvSpPr>
            <a:spLocks noGrp="1" noChangeArrowheads="1"/>
          </p:cNvSpPr>
          <p:nvPr>
            <p:ph type="body" idx="1"/>
          </p:nvPr>
        </p:nvSpPr>
        <p:spPr bwMode="auto">
          <a:xfrm>
            <a:off x="755784" y="3069351"/>
            <a:ext cx="5330163" cy="492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0972" rIns="121944" bIns="60972" numCol="1" anchor="t" anchorCtr="0" compatLnSpc="1">
            <a:prstTxWarp prst="textNoShape">
              <a:avLst/>
            </a:prstTxWarp>
            <a:spAutoFit/>
          </a:bodyPr>
          <a:lstStyle/>
          <a:p>
            <a:pPr lvl="0"/>
            <a:r>
              <a:rPr lang="zh-CN" altLang="en-US" dirty="0" smtClean="0"/>
              <a:t>单击此处编辑母版文本样式</a:t>
            </a:r>
          </a:p>
        </p:txBody>
      </p:sp>
      <p:sp>
        <p:nvSpPr>
          <p:cNvPr id="1036" name="Rectangle 13"/>
          <p:cNvSpPr>
            <a:spLocks noChangeArrowheads="1"/>
          </p:cNvSpPr>
          <p:nvPr/>
        </p:nvSpPr>
        <p:spPr bwMode="auto">
          <a:xfrm>
            <a:off x="7237085" y="476362"/>
            <a:ext cx="1465518"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4277" eaLnBrk="0" hangingPunct="0"/>
            <a:r>
              <a:rPr lang="en-US" altLang="zh-CN" sz="1425" b="1" dirty="0">
                <a:solidFill>
                  <a:srgbClr val="666666"/>
                </a:solidFill>
                <a:latin typeface="FrutigerNext LT Bold" pitchFamily="34" charset="0"/>
                <a:ea typeface="MS PGothic" pitchFamily="34" charset="-128"/>
              </a:rPr>
              <a:t>Security Level: </a:t>
            </a:r>
          </a:p>
        </p:txBody>
      </p:sp>
      <p:sp>
        <p:nvSpPr>
          <p:cNvPr id="310" name="Rectangle 19"/>
          <p:cNvSpPr>
            <a:spLocks noGrp="1" noChangeArrowheads="1"/>
          </p:cNvSpPr>
          <p:nvPr>
            <p:ph type="dt" sz="quarter" idx="2"/>
          </p:nvPr>
        </p:nvSpPr>
        <p:spPr bwMode="auto">
          <a:xfrm>
            <a:off x="755782" y="479536"/>
            <a:ext cx="2133971" cy="21929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25">
                <a:latin typeface="+mn-lt"/>
                <a:ea typeface="+mn-ea"/>
              </a:defRPr>
            </a:lvl1pPr>
          </a:lstStyle>
          <a:p>
            <a:pPr>
              <a:defRPr/>
            </a:pPr>
            <a:endParaRPr lang="en-US" altLang="zh-CN"/>
          </a:p>
        </p:txBody>
      </p:sp>
      <p:pic>
        <p:nvPicPr>
          <p:cNvPr id="80" name="Picture 6" descr="Log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670548" y="5686155"/>
            <a:ext cx="706559" cy="70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 Box 5"/>
          <p:cNvSpPr txBox="1">
            <a:spLocks noChangeArrowheads="1"/>
          </p:cNvSpPr>
          <p:nvPr/>
        </p:nvSpPr>
        <p:spPr bwMode="auto">
          <a:xfrm>
            <a:off x="755782" y="6221267"/>
            <a:ext cx="3178509" cy="219291"/>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5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25" dirty="0" smtClean="0">
                <a:solidFill>
                  <a:srgbClr val="000000"/>
                </a:solidFill>
                <a:latin typeface="FrutigerNext LT Bold" pitchFamily="34" charset="0"/>
                <a:ea typeface="MS PGothic" pitchFamily="34" charset="-128"/>
              </a:rPr>
              <a:t>HUAWEI TECHNOLOGIES CO., LTD.</a:t>
            </a:r>
          </a:p>
        </p:txBody>
      </p:sp>
      <p:sp>
        <p:nvSpPr>
          <p:cNvPr id="83" name="矩形 82"/>
          <p:cNvSpPr/>
          <p:nvPr userDrawn="1"/>
        </p:nvSpPr>
        <p:spPr bwMode="auto">
          <a:xfrm>
            <a:off x="0" y="908931"/>
            <a:ext cx="9145588" cy="3889332"/>
          </a:xfrm>
          <a:prstGeom prst="rect">
            <a:avLst/>
          </a:prstGeom>
          <a:solidFill>
            <a:schemeClr val="bg1"/>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50" tIns="45725" rIns="91450" bIns="45725" numCol="1" rtlCol="0" anchor="t" anchorCtr="0" compatLnSpc="1">
            <a:prstTxWarp prst="textNoShape">
              <a:avLst/>
            </a:prstTxWarp>
          </a:bodyPr>
          <a:lstStyle/>
          <a:p>
            <a:pPr marL="0" marR="0" indent="0" algn="l" defTabSz="914461"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dirty="0" smtClean="0">
              <a:ln>
                <a:noFill/>
              </a:ln>
              <a:solidFill>
                <a:schemeClr val="tx1"/>
              </a:solidFill>
              <a:effectLst/>
              <a:latin typeface="Arial" charset="0"/>
              <a:ea typeface="宋体" charset="-122"/>
            </a:endParaRPr>
          </a:p>
        </p:txBody>
      </p:sp>
      <p:pic>
        <p:nvPicPr>
          <p:cNvPr id="93" name="Picture 81" descr="未标题-2"/>
          <p:cNvPicPr>
            <a:picLocks noChangeAspect="1" noChangeArrowheads="1"/>
          </p:cNvPicPr>
          <p:nvPr userDrawn="1"/>
        </p:nvPicPr>
        <p:blipFill>
          <a:blip r:embed="rId4" cstate="email"/>
          <a:srcRect/>
          <a:stretch>
            <a:fillRect/>
          </a:stretch>
        </p:blipFill>
        <p:spPr bwMode="auto">
          <a:xfrm>
            <a:off x="5242578" y="937981"/>
            <a:ext cx="3900880" cy="4032000"/>
          </a:xfrm>
          <a:prstGeom prst="rect">
            <a:avLst/>
          </a:prstGeom>
          <a:noFill/>
          <a:ln w="9525">
            <a:noFill/>
            <a:miter lim="800000"/>
            <a:headEnd/>
            <a:tailEnd/>
          </a:ln>
        </p:spPr>
      </p:pic>
      <p:sp>
        <p:nvSpPr>
          <p:cNvPr id="95" name="Freeform 18"/>
          <p:cNvSpPr>
            <a:spLocks/>
          </p:cNvSpPr>
          <p:nvPr userDrawn="1"/>
        </p:nvSpPr>
        <p:spPr bwMode="auto">
          <a:xfrm>
            <a:off x="0" y="938543"/>
            <a:ext cx="6300836" cy="4032000"/>
          </a:xfrm>
          <a:custGeom>
            <a:avLst/>
            <a:gdLst>
              <a:gd name="T0" fmla="*/ 1882 w 2215"/>
              <a:gd name="T1" fmla="*/ 1201 h 1201"/>
              <a:gd name="T2" fmla="*/ 2215 w 2215"/>
              <a:gd name="T3" fmla="*/ 0 h 1201"/>
              <a:gd name="T4" fmla="*/ 0 w 2215"/>
              <a:gd name="T5" fmla="*/ 0 h 1201"/>
              <a:gd name="T6" fmla="*/ 0 w 2215"/>
              <a:gd name="T7" fmla="*/ 1201 h 1201"/>
              <a:gd name="T8" fmla="*/ 1882 w 2215"/>
              <a:gd name="T9" fmla="*/ 1201 h 1201"/>
            </a:gdLst>
            <a:ahLst/>
            <a:cxnLst>
              <a:cxn ang="0">
                <a:pos x="T0" y="T1"/>
              </a:cxn>
              <a:cxn ang="0">
                <a:pos x="T2" y="T3"/>
              </a:cxn>
              <a:cxn ang="0">
                <a:pos x="T4" y="T5"/>
              </a:cxn>
              <a:cxn ang="0">
                <a:pos x="T6" y="T7"/>
              </a:cxn>
              <a:cxn ang="0">
                <a:pos x="T8" y="T9"/>
              </a:cxn>
            </a:cxnLst>
            <a:rect l="0" t="0" r="r" b="b"/>
            <a:pathLst>
              <a:path w="2215" h="1201">
                <a:moveTo>
                  <a:pt x="1882" y="1201"/>
                </a:moveTo>
                <a:cubicBezTo>
                  <a:pt x="2117" y="629"/>
                  <a:pt x="2196" y="243"/>
                  <a:pt x="2215" y="0"/>
                </a:cubicBezTo>
                <a:cubicBezTo>
                  <a:pt x="0" y="0"/>
                  <a:pt x="0" y="0"/>
                  <a:pt x="0" y="0"/>
                </a:cubicBezTo>
                <a:cubicBezTo>
                  <a:pt x="0" y="1201"/>
                  <a:pt x="0" y="1201"/>
                  <a:pt x="0" y="1201"/>
                </a:cubicBezTo>
                <a:lnTo>
                  <a:pt x="1882" y="1201"/>
                </a:lnTo>
                <a:close/>
              </a:path>
            </a:pathLst>
          </a:custGeom>
          <a:blipFill dpi="0" rotWithShape="1">
            <a:blip r:embed="rId5" cstate="email">
              <a:extLst>
                <a:ext uri="{28A0092B-C50C-407E-A947-70E740481C1C}">
                  <a14:useLocalDpi xmlns:a14="http://schemas.microsoft.com/office/drawing/2010/main" val="0"/>
                </a:ext>
              </a:extLst>
            </a:blip>
            <a:srcRect/>
            <a:stretch>
              <a:fillRect l="-1000" t="-1000" r="-1000" b="-1000"/>
            </a:stretch>
          </a:blipFill>
          <a:ln>
            <a:noFill/>
          </a:ln>
        </p:spPr>
        <p:txBody>
          <a:bodyPr vert="horz" wrap="square" lIns="68574" tIns="34287" rIns="68574" bIns="34287" numCol="1" anchor="t" anchorCtr="0" compatLnSpc="1">
            <a:prstTxWarp prst="textNoShape">
              <a:avLst/>
            </a:prstTxWarp>
          </a:bodyPr>
          <a:lstStyle/>
          <a:p>
            <a:endParaRPr lang="zh-CN" altLang="en-US"/>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1" fontAlgn="base" hangingPunct="1">
        <a:spcBef>
          <a:spcPct val="0"/>
        </a:spcBef>
        <a:spcAft>
          <a:spcPct val="0"/>
        </a:spcAft>
        <a:defRPr lang="zh-CN" altLang="en-US" sz="3225" b="1" dirty="0">
          <a:solidFill>
            <a:schemeClr val="bg1"/>
          </a:solidFill>
          <a:latin typeface="+mj-lt"/>
          <a:ea typeface="黑体" pitchFamily="49" charset="-122"/>
          <a:cs typeface="+mj-cs"/>
        </a:defRPr>
      </a:lvl1pPr>
      <a:lvl2pPr algn="l" rtl="0" eaLnBrk="1" fontAlgn="base" hangingPunct="1">
        <a:spcBef>
          <a:spcPct val="0"/>
        </a:spcBef>
        <a:spcAft>
          <a:spcPct val="0"/>
        </a:spcAft>
        <a:defRPr sz="3225" b="1">
          <a:solidFill>
            <a:schemeClr val="bg1"/>
          </a:solidFill>
          <a:latin typeface="黑体" pitchFamily="49" charset="-122"/>
          <a:ea typeface="黑体" pitchFamily="49" charset="-122"/>
          <a:cs typeface="宋体" charset="-122"/>
        </a:defRPr>
      </a:lvl2pPr>
      <a:lvl3pPr algn="l" rtl="0" eaLnBrk="1" fontAlgn="base" hangingPunct="1">
        <a:spcBef>
          <a:spcPct val="0"/>
        </a:spcBef>
        <a:spcAft>
          <a:spcPct val="0"/>
        </a:spcAft>
        <a:defRPr sz="3225" b="1">
          <a:solidFill>
            <a:schemeClr val="bg1"/>
          </a:solidFill>
          <a:latin typeface="黑体" pitchFamily="49" charset="-122"/>
          <a:ea typeface="黑体" pitchFamily="49" charset="-122"/>
          <a:cs typeface="宋体" charset="-122"/>
        </a:defRPr>
      </a:lvl3pPr>
      <a:lvl4pPr algn="l" rtl="0" eaLnBrk="1" fontAlgn="base" hangingPunct="1">
        <a:spcBef>
          <a:spcPct val="0"/>
        </a:spcBef>
        <a:spcAft>
          <a:spcPct val="0"/>
        </a:spcAft>
        <a:defRPr sz="3225" b="1">
          <a:solidFill>
            <a:schemeClr val="bg1"/>
          </a:solidFill>
          <a:latin typeface="黑体" pitchFamily="49" charset="-122"/>
          <a:ea typeface="黑体" pitchFamily="49" charset="-122"/>
          <a:cs typeface="宋体" charset="-122"/>
        </a:defRPr>
      </a:lvl4pPr>
      <a:lvl5pPr algn="l" rtl="0" eaLnBrk="1" fontAlgn="base" hangingPunct="1">
        <a:spcBef>
          <a:spcPct val="0"/>
        </a:spcBef>
        <a:spcAft>
          <a:spcPct val="0"/>
        </a:spcAft>
        <a:defRPr sz="3225" b="1">
          <a:solidFill>
            <a:schemeClr val="bg1"/>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1" fontAlgn="base" hangingPunct="1">
        <a:spcBef>
          <a:spcPct val="20000"/>
        </a:spcBef>
        <a:spcAft>
          <a:spcPct val="0"/>
        </a:spcAft>
        <a:buClr>
          <a:srgbClr val="990000"/>
        </a:buClr>
        <a:defRPr sz="2400" b="1">
          <a:solidFill>
            <a:schemeClr val="bg1"/>
          </a:solidFill>
          <a:latin typeface="+mn-lt"/>
          <a:ea typeface="黑体" pitchFamily="49" charset="-122"/>
          <a:cs typeface="+mn-cs"/>
        </a:defRPr>
      </a:lvl1pPr>
      <a:lvl2pPr marL="742999" indent="-285769" algn="l" rtl="0" eaLnBrk="1" fontAlgn="base" hangingPunct="1">
        <a:spcBef>
          <a:spcPct val="20000"/>
        </a:spcBef>
        <a:spcAft>
          <a:spcPct val="0"/>
        </a:spcAft>
        <a:buFont typeface="Arial" pitchFamily="34" charset="0"/>
        <a:buChar char="›"/>
        <a:defRPr sz="2025">
          <a:solidFill>
            <a:schemeClr val="tx1"/>
          </a:solidFill>
          <a:latin typeface="+mn-lt"/>
          <a:ea typeface="+mn-ea"/>
          <a:cs typeface="+mn-cs"/>
        </a:defRPr>
      </a:lvl2pPr>
      <a:lvl3pPr marL="1143076" indent="-228615"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307" indent="-228615" algn="l" rtl="0" eaLnBrk="1" fontAlgn="base" hangingPunct="1">
        <a:spcBef>
          <a:spcPct val="20000"/>
        </a:spcBef>
        <a:spcAft>
          <a:spcPct val="0"/>
        </a:spcAft>
        <a:buChar char="–"/>
        <a:defRPr sz="1575">
          <a:solidFill>
            <a:schemeClr val="tx1"/>
          </a:solidFill>
          <a:latin typeface="+mn-lt"/>
          <a:ea typeface="+mn-ea"/>
          <a:cs typeface="+mn-cs"/>
        </a:defRPr>
      </a:lvl4pPr>
      <a:lvl5pPr marL="2057537" indent="-228615" algn="l" rtl="0" eaLnBrk="1" fontAlgn="base" hangingPunct="1">
        <a:spcBef>
          <a:spcPct val="20000"/>
        </a:spcBef>
        <a:spcAft>
          <a:spcPct val="0"/>
        </a:spcAft>
        <a:buFont typeface="Arial" pitchFamily="34" charset="0"/>
        <a:buChar char="~"/>
        <a:defRPr sz="1575">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8751" name="Picture 79" descr="dd"/>
          <p:cNvPicPr>
            <a:picLocks noChangeAspect="1" noChangeArrowheads="1"/>
          </p:cNvPicPr>
          <p:nvPr/>
        </p:nvPicPr>
        <p:blipFill>
          <a:blip r:embed="rId13" cstate="email"/>
          <a:srcRect/>
          <a:stretch>
            <a:fillRect/>
          </a:stretch>
        </p:blipFill>
        <p:spPr bwMode="auto">
          <a:xfrm>
            <a:off x="2" y="6226089"/>
            <a:ext cx="9151939" cy="636734"/>
          </a:xfrm>
          <a:prstGeom prst="rect">
            <a:avLst/>
          </a:prstGeom>
          <a:noFill/>
          <a:ln w="9525">
            <a:noFill/>
            <a:miter lim="800000"/>
            <a:headEnd/>
            <a:tailEnd/>
          </a:ln>
        </p:spPr>
      </p:pic>
      <p:sp>
        <p:nvSpPr>
          <p:cNvPr id="28680" name="Text Box 8"/>
          <p:cNvSpPr txBox="1">
            <a:spLocks noChangeArrowheads="1"/>
          </p:cNvSpPr>
          <p:nvPr/>
        </p:nvSpPr>
        <p:spPr bwMode="auto">
          <a:xfrm>
            <a:off x="652606" y="6440391"/>
            <a:ext cx="2083425" cy="199176"/>
          </a:xfrm>
          <a:prstGeom prst="rect">
            <a:avLst/>
          </a:prstGeom>
          <a:noFill/>
          <a:ln w="9525">
            <a:noFill/>
            <a:miter lim="800000"/>
            <a:headEnd/>
            <a:tailEnd/>
          </a:ln>
        </p:spPr>
        <p:txBody>
          <a:bodyPr wrap="none" lIns="60088" tIns="30045" rIns="60088" bIns="30045">
            <a:spAutoFit/>
          </a:bodyPr>
          <a:lstStyle/>
          <a:p>
            <a:pPr defTabSz="601186" eaLnBrk="0" hangingPunct="0"/>
            <a:r>
              <a:rPr lang="en-US" altLang="zh-CN" sz="900">
                <a:solidFill>
                  <a:srgbClr val="000000"/>
                </a:solidFill>
                <a:latin typeface="FrutigerNext LT Bold" pitchFamily="1" charset="0"/>
                <a:ea typeface="ＭＳ Ｐゴシック" pitchFamily="34" charset="-128"/>
              </a:rPr>
              <a:t>HUAWEI TECHNOLOGIES CO., LTD.</a:t>
            </a:r>
            <a:endParaRPr lang="en-US" altLang="zh-CN" sz="1650">
              <a:solidFill>
                <a:srgbClr val="000000"/>
              </a:solidFill>
              <a:latin typeface="Arial" charset="0"/>
              <a:ea typeface="ＭＳ Ｐゴシック" pitchFamily="34" charset="-128"/>
            </a:endParaRPr>
          </a:p>
        </p:txBody>
      </p:sp>
      <p:pic>
        <p:nvPicPr>
          <p:cNvPr id="28681" name="Picture 9" descr="8"/>
          <p:cNvPicPr>
            <a:picLocks noChangeAspect="1" noChangeArrowheads="1"/>
          </p:cNvPicPr>
          <p:nvPr/>
        </p:nvPicPr>
        <p:blipFill>
          <a:blip r:embed="rId14" cstate="email"/>
          <a:srcRect/>
          <a:stretch>
            <a:fillRect/>
          </a:stretch>
        </p:blipFill>
        <p:spPr bwMode="auto">
          <a:xfrm>
            <a:off x="7510182" y="6400756"/>
            <a:ext cx="1311503" cy="312809"/>
          </a:xfrm>
          <a:prstGeom prst="rect">
            <a:avLst/>
          </a:prstGeom>
          <a:noFill/>
        </p:spPr>
      </p:pic>
      <p:sp>
        <p:nvSpPr>
          <p:cNvPr id="28682" name="Rectangle 10"/>
          <p:cNvSpPr>
            <a:spLocks noGrp="1" noChangeArrowheads="1"/>
          </p:cNvSpPr>
          <p:nvPr>
            <p:ph type="dt" sz="half" idx="2"/>
          </p:nvPr>
        </p:nvSpPr>
        <p:spPr bwMode="auto">
          <a:xfrm>
            <a:off x="6362218" y="6491262"/>
            <a:ext cx="2097451" cy="45571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601186" eaLnBrk="0" hangingPunct="0">
              <a:lnSpc>
                <a:spcPct val="85000"/>
              </a:lnSpc>
              <a:defRPr sz="900">
                <a:solidFill>
                  <a:schemeClr val="tx1"/>
                </a:solidFill>
                <a:latin typeface="FrutigerNext LT Bold" pitchFamily="1" charset="0"/>
              </a:defRPr>
            </a:lvl1pPr>
          </a:lstStyle>
          <a:p>
            <a:r>
              <a:rPr lang="de-DE">
                <a:solidFill>
                  <a:srgbClr val="000000"/>
                </a:solidFill>
                <a:ea typeface="ＭＳ Ｐゴシック" pitchFamily="34" charset="-128"/>
              </a:rPr>
              <a:t>Page </a:t>
            </a:r>
            <a:fld id="{EA2ED9EB-E98B-4EA1-92D6-3BEF7CD88926}" type="slidenum">
              <a:rPr lang="de-DE">
                <a:solidFill>
                  <a:srgbClr val="000000"/>
                </a:solidFill>
                <a:ea typeface="ＭＳ Ｐゴシック" pitchFamily="34" charset="-128"/>
              </a:rPr>
              <a:pPr/>
              <a:t>‹Nº›</a:t>
            </a:fld>
            <a:endParaRPr lang="en-GB">
              <a:solidFill>
                <a:srgbClr val="000000"/>
              </a:solidFill>
              <a:ea typeface="ＭＳ Ｐゴシック" pitchFamily="34" charset="-128"/>
            </a:endParaRPr>
          </a:p>
        </p:txBody>
      </p:sp>
      <p:sp>
        <p:nvSpPr>
          <p:cNvPr id="28685" name="Rectangle 13"/>
          <p:cNvSpPr>
            <a:spLocks noGrp="1" noChangeArrowheads="1"/>
          </p:cNvSpPr>
          <p:nvPr>
            <p:ph type="title"/>
          </p:nvPr>
        </p:nvSpPr>
        <p:spPr bwMode="auto">
          <a:xfrm>
            <a:off x="652581" y="430319"/>
            <a:ext cx="7746756" cy="871739"/>
          </a:xfrm>
          <a:prstGeom prst="rect">
            <a:avLst/>
          </a:prstGeom>
          <a:noFill/>
          <a:ln w="9525">
            <a:noFill/>
            <a:miter lim="800000"/>
            <a:headEnd/>
            <a:tailEnd/>
          </a:ln>
          <a:effectLst/>
        </p:spPr>
        <p:txBody>
          <a:bodyPr vert="horz" wrap="square" lIns="80139" tIns="40069" rIns="80139" bIns="40069" numCol="1" anchor="ctr" anchorCtr="0" compatLnSpc="1">
            <a:prstTxWarp prst="textNoShape">
              <a:avLst/>
            </a:prstTxWarp>
          </a:bodyPr>
          <a:lstStyle/>
          <a:p>
            <a:pPr lvl="0"/>
            <a:r>
              <a:rPr lang="zh-CN" altLang="en-US" smtClean="0"/>
              <a:t>单击此处编辑母版标题样式</a:t>
            </a:r>
          </a:p>
        </p:txBody>
      </p:sp>
      <p:sp>
        <p:nvSpPr>
          <p:cNvPr id="28693" name="Rectangle 21"/>
          <p:cNvSpPr>
            <a:spLocks noChangeArrowheads="1"/>
          </p:cNvSpPr>
          <p:nvPr/>
        </p:nvSpPr>
        <p:spPr bwMode="auto">
          <a:xfrm>
            <a:off x="3893257" y="6440391"/>
            <a:ext cx="1179283" cy="199146"/>
          </a:xfrm>
          <a:prstGeom prst="rect">
            <a:avLst/>
          </a:prstGeom>
          <a:noFill/>
          <a:ln w="9525" algn="ctr">
            <a:noFill/>
            <a:miter lim="800000"/>
            <a:headEnd/>
            <a:tailEnd/>
          </a:ln>
          <a:effectLst/>
        </p:spPr>
        <p:txBody>
          <a:bodyPr wrap="none" lIns="60064" tIns="30030" rIns="60064" bIns="30030">
            <a:spAutoFit/>
          </a:bodyPr>
          <a:lstStyle/>
          <a:p>
            <a:pPr defTabSz="601186" eaLnBrk="0" hangingPunct="0"/>
            <a:r>
              <a:rPr lang="en-US" altLang="zh-CN" sz="900">
                <a:solidFill>
                  <a:srgbClr val="000000"/>
                </a:solidFill>
                <a:latin typeface="FrutigerNext LT Bold" pitchFamily="1" charset="0"/>
                <a:ea typeface="ＭＳ Ｐゴシック" pitchFamily="34" charset="-128"/>
              </a:rPr>
              <a:t>Huawei Confidential </a:t>
            </a:r>
          </a:p>
        </p:txBody>
      </p:sp>
      <p:sp>
        <p:nvSpPr>
          <p:cNvPr id="28694" name="Rectangle 22"/>
          <p:cNvSpPr>
            <a:spLocks noChangeArrowheads="1"/>
          </p:cNvSpPr>
          <p:nvPr/>
        </p:nvSpPr>
        <p:spPr bwMode="auto">
          <a:xfrm>
            <a:off x="-1908478" y="528761"/>
            <a:ext cx="1844995" cy="5308241"/>
          </a:xfrm>
          <a:prstGeom prst="rect">
            <a:avLst/>
          </a:prstGeom>
          <a:noFill/>
          <a:ln w="9525">
            <a:noFill/>
            <a:miter lim="800000"/>
            <a:headEnd/>
            <a:tailEnd/>
          </a:ln>
          <a:effectLst/>
        </p:spPr>
        <p:txBody>
          <a:bodyPr lIns="60088" tIns="30045" rIns="60088" bIns="30045"/>
          <a:lstStyle/>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英文标题</a:t>
            </a:r>
            <a:r>
              <a:rPr lang="en-US" altLang="zh-CN" sz="825">
                <a:solidFill>
                  <a:srgbClr val="FFFFFF"/>
                </a:solidFill>
                <a:latin typeface="Arial" charset="0"/>
                <a:ea typeface="华文细黑" pitchFamily="2" charset="-122"/>
              </a:rPr>
              <a:t>:32-35pt  </a:t>
            </a:r>
            <a:endParaRPr lang="zh-CN" altLang="en-US"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颜色</a:t>
            </a:r>
            <a:r>
              <a:rPr lang="en-US" altLang="zh-CN" sz="825">
                <a:solidFill>
                  <a:srgbClr val="FFFFFF"/>
                </a:solidFill>
                <a:latin typeface="Arial" charset="0"/>
                <a:ea typeface="华文细黑" pitchFamily="2" charset="-122"/>
              </a:rPr>
              <a:t>: R153 G0 B0</a:t>
            </a:r>
          </a:p>
          <a:p>
            <a:pPr algn="r" defTabSz="601186">
              <a:lnSpc>
                <a:spcPct val="125000"/>
              </a:lnSpc>
              <a:buClr>
                <a:srgbClr val="777777"/>
              </a:buClr>
              <a:buSzPct val="60000"/>
              <a:buFont typeface="Wingdings" pitchFamily="2" charset="2"/>
              <a:buNone/>
            </a:pPr>
            <a:r>
              <a:rPr lang="zh-CN" altLang="en-US" sz="825">
                <a:solidFill>
                  <a:srgbClr val="FFFFFF"/>
                </a:solidFill>
                <a:latin typeface="FrutigerNext LT Regular" pitchFamily="34" charset="0"/>
                <a:ea typeface="华文细黑" pitchFamily="2" charset="-122"/>
              </a:rPr>
              <a:t>内部使用字体 </a:t>
            </a:r>
            <a:r>
              <a:rPr lang="en-US" altLang="zh-CN" sz="825">
                <a:solidFill>
                  <a:srgbClr val="FFFFFF"/>
                </a:solidFill>
                <a:latin typeface="FrutigerNext LT Regular" pitchFamily="34" charset="0"/>
                <a:ea typeface="华文细黑" pitchFamily="2" charset="-122"/>
              </a:rPr>
              <a:t>:</a:t>
            </a:r>
          </a:p>
          <a:p>
            <a:pPr algn="r" defTabSz="601186">
              <a:lnSpc>
                <a:spcPct val="125000"/>
              </a:lnSpc>
              <a:buClr>
                <a:srgbClr val="777777"/>
              </a:buClr>
              <a:buSzPct val="60000"/>
              <a:buFont typeface="Wingdings" pitchFamily="2" charset="2"/>
              <a:buNone/>
            </a:pPr>
            <a:r>
              <a:rPr lang="en-US" altLang="zh-CN" sz="825">
                <a:solidFill>
                  <a:srgbClr val="FFFFFF"/>
                </a:solidFill>
                <a:latin typeface="FrutigerNext LT Regular" pitchFamily="34" charset="0"/>
                <a:ea typeface="华文细黑" pitchFamily="2" charset="-122"/>
              </a:rPr>
              <a:t>FrutigerNext LT Medium</a:t>
            </a:r>
          </a:p>
          <a:p>
            <a:pPr algn="r" defTabSz="601186">
              <a:lnSpc>
                <a:spcPct val="125000"/>
              </a:lnSpc>
              <a:buClr>
                <a:srgbClr val="777777"/>
              </a:buClr>
              <a:buSzPct val="60000"/>
              <a:buFont typeface="Wingdings" pitchFamily="2" charset="2"/>
              <a:buNone/>
            </a:pPr>
            <a:r>
              <a:rPr lang="zh-CN" altLang="en-US" sz="825">
                <a:solidFill>
                  <a:srgbClr val="FFFFFF"/>
                </a:solidFill>
                <a:latin typeface="FrutigerNext LT Regular" pitchFamily="34" charset="0"/>
                <a:ea typeface="华文细黑" pitchFamily="2" charset="-122"/>
              </a:rPr>
              <a:t>外部使用字体 </a:t>
            </a:r>
            <a:r>
              <a:rPr lang="en-US" altLang="zh-CN" sz="825">
                <a:solidFill>
                  <a:srgbClr val="FFFFFF"/>
                </a:solidFill>
                <a:latin typeface="FrutigerNext LT Regular" pitchFamily="34" charset="0"/>
                <a:ea typeface="华文细黑" pitchFamily="2" charset="-122"/>
              </a:rPr>
              <a:t>: Arial</a:t>
            </a:r>
          </a:p>
          <a:p>
            <a:pPr algn="r" defTabSz="601186">
              <a:lnSpc>
                <a:spcPct val="75000"/>
              </a:lnSpc>
              <a:buClr>
                <a:srgbClr val="777777"/>
              </a:buClr>
              <a:buSzPct val="60000"/>
              <a:buFont typeface="Wingdings" pitchFamily="2" charset="2"/>
              <a:buNone/>
            </a:pPr>
            <a:endParaRPr lang="en-US" altLang="zh-CN"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中文标题</a:t>
            </a:r>
            <a:r>
              <a:rPr lang="en-US" altLang="zh-CN" sz="825">
                <a:solidFill>
                  <a:srgbClr val="FFFFFF"/>
                </a:solidFill>
                <a:latin typeface="Arial" charset="0"/>
                <a:ea typeface="华文细黑" pitchFamily="2" charset="-122"/>
              </a:rPr>
              <a:t>:30-32pt  </a:t>
            </a:r>
            <a:endParaRPr lang="zh-CN" altLang="en-US"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颜色</a:t>
            </a:r>
            <a:r>
              <a:rPr lang="en-US" altLang="zh-CN" sz="825">
                <a:solidFill>
                  <a:srgbClr val="FFFFFF"/>
                </a:solidFill>
                <a:latin typeface="Arial" charset="0"/>
                <a:ea typeface="华文细黑" pitchFamily="2" charset="-122"/>
              </a:rPr>
              <a:t>: R153 G0 B0</a:t>
            </a: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字体</a:t>
            </a:r>
            <a:r>
              <a:rPr lang="en-US" altLang="zh-CN" sz="825">
                <a:solidFill>
                  <a:srgbClr val="FFFFFF"/>
                </a:solidFill>
                <a:latin typeface="Arial" charset="0"/>
                <a:ea typeface="华文细黑" pitchFamily="2" charset="-122"/>
              </a:rPr>
              <a:t>:</a:t>
            </a:r>
            <a:r>
              <a:rPr lang="zh-CN" altLang="en-US" sz="825">
                <a:solidFill>
                  <a:srgbClr val="FFFFFF"/>
                </a:solidFill>
                <a:latin typeface="Arial" charset="0"/>
                <a:ea typeface="华文细黑" pitchFamily="2" charset="-122"/>
              </a:rPr>
              <a:t>黑体</a:t>
            </a:r>
          </a:p>
          <a:p>
            <a:pPr algn="r" defTabSz="601186">
              <a:lnSpc>
                <a:spcPct val="125000"/>
              </a:lnSpc>
              <a:buClr>
                <a:srgbClr val="777777"/>
              </a:buClr>
              <a:buSzPct val="60000"/>
              <a:buFont typeface="Wingdings" pitchFamily="2" charset="2"/>
              <a:buNone/>
            </a:pPr>
            <a:endParaRPr lang="zh-CN" altLang="en-US"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endParaRPr lang="zh-CN" altLang="en-US"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endParaRPr lang="zh-CN" altLang="en-US"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英文正文</a:t>
            </a:r>
            <a:r>
              <a:rPr lang="en-US" altLang="zh-CN" sz="825">
                <a:solidFill>
                  <a:srgbClr val="FFFFFF"/>
                </a:solidFill>
                <a:latin typeface="Arial" charset="0"/>
                <a:ea typeface="华文细黑" pitchFamily="2" charset="-122"/>
              </a:rPr>
              <a:t>:20-22pt</a:t>
            </a: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子目录 </a:t>
            </a:r>
            <a:r>
              <a:rPr lang="en-US" altLang="zh-CN" sz="825">
                <a:solidFill>
                  <a:srgbClr val="FFFFFF"/>
                </a:solidFill>
                <a:latin typeface="Arial" charset="0"/>
                <a:ea typeface="华文细黑" pitchFamily="2" charset="-122"/>
              </a:rPr>
              <a:t>(2-5</a:t>
            </a:r>
            <a:r>
              <a:rPr lang="zh-CN" altLang="en-US" sz="825">
                <a:solidFill>
                  <a:srgbClr val="FFFFFF"/>
                </a:solidFill>
                <a:latin typeface="Arial" charset="0"/>
                <a:ea typeface="华文细黑" pitchFamily="2" charset="-122"/>
              </a:rPr>
              <a:t>级</a:t>
            </a:r>
            <a:r>
              <a:rPr lang="en-US" altLang="zh-CN" sz="825">
                <a:solidFill>
                  <a:srgbClr val="FFFFFF"/>
                </a:solidFill>
                <a:latin typeface="Arial" charset="0"/>
                <a:ea typeface="华文细黑" pitchFamily="2" charset="-122"/>
              </a:rPr>
              <a:t>) :18pt  </a:t>
            </a: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颜色</a:t>
            </a:r>
            <a:r>
              <a:rPr lang="en-US" altLang="zh-CN" sz="825">
                <a:solidFill>
                  <a:srgbClr val="FFFFFF"/>
                </a:solidFill>
                <a:latin typeface="Arial" charset="0"/>
                <a:ea typeface="华文细黑" pitchFamily="2" charset="-122"/>
              </a:rPr>
              <a:t>:</a:t>
            </a:r>
            <a:r>
              <a:rPr lang="zh-CN" altLang="en-US" sz="825">
                <a:solidFill>
                  <a:srgbClr val="FFFFFF"/>
                </a:solidFill>
                <a:latin typeface="Arial" charset="0"/>
                <a:ea typeface="华文细黑" pitchFamily="2" charset="-122"/>
              </a:rPr>
              <a:t>黑色</a:t>
            </a:r>
          </a:p>
          <a:p>
            <a:pPr algn="r" defTabSz="601186">
              <a:lnSpc>
                <a:spcPct val="125000"/>
              </a:lnSpc>
              <a:buClr>
                <a:srgbClr val="777777"/>
              </a:buClr>
              <a:buSzPct val="60000"/>
              <a:buFont typeface="Wingdings" pitchFamily="2" charset="2"/>
              <a:buNone/>
            </a:pPr>
            <a:r>
              <a:rPr lang="zh-CN" altLang="en-US" sz="825">
                <a:solidFill>
                  <a:srgbClr val="FFFFFF"/>
                </a:solidFill>
                <a:latin typeface="FrutigerNext LT Regular" pitchFamily="34" charset="0"/>
                <a:ea typeface="华文细黑" pitchFamily="2" charset="-122"/>
              </a:rPr>
              <a:t>内部使用字体 </a:t>
            </a:r>
            <a:r>
              <a:rPr lang="en-US" altLang="zh-CN" sz="825">
                <a:solidFill>
                  <a:srgbClr val="FFFFFF"/>
                </a:solidFill>
                <a:latin typeface="FrutigerNext LT Regular" pitchFamily="34" charset="0"/>
                <a:ea typeface="华文细黑" pitchFamily="2" charset="-122"/>
              </a:rPr>
              <a:t>:</a:t>
            </a:r>
          </a:p>
          <a:p>
            <a:pPr algn="r" defTabSz="601186">
              <a:lnSpc>
                <a:spcPct val="125000"/>
              </a:lnSpc>
              <a:buClr>
                <a:srgbClr val="777777"/>
              </a:buClr>
              <a:buSzPct val="60000"/>
              <a:buFont typeface="Wingdings" pitchFamily="2" charset="2"/>
              <a:buNone/>
            </a:pPr>
            <a:r>
              <a:rPr lang="en-US" altLang="zh-CN" sz="825">
                <a:solidFill>
                  <a:srgbClr val="FFFFFF"/>
                </a:solidFill>
                <a:latin typeface="FrutigerNext LT Regular" pitchFamily="34" charset="0"/>
                <a:ea typeface="华文细黑" pitchFamily="2" charset="-122"/>
              </a:rPr>
              <a:t>FrutigerNext LT Regular</a:t>
            </a:r>
          </a:p>
          <a:p>
            <a:pPr algn="r" defTabSz="601186">
              <a:lnSpc>
                <a:spcPct val="125000"/>
              </a:lnSpc>
              <a:buClr>
                <a:srgbClr val="777777"/>
              </a:buClr>
              <a:buSzPct val="60000"/>
              <a:buFont typeface="Wingdings" pitchFamily="2" charset="2"/>
              <a:buNone/>
            </a:pPr>
            <a:r>
              <a:rPr lang="zh-CN" altLang="en-US" sz="825">
                <a:solidFill>
                  <a:srgbClr val="FFFFFF"/>
                </a:solidFill>
                <a:latin typeface="FrutigerNext LT Regular" pitchFamily="34" charset="0"/>
                <a:ea typeface="华文细黑" pitchFamily="2" charset="-122"/>
              </a:rPr>
              <a:t>外部使用字体 </a:t>
            </a:r>
            <a:r>
              <a:rPr lang="en-US" altLang="zh-CN" sz="825">
                <a:solidFill>
                  <a:srgbClr val="FFFFFF"/>
                </a:solidFill>
                <a:latin typeface="FrutigerNext LT Regular" pitchFamily="34" charset="0"/>
                <a:ea typeface="华文细黑" pitchFamily="2" charset="-122"/>
              </a:rPr>
              <a:t>: Arial</a:t>
            </a:r>
          </a:p>
          <a:p>
            <a:pPr algn="r" defTabSz="601186">
              <a:lnSpc>
                <a:spcPct val="75000"/>
              </a:lnSpc>
              <a:buClr>
                <a:srgbClr val="777777"/>
              </a:buClr>
              <a:buSzPct val="60000"/>
              <a:buFont typeface="Wingdings" pitchFamily="2" charset="2"/>
              <a:buNone/>
            </a:pPr>
            <a:endParaRPr lang="en-US" altLang="zh-CN"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中文正文</a:t>
            </a:r>
            <a:r>
              <a:rPr lang="en-US" altLang="zh-CN" sz="825">
                <a:solidFill>
                  <a:srgbClr val="FFFFFF"/>
                </a:solidFill>
                <a:latin typeface="Arial" charset="0"/>
                <a:ea typeface="华文细黑" pitchFamily="2" charset="-122"/>
              </a:rPr>
              <a:t>:18-20pt</a:t>
            </a: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子目录</a:t>
            </a:r>
            <a:r>
              <a:rPr lang="en-US" altLang="zh-CN" sz="825">
                <a:solidFill>
                  <a:srgbClr val="FFFFFF"/>
                </a:solidFill>
                <a:latin typeface="Arial" charset="0"/>
                <a:ea typeface="华文细黑" pitchFamily="2" charset="-122"/>
              </a:rPr>
              <a:t>(2-5</a:t>
            </a:r>
            <a:r>
              <a:rPr lang="zh-CN" altLang="en-US" sz="825">
                <a:solidFill>
                  <a:srgbClr val="FFFFFF"/>
                </a:solidFill>
                <a:latin typeface="Arial" charset="0"/>
                <a:ea typeface="华文细黑" pitchFamily="2" charset="-122"/>
              </a:rPr>
              <a:t>级</a:t>
            </a:r>
            <a:r>
              <a:rPr lang="en-US" altLang="zh-CN" sz="825">
                <a:solidFill>
                  <a:srgbClr val="FFFFFF"/>
                </a:solidFill>
                <a:latin typeface="Arial" charset="0"/>
                <a:ea typeface="华文细黑" pitchFamily="2" charset="-122"/>
              </a:rPr>
              <a:t>):18pt </a:t>
            </a:r>
            <a:endParaRPr lang="zh-CN" altLang="en-US"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颜色</a:t>
            </a:r>
            <a:r>
              <a:rPr lang="en-US" altLang="zh-CN" sz="825">
                <a:solidFill>
                  <a:srgbClr val="FFFFFF"/>
                </a:solidFill>
                <a:latin typeface="Arial" charset="0"/>
                <a:ea typeface="华文细黑" pitchFamily="2" charset="-122"/>
              </a:rPr>
              <a:t>:</a:t>
            </a:r>
            <a:r>
              <a:rPr lang="zh-CN" altLang="en-US" sz="825">
                <a:solidFill>
                  <a:srgbClr val="FFFFFF"/>
                </a:solidFill>
                <a:latin typeface="Arial" charset="0"/>
                <a:ea typeface="华文细黑" pitchFamily="2" charset="-122"/>
              </a:rPr>
              <a:t>黑色</a:t>
            </a:r>
          </a:p>
          <a:p>
            <a:pPr algn="r" defTabSz="601186">
              <a:lnSpc>
                <a:spcPct val="125000"/>
              </a:lnSpc>
              <a:buClr>
                <a:srgbClr val="777777"/>
              </a:buClr>
              <a:buSzPct val="60000"/>
              <a:buFont typeface="Wingdings" pitchFamily="2" charset="2"/>
              <a:buNone/>
            </a:pPr>
            <a:r>
              <a:rPr lang="zh-CN" altLang="en-US" sz="825">
                <a:solidFill>
                  <a:srgbClr val="FFFFFF"/>
                </a:solidFill>
                <a:latin typeface="Arial" charset="0"/>
                <a:ea typeface="华文细黑" pitchFamily="2" charset="-122"/>
              </a:rPr>
              <a:t>字体</a:t>
            </a:r>
            <a:r>
              <a:rPr lang="en-US" altLang="zh-CN" sz="825">
                <a:solidFill>
                  <a:srgbClr val="FFFFFF"/>
                </a:solidFill>
                <a:latin typeface="Arial" charset="0"/>
                <a:ea typeface="华文细黑" pitchFamily="2" charset="-122"/>
              </a:rPr>
              <a:t>:</a:t>
            </a:r>
            <a:r>
              <a:rPr lang="zh-CN" altLang="en-US" sz="825">
                <a:solidFill>
                  <a:srgbClr val="FFFFFF"/>
                </a:solidFill>
                <a:latin typeface="Arial" charset="0"/>
                <a:ea typeface="华文细黑" pitchFamily="2" charset="-122"/>
              </a:rPr>
              <a:t>细黑体 </a:t>
            </a:r>
          </a:p>
          <a:p>
            <a:pPr algn="r" defTabSz="601186">
              <a:lnSpc>
                <a:spcPct val="125000"/>
              </a:lnSpc>
              <a:buClr>
                <a:srgbClr val="777777"/>
              </a:buClr>
              <a:buSzPct val="60000"/>
              <a:buFont typeface="Wingdings" pitchFamily="2" charset="2"/>
              <a:buNone/>
            </a:pPr>
            <a:endParaRPr lang="zh-CN" altLang="en-US"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endParaRPr lang="zh-CN" altLang="en-US"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endParaRPr lang="en-US" altLang="zh-CN"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endParaRPr lang="en-US" altLang="zh-CN" sz="825">
              <a:solidFill>
                <a:srgbClr val="FFFFFF"/>
              </a:solidFill>
              <a:latin typeface="Arial" charset="0"/>
              <a:ea typeface="华文细黑" pitchFamily="2" charset="-122"/>
            </a:endParaRPr>
          </a:p>
          <a:p>
            <a:pPr algn="r" defTabSz="601186">
              <a:lnSpc>
                <a:spcPct val="125000"/>
              </a:lnSpc>
              <a:buClr>
                <a:srgbClr val="777777"/>
              </a:buClr>
              <a:buSzPct val="60000"/>
              <a:buFont typeface="Wingdings" pitchFamily="2" charset="2"/>
              <a:buNone/>
            </a:pPr>
            <a:endParaRPr lang="zh-CN" altLang="en-US" sz="825">
              <a:solidFill>
                <a:srgbClr val="000000"/>
              </a:solidFill>
              <a:latin typeface="Arial" charset="0"/>
              <a:ea typeface="华文细黑" pitchFamily="2" charset="-122"/>
            </a:endParaRPr>
          </a:p>
        </p:txBody>
      </p:sp>
      <p:sp>
        <p:nvSpPr>
          <p:cNvPr id="28734" name="Rectangle 62"/>
          <p:cNvSpPr>
            <a:spLocks noChangeArrowheads="1"/>
          </p:cNvSpPr>
          <p:nvPr/>
        </p:nvSpPr>
        <p:spPr bwMode="auto">
          <a:xfrm>
            <a:off x="9201164" y="1424318"/>
            <a:ext cx="1049519" cy="2005476"/>
          </a:xfrm>
          <a:prstGeom prst="rect">
            <a:avLst/>
          </a:prstGeom>
          <a:noFill/>
          <a:ln w="9525">
            <a:noFill/>
            <a:miter lim="800000"/>
            <a:headEnd/>
            <a:tailEnd/>
          </a:ln>
          <a:effectLst/>
        </p:spPr>
        <p:txBody>
          <a:bodyPr lIns="60088" tIns="30045" rIns="60088" bIns="30045"/>
          <a:lstStyle/>
          <a:p>
            <a:pPr defTabSz="601186">
              <a:lnSpc>
                <a:spcPct val="120000"/>
              </a:lnSpc>
              <a:buClr>
                <a:srgbClr val="777777"/>
              </a:buClr>
              <a:buSzPct val="60000"/>
              <a:buFont typeface="Wingdings" pitchFamily="2" charset="2"/>
              <a:buNone/>
            </a:pPr>
            <a:r>
              <a:rPr lang="zh-CN" altLang="en-US" sz="825">
                <a:solidFill>
                  <a:srgbClr val="FFFFFF"/>
                </a:solidFill>
                <a:latin typeface="华文细黑" pitchFamily="2" charset="-122"/>
                <a:ea typeface="华文细黑" pitchFamily="2" charset="-122"/>
              </a:rPr>
              <a:t>配色参考方案：</a:t>
            </a:r>
          </a:p>
          <a:p>
            <a:pPr defTabSz="601186">
              <a:lnSpc>
                <a:spcPct val="120000"/>
              </a:lnSpc>
              <a:buClr>
                <a:srgbClr val="777777"/>
              </a:buClr>
              <a:buSzPct val="60000"/>
              <a:buFont typeface="Wingdings" pitchFamily="2" charset="2"/>
              <a:buNone/>
            </a:pPr>
            <a:r>
              <a:rPr lang="zh-CN" altLang="en-US" sz="825">
                <a:solidFill>
                  <a:srgbClr val="FFFFFF"/>
                </a:solidFill>
                <a:latin typeface="华文细黑" pitchFamily="2" charset="-122"/>
                <a:ea typeface="华文细黑" pitchFamily="2" charset="-122"/>
              </a:rPr>
              <a:t>建议同一页面内不超过四种颜色，以下是</a:t>
            </a:r>
            <a:r>
              <a:rPr lang="en-US" altLang="zh-CN" sz="825">
                <a:solidFill>
                  <a:srgbClr val="FFFFFF"/>
                </a:solidFill>
                <a:latin typeface="华文细黑" pitchFamily="2" charset="-122"/>
                <a:ea typeface="华文细黑" pitchFamily="2" charset="-122"/>
              </a:rPr>
              <a:t>13</a:t>
            </a:r>
            <a:r>
              <a:rPr lang="zh-CN" altLang="en-US" sz="825">
                <a:solidFill>
                  <a:srgbClr val="FFFFFF"/>
                </a:solidFill>
                <a:latin typeface="华文细黑" pitchFamily="2" charset="-122"/>
                <a:ea typeface="华文细黑" pitchFamily="2" charset="-122"/>
              </a:rPr>
              <a:t>组配色方案，同一页面内只选择一组使用。（仅供参考）</a:t>
            </a:r>
          </a:p>
          <a:p>
            <a:pPr defTabSz="601186">
              <a:lnSpc>
                <a:spcPct val="125000"/>
              </a:lnSpc>
              <a:buClr>
                <a:srgbClr val="777777"/>
              </a:buClr>
              <a:buSzPct val="60000"/>
              <a:buFont typeface="Wingdings" pitchFamily="2" charset="2"/>
              <a:buNone/>
            </a:pPr>
            <a:endParaRPr lang="en-US" altLang="zh-CN" sz="825">
              <a:solidFill>
                <a:srgbClr val="FFFFFF"/>
              </a:solidFill>
              <a:latin typeface="华文细黑" pitchFamily="2" charset="-122"/>
              <a:ea typeface="华文细黑" pitchFamily="2" charset="-122"/>
            </a:endParaRPr>
          </a:p>
          <a:p>
            <a:pPr defTabSz="601186">
              <a:lnSpc>
                <a:spcPct val="125000"/>
              </a:lnSpc>
              <a:buClr>
                <a:srgbClr val="777777"/>
              </a:buClr>
              <a:buSzPct val="60000"/>
              <a:buFont typeface="Wingdings" pitchFamily="2" charset="2"/>
              <a:buChar char="l"/>
            </a:pPr>
            <a:endParaRPr lang="en-US" altLang="zh-CN" sz="825">
              <a:solidFill>
                <a:srgbClr val="FFFFFF"/>
              </a:solidFill>
              <a:latin typeface="华文细黑" pitchFamily="2" charset="-122"/>
              <a:ea typeface="华文细黑" pitchFamily="2" charset="-122"/>
            </a:endParaRPr>
          </a:p>
          <a:p>
            <a:pPr defTabSz="601186">
              <a:lnSpc>
                <a:spcPct val="125000"/>
              </a:lnSpc>
              <a:buClr>
                <a:srgbClr val="777777"/>
              </a:buClr>
              <a:buSzPct val="60000"/>
              <a:buFont typeface="Wingdings" pitchFamily="2" charset="2"/>
              <a:buChar char="l"/>
            </a:pPr>
            <a:endParaRPr lang="zh-CN" altLang="en-US" sz="825">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9201164" y="-61926"/>
            <a:ext cx="1049519" cy="838395"/>
          </a:xfrm>
          <a:prstGeom prst="rect">
            <a:avLst/>
          </a:prstGeom>
          <a:noFill/>
          <a:ln w="9525">
            <a:noFill/>
            <a:miter lim="800000"/>
            <a:headEnd/>
            <a:tailEnd/>
          </a:ln>
          <a:effectLst/>
        </p:spPr>
        <p:txBody>
          <a:bodyPr lIns="60088" tIns="30045" rIns="60088" bIns="30045"/>
          <a:lstStyle/>
          <a:p>
            <a:pPr defTabSz="601186">
              <a:lnSpc>
                <a:spcPct val="120000"/>
              </a:lnSpc>
              <a:buClr>
                <a:srgbClr val="777777"/>
              </a:buClr>
              <a:buSzPct val="60000"/>
              <a:buFont typeface="Wingdings" pitchFamily="2" charset="2"/>
              <a:buNone/>
            </a:pPr>
            <a:r>
              <a:rPr lang="zh-CN" altLang="en-US" sz="825">
                <a:solidFill>
                  <a:srgbClr val="FFFFFF"/>
                </a:solidFill>
                <a:latin typeface="华文细黑" pitchFamily="2" charset="-122"/>
                <a:ea typeface="华文细黑" pitchFamily="2" charset="-122"/>
              </a:rPr>
              <a:t>客户或者合作伙伴的标志放在右上角</a:t>
            </a:r>
            <a:r>
              <a:rPr lang="en-US" altLang="zh-CN" sz="825">
                <a:solidFill>
                  <a:srgbClr val="FFFFFF"/>
                </a:solidFill>
                <a:latin typeface="华文细黑" pitchFamily="2" charset="-122"/>
                <a:ea typeface="华文细黑" pitchFamily="2" charset="-122"/>
              </a:rPr>
              <a:t>.</a:t>
            </a:r>
          </a:p>
          <a:p>
            <a:pPr defTabSz="601186">
              <a:lnSpc>
                <a:spcPct val="125000"/>
              </a:lnSpc>
              <a:buClr>
                <a:srgbClr val="777777"/>
              </a:buClr>
              <a:buSzPct val="60000"/>
              <a:buFont typeface="Wingdings" pitchFamily="2" charset="2"/>
              <a:buNone/>
            </a:pPr>
            <a:endParaRPr lang="en-US" altLang="zh-CN" sz="825">
              <a:solidFill>
                <a:srgbClr val="FFFFFF"/>
              </a:solidFill>
              <a:latin typeface="华文细黑" pitchFamily="2" charset="-122"/>
              <a:ea typeface="华文细黑" pitchFamily="2" charset="-122"/>
            </a:endParaRPr>
          </a:p>
          <a:p>
            <a:pPr defTabSz="601186">
              <a:lnSpc>
                <a:spcPct val="125000"/>
              </a:lnSpc>
              <a:buClr>
                <a:srgbClr val="777777"/>
              </a:buClr>
              <a:buSzPct val="60000"/>
              <a:buFont typeface="Wingdings" pitchFamily="2" charset="2"/>
              <a:buChar char="l"/>
            </a:pPr>
            <a:endParaRPr lang="en-US" altLang="zh-CN" sz="825">
              <a:solidFill>
                <a:srgbClr val="FFFFFF"/>
              </a:solidFill>
              <a:latin typeface="华文细黑" pitchFamily="2" charset="-122"/>
              <a:ea typeface="华文细黑" pitchFamily="2" charset="-122"/>
            </a:endParaRPr>
          </a:p>
          <a:p>
            <a:pPr defTabSz="601186">
              <a:lnSpc>
                <a:spcPct val="125000"/>
              </a:lnSpc>
              <a:buClr>
                <a:srgbClr val="777777"/>
              </a:buClr>
              <a:buSzPct val="60000"/>
              <a:buFont typeface="Wingdings" pitchFamily="2" charset="2"/>
              <a:buChar char="l"/>
            </a:pPr>
            <a:endParaRPr lang="zh-CN" altLang="en-US" sz="825">
              <a:solidFill>
                <a:srgbClr val="FFFFFF"/>
              </a:solidFill>
              <a:latin typeface="华文细黑" pitchFamily="2" charset="-122"/>
              <a:ea typeface="华文细黑" pitchFamily="2" charset="-122"/>
            </a:endParaRPr>
          </a:p>
        </p:txBody>
      </p:sp>
      <p:sp>
        <p:nvSpPr>
          <p:cNvPr id="28740" name="Rectangle 68"/>
          <p:cNvSpPr>
            <a:spLocks noGrp="1" noChangeArrowheads="1"/>
          </p:cNvSpPr>
          <p:nvPr>
            <p:ph type="body" idx="1"/>
          </p:nvPr>
        </p:nvSpPr>
        <p:spPr bwMode="auto">
          <a:xfrm>
            <a:off x="652582" y="1641857"/>
            <a:ext cx="7930939" cy="4195146"/>
          </a:xfrm>
          <a:prstGeom prst="rect">
            <a:avLst/>
          </a:prstGeom>
          <a:noFill/>
          <a:ln w="9525">
            <a:noFill/>
            <a:miter lim="800000"/>
            <a:headEnd/>
            <a:tailEnd/>
          </a:ln>
          <a:effectLst/>
        </p:spPr>
        <p:txBody>
          <a:bodyPr vert="horz" wrap="square" lIns="80152" tIns="40076" rIns="80152" bIns="40076"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8752" name="Rectangle 80"/>
          <p:cNvSpPr>
            <a:spLocks noChangeArrowheads="1"/>
          </p:cNvSpPr>
          <p:nvPr/>
        </p:nvSpPr>
        <p:spPr bwMode="auto">
          <a:xfrm>
            <a:off x="9271023" y="5060249"/>
            <a:ext cx="919321" cy="230814"/>
          </a:xfrm>
          <a:prstGeom prst="rect">
            <a:avLst/>
          </a:prstGeom>
          <a:solidFill>
            <a:schemeClr val="bg1"/>
          </a:solidFill>
          <a:ln w="9525" algn="ctr">
            <a:noFill/>
            <a:miter lim="800000"/>
            <a:headEnd/>
            <a:tailEnd/>
          </a:ln>
          <a:effectLst/>
        </p:spPr>
        <p:txBody>
          <a:bodyPr lIns="68563" tIns="34281" rIns="68563" bIns="34281" anchor="ctr">
            <a:spAutoFit/>
          </a:bodyPr>
          <a:lstStyle/>
          <a:p>
            <a:endParaRPr lang="zh-CN" altLang="en-US" sz="1050">
              <a:solidFill>
                <a:srgbClr val="FFFFFF"/>
              </a:solidFill>
              <a:latin typeface="FrutigerNext LT Regular" pitchFamily="34" charset="0"/>
              <a:ea typeface="ＭＳ Ｐゴシック" pitchFamily="34" charset="-128"/>
            </a:endParaRPr>
          </a:p>
        </p:txBody>
      </p:sp>
      <p:grpSp>
        <p:nvGrpSpPr>
          <p:cNvPr id="2" name="Group 81"/>
          <p:cNvGrpSpPr>
            <a:grpSpLocks/>
          </p:cNvGrpSpPr>
          <p:nvPr/>
        </p:nvGrpSpPr>
        <p:grpSpPr bwMode="auto">
          <a:xfrm>
            <a:off x="9356763" y="3790241"/>
            <a:ext cx="739904" cy="182604"/>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3" name="Group 86"/>
          <p:cNvGrpSpPr>
            <a:grpSpLocks/>
          </p:cNvGrpSpPr>
          <p:nvPr/>
        </p:nvGrpSpPr>
        <p:grpSpPr bwMode="auto">
          <a:xfrm>
            <a:off x="9356763" y="4006191"/>
            <a:ext cx="739904" cy="182604"/>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4" name="Group 91"/>
          <p:cNvGrpSpPr>
            <a:grpSpLocks/>
          </p:cNvGrpSpPr>
          <p:nvPr/>
        </p:nvGrpSpPr>
        <p:grpSpPr bwMode="auto">
          <a:xfrm>
            <a:off x="9356763" y="4222141"/>
            <a:ext cx="739904" cy="182604"/>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5" name="Group 96"/>
          <p:cNvGrpSpPr>
            <a:grpSpLocks/>
          </p:cNvGrpSpPr>
          <p:nvPr/>
        </p:nvGrpSpPr>
        <p:grpSpPr bwMode="auto">
          <a:xfrm>
            <a:off x="9356763" y="3574290"/>
            <a:ext cx="739904" cy="188956"/>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6" name="Group 101"/>
          <p:cNvGrpSpPr>
            <a:grpSpLocks/>
          </p:cNvGrpSpPr>
          <p:nvPr/>
        </p:nvGrpSpPr>
        <p:grpSpPr bwMode="auto">
          <a:xfrm>
            <a:off x="9356763" y="4582648"/>
            <a:ext cx="739904" cy="182605"/>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7" name="Group 106"/>
          <p:cNvGrpSpPr>
            <a:grpSpLocks/>
          </p:cNvGrpSpPr>
          <p:nvPr/>
        </p:nvGrpSpPr>
        <p:grpSpPr bwMode="auto">
          <a:xfrm>
            <a:off x="9356763" y="4798598"/>
            <a:ext cx="739904" cy="182605"/>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8" name="Group 111"/>
          <p:cNvGrpSpPr>
            <a:grpSpLocks/>
          </p:cNvGrpSpPr>
          <p:nvPr/>
        </p:nvGrpSpPr>
        <p:grpSpPr bwMode="auto">
          <a:xfrm>
            <a:off x="9356763" y="5014548"/>
            <a:ext cx="739904" cy="182605"/>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9" name="Group 116"/>
          <p:cNvGrpSpPr>
            <a:grpSpLocks/>
          </p:cNvGrpSpPr>
          <p:nvPr/>
        </p:nvGrpSpPr>
        <p:grpSpPr bwMode="auto">
          <a:xfrm>
            <a:off x="9356763" y="5374932"/>
            <a:ext cx="739904" cy="182604"/>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10" name="Group 121"/>
          <p:cNvGrpSpPr>
            <a:grpSpLocks/>
          </p:cNvGrpSpPr>
          <p:nvPr/>
        </p:nvGrpSpPr>
        <p:grpSpPr bwMode="auto">
          <a:xfrm>
            <a:off x="9356763" y="5590882"/>
            <a:ext cx="739904" cy="182604"/>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11" name="Group 126"/>
          <p:cNvGrpSpPr>
            <a:grpSpLocks/>
          </p:cNvGrpSpPr>
          <p:nvPr/>
        </p:nvGrpSpPr>
        <p:grpSpPr bwMode="auto">
          <a:xfrm>
            <a:off x="9356763" y="5806832"/>
            <a:ext cx="739904" cy="182604"/>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12" name="Group 131"/>
          <p:cNvGrpSpPr>
            <a:grpSpLocks/>
          </p:cNvGrpSpPr>
          <p:nvPr/>
        </p:nvGrpSpPr>
        <p:grpSpPr bwMode="auto">
          <a:xfrm>
            <a:off x="9356763" y="6167339"/>
            <a:ext cx="739904" cy="182605"/>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13" name="Group 136"/>
          <p:cNvGrpSpPr>
            <a:grpSpLocks/>
          </p:cNvGrpSpPr>
          <p:nvPr/>
        </p:nvGrpSpPr>
        <p:grpSpPr bwMode="auto">
          <a:xfrm>
            <a:off x="9356763" y="6392817"/>
            <a:ext cx="739904" cy="182605"/>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grpSp>
        <p:nvGrpSpPr>
          <p:cNvPr id="14" name="Group 141"/>
          <p:cNvGrpSpPr>
            <a:grpSpLocks/>
          </p:cNvGrpSpPr>
          <p:nvPr/>
        </p:nvGrpSpPr>
        <p:grpSpPr bwMode="auto">
          <a:xfrm>
            <a:off x="9356763" y="6616645"/>
            <a:ext cx="739904" cy="182604"/>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endParaRPr lang="zh-CN" altLang="en-US" sz="1050">
                <a:solidFill>
                  <a:srgbClr val="FFFFFF"/>
                </a:solidFill>
                <a:latin typeface="FrutigerNext LT Regular" pitchFamily="34" charset="0"/>
                <a:ea typeface="ＭＳ Ｐゴシック" pitchFamily="34" charset="-128"/>
              </a:endParaRPr>
            </a:p>
          </p:txBody>
        </p:sp>
      </p:grpSp>
    </p:spTree>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Lst>
  <p:hf sldNum="0" hdr="0" ftr="0"/>
  <p:txStyles>
    <p:titleStyle>
      <a:lvl1pPr algn="l" defTabSz="601186" rtl="0" eaLnBrk="1" fontAlgn="base" hangingPunct="1">
        <a:spcBef>
          <a:spcPct val="0"/>
        </a:spcBef>
        <a:spcAft>
          <a:spcPct val="0"/>
        </a:spcAft>
        <a:defRPr sz="2550">
          <a:solidFill>
            <a:srgbClr val="990000"/>
          </a:solidFill>
          <a:latin typeface="+mj-lt"/>
          <a:ea typeface="+mj-ea"/>
          <a:cs typeface="+mj-cs"/>
        </a:defRPr>
      </a:lvl1pPr>
      <a:lvl2pPr algn="l" defTabSz="601186" rtl="0" eaLnBrk="1" fontAlgn="base" hangingPunct="1">
        <a:spcBef>
          <a:spcPct val="0"/>
        </a:spcBef>
        <a:spcAft>
          <a:spcPct val="0"/>
        </a:spcAft>
        <a:defRPr sz="2550">
          <a:solidFill>
            <a:srgbClr val="990000"/>
          </a:solidFill>
          <a:latin typeface="FrutigerNext LT Medium" pitchFamily="34" charset="0"/>
          <a:ea typeface="黑体" pitchFamily="2" charset="-122"/>
        </a:defRPr>
      </a:lvl2pPr>
      <a:lvl3pPr algn="l" defTabSz="601186" rtl="0" eaLnBrk="1" fontAlgn="base" hangingPunct="1">
        <a:spcBef>
          <a:spcPct val="0"/>
        </a:spcBef>
        <a:spcAft>
          <a:spcPct val="0"/>
        </a:spcAft>
        <a:defRPr sz="2550">
          <a:solidFill>
            <a:srgbClr val="990000"/>
          </a:solidFill>
          <a:latin typeface="FrutigerNext LT Medium" pitchFamily="34" charset="0"/>
          <a:ea typeface="黑体" pitchFamily="2" charset="-122"/>
        </a:defRPr>
      </a:lvl3pPr>
      <a:lvl4pPr algn="l" defTabSz="601186" rtl="0" eaLnBrk="1" fontAlgn="base" hangingPunct="1">
        <a:spcBef>
          <a:spcPct val="0"/>
        </a:spcBef>
        <a:spcAft>
          <a:spcPct val="0"/>
        </a:spcAft>
        <a:defRPr sz="2550">
          <a:solidFill>
            <a:srgbClr val="990000"/>
          </a:solidFill>
          <a:latin typeface="FrutigerNext LT Medium" pitchFamily="34" charset="0"/>
          <a:ea typeface="黑体" pitchFamily="2" charset="-122"/>
        </a:defRPr>
      </a:lvl4pPr>
      <a:lvl5pPr algn="l" defTabSz="601186" rtl="0" eaLnBrk="1" fontAlgn="base" hangingPunct="1">
        <a:spcBef>
          <a:spcPct val="0"/>
        </a:spcBef>
        <a:spcAft>
          <a:spcPct val="0"/>
        </a:spcAft>
        <a:defRPr sz="2550">
          <a:solidFill>
            <a:srgbClr val="990000"/>
          </a:solidFill>
          <a:latin typeface="FrutigerNext LT Medium" pitchFamily="34" charset="0"/>
          <a:ea typeface="黑体" pitchFamily="2" charset="-122"/>
        </a:defRPr>
      </a:lvl5pPr>
      <a:lvl6pPr marL="342854" algn="l" defTabSz="601186" rtl="0" eaLnBrk="1" fontAlgn="base" hangingPunct="1">
        <a:spcBef>
          <a:spcPct val="0"/>
        </a:spcBef>
        <a:spcAft>
          <a:spcPct val="0"/>
        </a:spcAft>
        <a:defRPr sz="2550">
          <a:solidFill>
            <a:srgbClr val="990000"/>
          </a:solidFill>
          <a:latin typeface="FrutigerNext LT Medium" pitchFamily="34" charset="0"/>
          <a:ea typeface="黑体" pitchFamily="2" charset="-122"/>
        </a:defRPr>
      </a:lvl6pPr>
      <a:lvl7pPr marL="685709" algn="l" defTabSz="601186" rtl="0" eaLnBrk="1" fontAlgn="base" hangingPunct="1">
        <a:spcBef>
          <a:spcPct val="0"/>
        </a:spcBef>
        <a:spcAft>
          <a:spcPct val="0"/>
        </a:spcAft>
        <a:defRPr sz="2550">
          <a:solidFill>
            <a:srgbClr val="990000"/>
          </a:solidFill>
          <a:latin typeface="FrutigerNext LT Medium" pitchFamily="34" charset="0"/>
          <a:ea typeface="黑体" pitchFamily="2" charset="-122"/>
        </a:defRPr>
      </a:lvl7pPr>
      <a:lvl8pPr marL="1028563" algn="l" defTabSz="601186" rtl="0" eaLnBrk="1" fontAlgn="base" hangingPunct="1">
        <a:spcBef>
          <a:spcPct val="0"/>
        </a:spcBef>
        <a:spcAft>
          <a:spcPct val="0"/>
        </a:spcAft>
        <a:defRPr sz="2550">
          <a:solidFill>
            <a:srgbClr val="990000"/>
          </a:solidFill>
          <a:latin typeface="FrutigerNext LT Medium" pitchFamily="34" charset="0"/>
          <a:ea typeface="黑体" pitchFamily="2" charset="-122"/>
        </a:defRPr>
      </a:lvl8pPr>
      <a:lvl9pPr marL="1371417" algn="l" defTabSz="601186" rtl="0" eaLnBrk="1" fontAlgn="base" hangingPunct="1">
        <a:spcBef>
          <a:spcPct val="0"/>
        </a:spcBef>
        <a:spcAft>
          <a:spcPct val="0"/>
        </a:spcAft>
        <a:defRPr sz="2550">
          <a:solidFill>
            <a:srgbClr val="990000"/>
          </a:solidFill>
          <a:latin typeface="FrutigerNext LT Medium" pitchFamily="34" charset="0"/>
          <a:ea typeface="黑体" pitchFamily="2" charset="-122"/>
        </a:defRPr>
      </a:lvl9pPr>
    </p:titleStyle>
    <p:bodyStyle>
      <a:lvl1pPr marL="224998" indent="-224998" algn="l" defTabSz="601186" rtl="0" eaLnBrk="1" fontAlgn="base" hangingPunct="1">
        <a:lnSpc>
          <a:spcPct val="140000"/>
        </a:lnSpc>
        <a:spcBef>
          <a:spcPct val="0"/>
        </a:spcBef>
        <a:spcAft>
          <a:spcPct val="0"/>
        </a:spcAft>
        <a:buClr>
          <a:schemeClr val="bg2"/>
        </a:buClr>
        <a:buSzPct val="60000"/>
        <a:buFont typeface="Wingdings" pitchFamily="2" charset="2"/>
        <a:buChar char="l"/>
        <a:defRPr sz="1500" b="1">
          <a:solidFill>
            <a:schemeClr val="tx1"/>
          </a:solidFill>
          <a:latin typeface="+mn-lt"/>
          <a:ea typeface="+mn-ea"/>
          <a:cs typeface="+mn-cs"/>
        </a:defRPr>
      </a:lvl1pPr>
      <a:lvl2pPr marL="489282" indent="-188094" algn="l" defTabSz="601186" rtl="0" eaLnBrk="1" fontAlgn="base" hangingPunct="1">
        <a:lnSpc>
          <a:spcPct val="140000"/>
        </a:lnSpc>
        <a:spcBef>
          <a:spcPct val="0"/>
        </a:spcBef>
        <a:spcAft>
          <a:spcPct val="0"/>
        </a:spcAft>
        <a:buClr>
          <a:schemeClr val="tx1"/>
        </a:buClr>
        <a:buSzPct val="50000"/>
        <a:buFont typeface="Wingdings" pitchFamily="2" charset="2"/>
        <a:buChar char="p"/>
        <a:defRPr>
          <a:solidFill>
            <a:schemeClr val="tx1"/>
          </a:solidFill>
          <a:latin typeface="+mn-lt"/>
          <a:ea typeface="+mn-ea"/>
        </a:defRPr>
      </a:lvl2pPr>
      <a:lvl3pPr marL="752375" indent="-151190" algn="l" defTabSz="601186" rtl="0" eaLnBrk="1" fontAlgn="base" hangingPunct="1">
        <a:lnSpc>
          <a:spcPct val="140000"/>
        </a:lnSpc>
        <a:spcBef>
          <a:spcPct val="0"/>
        </a:spcBef>
        <a:spcAft>
          <a:spcPct val="0"/>
        </a:spcAft>
        <a:buSzPct val="50000"/>
        <a:buFont typeface="Wingdings" pitchFamily="2" charset="2"/>
        <a:buChar char="n"/>
        <a:defRPr sz="1200">
          <a:solidFill>
            <a:schemeClr val="tx1"/>
          </a:solidFill>
          <a:latin typeface="FrutigerNext LT Light" pitchFamily="34" charset="0"/>
          <a:ea typeface="+mn-ea"/>
        </a:defRPr>
      </a:lvl3pPr>
      <a:lvl4pPr marL="1051182" indent="-149999" algn="l" defTabSz="601186" rtl="0" eaLnBrk="1" fontAlgn="base" hangingPunct="1">
        <a:lnSpc>
          <a:spcPct val="140000"/>
        </a:lnSpc>
        <a:spcBef>
          <a:spcPct val="0"/>
        </a:spcBef>
        <a:spcAft>
          <a:spcPct val="0"/>
        </a:spcAft>
        <a:buChar char="–"/>
        <a:defRPr sz="1050">
          <a:solidFill>
            <a:schemeClr val="tx1"/>
          </a:solidFill>
          <a:latin typeface="+mj-lt"/>
          <a:ea typeface="+mn-ea"/>
        </a:defRPr>
      </a:lvl4pPr>
      <a:lvl5pPr marL="1352370" indent="-151190" algn="l" defTabSz="601186" rtl="0" eaLnBrk="1" fontAlgn="base" hangingPunct="1">
        <a:lnSpc>
          <a:spcPct val="140000"/>
        </a:lnSpc>
        <a:spcBef>
          <a:spcPct val="0"/>
        </a:spcBef>
        <a:spcAft>
          <a:spcPct val="0"/>
        </a:spcAft>
        <a:buFont typeface="FrutigerNext LT Medium" pitchFamily="34" charset="0"/>
        <a:buChar char="~"/>
        <a:defRPr sz="900">
          <a:solidFill>
            <a:schemeClr val="tx1"/>
          </a:solidFill>
          <a:latin typeface="+mj-lt"/>
          <a:ea typeface="+mn-ea"/>
        </a:defRPr>
      </a:lvl5pPr>
      <a:lvl6pPr marL="1695224" indent="-151190" algn="l" defTabSz="601186" rtl="0" eaLnBrk="1" fontAlgn="base" hangingPunct="1">
        <a:lnSpc>
          <a:spcPct val="140000"/>
        </a:lnSpc>
        <a:spcBef>
          <a:spcPct val="0"/>
        </a:spcBef>
        <a:spcAft>
          <a:spcPct val="0"/>
        </a:spcAft>
        <a:buFont typeface="FrutigerNext LT Medium" pitchFamily="34" charset="0"/>
        <a:buChar char="~"/>
        <a:defRPr sz="900">
          <a:solidFill>
            <a:schemeClr val="tx1"/>
          </a:solidFill>
          <a:latin typeface="+mj-lt"/>
          <a:ea typeface="+mn-ea"/>
        </a:defRPr>
      </a:lvl6pPr>
      <a:lvl7pPr marL="2038078" indent="-151190" algn="l" defTabSz="601186" rtl="0" eaLnBrk="1" fontAlgn="base" hangingPunct="1">
        <a:lnSpc>
          <a:spcPct val="140000"/>
        </a:lnSpc>
        <a:spcBef>
          <a:spcPct val="0"/>
        </a:spcBef>
        <a:spcAft>
          <a:spcPct val="0"/>
        </a:spcAft>
        <a:buFont typeface="FrutigerNext LT Medium" pitchFamily="34" charset="0"/>
        <a:buChar char="~"/>
        <a:defRPr sz="900">
          <a:solidFill>
            <a:schemeClr val="tx1"/>
          </a:solidFill>
          <a:latin typeface="+mj-lt"/>
          <a:ea typeface="+mn-ea"/>
        </a:defRPr>
      </a:lvl7pPr>
      <a:lvl8pPr marL="2380933" indent="-151190" algn="l" defTabSz="601186" rtl="0" eaLnBrk="1" fontAlgn="base" hangingPunct="1">
        <a:lnSpc>
          <a:spcPct val="140000"/>
        </a:lnSpc>
        <a:spcBef>
          <a:spcPct val="0"/>
        </a:spcBef>
        <a:spcAft>
          <a:spcPct val="0"/>
        </a:spcAft>
        <a:buFont typeface="FrutigerNext LT Medium" pitchFamily="34" charset="0"/>
        <a:buChar char="~"/>
        <a:defRPr sz="900">
          <a:solidFill>
            <a:schemeClr val="tx1"/>
          </a:solidFill>
          <a:latin typeface="+mj-lt"/>
          <a:ea typeface="+mn-ea"/>
        </a:defRPr>
      </a:lvl8pPr>
      <a:lvl9pPr marL="2723787" indent="-151190" algn="l" defTabSz="601186" rtl="0" eaLnBrk="1" fontAlgn="base" hangingPunct="1">
        <a:lnSpc>
          <a:spcPct val="140000"/>
        </a:lnSpc>
        <a:spcBef>
          <a:spcPct val="0"/>
        </a:spcBef>
        <a:spcAft>
          <a:spcPct val="0"/>
        </a:spcAft>
        <a:buFont typeface="FrutigerNext LT Medium" pitchFamily="34" charset="0"/>
        <a:buChar char="~"/>
        <a:defRPr sz="900">
          <a:solidFill>
            <a:schemeClr val="tx1"/>
          </a:solidFill>
          <a:latin typeface="+mj-lt"/>
          <a:ea typeface="+mn-ea"/>
        </a:defRPr>
      </a:lvl9pPr>
    </p:bodyStyle>
    <p:otherStyle>
      <a:defPPr>
        <a:defRPr lang="zh-CN"/>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1192" y="6352"/>
            <a:ext cx="9144399" cy="6853237"/>
          </a:xfrm>
          <a:prstGeom prst="rect">
            <a:avLst/>
          </a:prstGeom>
          <a:blipFill dpi="0" rotWithShape="1">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CC9900"/>
              </a:buClr>
              <a:buFont typeface="Wingdings" pitchFamily="2" charset="2"/>
              <a:buChar char="n"/>
            </a:pPr>
            <a:endParaRPr lang="zh-CN" altLang="en-US" b="1">
              <a:solidFill>
                <a:prstClr val="white"/>
              </a:solidFill>
            </a:endParaRPr>
          </a:p>
        </p:txBody>
      </p:sp>
      <p:sp>
        <p:nvSpPr>
          <p:cNvPr id="1470550" name="Rectangle 86"/>
          <p:cNvSpPr>
            <a:spLocks noChangeArrowheads="1"/>
          </p:cNvSpPr>
          <p:nvPr userDrawn="1"/>
        </p:nvSpPr>
        <p:spPr bwMode="auto">
          <a:xfrm>
            <a:off x="275011" y="6397521"/>
            <a:ext cx="1057183" cy="462069"/>
          </a:xfrm>
          <a:prstGeom prst="rect">
            <a:avLst/>
          </a:prstGeom>
          <a:noFill/>
          <a:ln w="9525">
            <a:noFill/>
            <a:miter lim="800000"/>
            <a:headEnd/>
            <a:tailEnd/>
          </a:ln>
          <a:effectLst/>
        </p:spPr>
        <p:txBody>
          <a:bodyPr lIns="0" tIns="0" rIns="0" bIns="0"/>
          <a:lstStyle/>
          <a:p>
            <a:pPr defTabSz="588090" eaLnBrk="0" hangingPunct="0">
              <a:lnSpc>
                <a:spcPct val="85000"/>
              </a:lnSpc>
            </a:pPr>
            <a:endParaRPr lang="de-DE" sz="750" dirty="0">
              <a:solidFill>
                <a:srgbClr val="000000"/>
              </a:solidFill>
              <a:latin typeface="FrutigerNext LT Light" pitchFamily="34" charset="0"/>
              <a:ea typeface="MS PGothic" pitchFamily="34" charset="-128"/>
            </a:endParaRPr>
          </a:p>
          <a:p>
            <a:pPr defTabSz="588090" eaLnBrk="0" hangingPunct="0">
              <a:lnSpc>
                <a:spcPct val="85000"/>
              </a:lnSpc>
            </a:pPr>
            <a:r>
              <a:rPr lang="de-DE" sz="750" dirty="0">
                <a:solidFill>
                  <a:srgbClr val="000000"/>
                </a:solidFill>
                <a:latin typeface="FrutigerNext LT Light" pitchFamily="34" charset="0"/>
                <a:ea typeface="MS PGothic" pitchFamily="34" charset="-128"/>
              </a:rPr>
              <a:t>Page </a:t>
            </a:r>
            <a:fld id="{E68EC476-442B-4BB7-9603-F1440C241F3D}" type="slidenum">
              <a:rPr lang="de-DE" sz="750">
                <a:solidFill>
                  <a:srgbClr val="000000"/>
                </a:solidFill>
                <a:latin typeface="FrutigerNext LT Light" pitchFamily="34" charset="0"/>
                <a:ea typeface="MS PGothic" pitchFamily="34" charset="-128"/>
              </a:rPr>
              <a:pPr defTabSz="588090" eaLnBrk="0" hangingPunct="0">
                <a:lnSpc>
                  <a:spcPct val="85000"/>
                </a:lnSpc>
              </a:pPr>
              <a:t>‹Nº›</a:t>
            </a:fld>
            <a:endParaRPr lang="en-GB" sz="75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9" cstate="email"/>
          <a:srcRect/>
          <a:stretch>
            <a:fillRect/>
          </a:stretch>
        </p:blipFill>
        <p:spPr bwMode="auto">
          <a:xfrm>
            <a:off x="7636006" y="6387992"/>
            <a:ext cx="971466" cy="308046"/>
          </a:xfrm>
          <a:prstGeom prst="rect">
            <a:avLst/>
          </a:prstGeom>
          <a:noFill/>
        </p:spPr>
      </p:pic>
      <p:sp>
        <p:nvSpPr>
          <p:cNvPr id="63" name="Text Box 5"/>
          <p:cNvSpPr txBox="1">
            <a:spLocks noChangeArrowheads="1"/>
          </p:cNvSpPr>
          <p:nvPr userDrawn="1"/>
        </p:nvSpPr>
        <p:spPr bwMode="auto">
          <a:xfrm>
            <a:off x="3512037" y="6480089"/>
            <a:ext cx="2378215" cy="161583"/>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defRPr/>
            </a:pPr>
            <a:r>
              <a:rPr lang="en-US" altLang="zh-CN" sz="105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37" r:id="rId1"/>
    <p:sldLayoutId id="2147483839" r:id="rId2"/>
    <p:sldLayoutId id="2147483840" r:id="rId3"/>
    <p:sldLayoutId id="2147483841" r:id="rId4"/>
    <p:sldLayoutId id="2147483842" r:id="rId5"/>
  </p:sldLayoutIdLst>
  <p:timing>
    <p:tnLst>
      <p:par>
        <p:cTn id="1" dur="indefinite" restart="never" nodeType="tmRoot"/>
      </p:par>
    </p:tnLst>
  </p:timing>
  <p:hf sldNum="0" hdr="0" ftr="0"/>
  <p:txStyles>
    <p:titleStyle>
      <a:lvl1pPr algn="l" rtl="0" eaLnBrk="1" fontAlgn="base" hangingPunct="1">
        <a:spcBef>
          <a:spcPct val="0"/>
        </a:spcBef>
        <a:spcAft>
          <a:spcPct val="0"/>
        </a:spcAft>
        <a:defRPr sz="2400" b="1">
          <a:solidFill>
            <a:srgbClr val="990000"/>
          </a:solidFill>
          <a:latin typeface="+mj-lt"/>
          <a:ea typeface="+mj-ea"/>
          <a:cs typeface="+mj-cs"/>
        </a:defRPr>
      </a:lvl1pPr>
      <a:lvl2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5pPr>
      <a:lvl6pPr marL="34285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6pPr>
      <a:lvl7pPr marL="685709"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7pPr>
      <a:lvl8pPr marL="1028563"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8pPr>
      <a:lvl9pPr marL="1371417"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9pPr>
    </p:titleStyle>
    <p:bodyStyle>
      <a:lvl1pPr marL="257141" indent="-257141" algn="l" rtl="0" eaLnBrk="1" fontAlgn="base" hangingPunct="1">
        <a:spcBef>
          <a:spcPct val="20000"/>
        </a:spcBef>
        <a:spcAft>
          <a:spcPct val="0"/>
        </a:spcAft>
        <a:buClr>
          <a:srgbClr val="990000"/>
        </a:buClr>
        <a:buChar char="•"/>
        <a:defRPr sz="1800" b="1">
          <a:solidFill>
            <a:schemeClr val="tx1"/>
          </a:solidFill>
          <a:latin typeface="+mn-lt"/>
          <a:ea typeface="+mn-ea"/>
          <a:cs typeface="+mn-cs"/>
        </a:defRPr>
      </a:lvl1pPr>
      <a:lvl2pPr marL="557138" indent="-214284" algn="l" rtl="0" eaLnBrk="1" fontAlgn="base" hangingPunct="1">
        <a:spcBef>
          <a:spcPct val="20000"/>
        </a:spcBef>
        <a:spcAft>
          <a:spcPct val="0"/>
        </a:spcAft>
        <a:buFont typeface="Arial" charset="0"/>
        <a:buChar char="›"/>
        <a:defRPr sz="1500">
          <a:solidFill>
            <a:schemeClr val="tx1"/>
          </a:solidFill>
          <a:latin typeface="+mn-lt"/>
          <a:ea typeface="+mn-ea"/>
          <a:cs typeface="+mn-cs"/>
        </a:defRPr>
      </a:lvl2pPr>
      <a:lvl3pPr marL="857136" indent="-17142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199990" indent="-171427" algn="l" rtl="0" eaLnBrk="1" fontAlgn="base" hangingPunct="1">
        <a:spcBef>
          <a:spcPct val="20000"/>
        </a:spcBef>
        <a:spcAft>
          <a:spcPct val="0"/>
        </a:spcAft>
        <a:buChar char="–"/>
        <a:defRPr sz="1200">
          <a:solidFill>
            <a:schemeClr val="tx1"/>
          </a:solidFill>
          <a:latin typeface="+mn-lt"/>
          <a:ea typeface="+mn-ea"/>
          <a:cs typeface="+mn-cs"/>
        </a:defRPr>
      </a:lvl4pPr>
      <a:lvl5pPr marL="1542844"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5pPr>
      <a:lvl6pPr marL="1885699"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6pPr>
      <a:lvl7pPr marL="2228553"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7pPr>
      <a:lvl8pPr marL="2571407"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8pPr>
      <a:lvl9pPr marL="2914261"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3" descr="C:\Users\z00205060\Desktop\CP项目\规范类文件\新建文件夹\巴展视觉物料规范-14.jpg"/>
          <p:cNvPicPr>
            <a:picLocks noChangeAspect="1" noChangeArrowheads="1"/>
          </p:cNvPicPr>
          <p:nvPr userDrawn="1"/>
        </p:nvPicPr>
        <p:blipFill>
          <a:blip r:embed="rId3" cstate="email"/>
          <a:srcRect/>
          <a:stretch>
            <a:fillRect/>
          </a:stretch>
        </p:blipFill>
        <p:spPr bwMode="auto">
          <a:xfrm>
            <a:off x="0" y="3"/>
            <a:ext cx="9145588" cy="6860323"/>
          </a:xfrm>
          <a:prstGeom prst="rect">
            <a:avLst/>
          </a:prstGeom>
          <a:noFill/>
        </p:spPr>
      </p:pic>
      <p:sp>
        <p:nvSpPr>
          <p:cNvPr id="1487888" name="Text Box 16"/>
          <p:cNvSpPr txBox="1">
            <a:spLocks noChangeArrowheads="1"/>
          </p:cNvSpPr>
          <p:nvPr/>
        </p:nvSpPr>
        <p:spPr bwMode="auto">
          <a:xfrm>
            <a:off x="3324416" y="2061847"/>
            <a:ext cx="2601674" cy="784702"/>
          </a:xfrm>
          <a:prstGeom prst="rect">
            <a:avLst/>
          </a:prstGeom>
          <a:noFill/>
          <a:ln w="9525">
            <a:noFill/>
            <a:miter lim="800000"/>
            <a:headEnd/>
            <a:tailEnd/>
          </a:ln>
        </p:spPr>
        <p:txBody>
          <a:bodyPr wrap="none">
            <a:spAutoFit/>
          </a:bodyPr>
          <a:lstStyle/>
          <a:p>
            <a:pPr eaLnBrk="0" hangingPunct="0"/>
            <a:r>
              <a:rPr lang="en-US" altLang="zh-CN" sz="4499" dirty="0" smtClean="0">
                <a:solidFill>
                  <a:srgbClr val="CC0000"/>
                </a:solidFill>
                <a:ea typeface="MS PGothic" pitchFamily="34" charset="-128"/>
                <a:cs typeface="Calibri" pitchFamily="34" charset="0"/>
              </a:rPr>
              <a:t>Thank you</a:t>
            </a:r>
            <a:endParaRPr lang="en-US" altLang="zh-CN" sz="4499" dirty="0">
              <a:solidFill>
                <a:srgbClr val="CC0000"/>
              </a:solidFill>
              <a:ea typeface="MS PGothic" pitchFamily="34" charset="-128"/>
              <a:cs typeface="Calibri" pitchFamily="34" charset="0"/>
            </a:endParaRPr>
          </a:p>
        </p:txBody>
      </p:sp>
      <p:sp>
        <p:nvSpPr>
          <p:cNvPr id="1487889" name="Text Box 17"/>
          <p:cNvSpPr txBox="1">
            <a:spLocks noChangeArrowheads="1"/>
          </p:cNvSpPr>
          <p:nvPr/>
        </p:nvSpPr>
        <p:spPr bwMode="auto">
          <a:xfrm>
            <a:off x="4006443" y="3246396"/>
            <a:ext cx="1308820" cy="276999"/>
          </a:xfrm>
          <a:prstGeom prst="rect">
            <a:avLst/>
          </a:prstGeom>
          <a:noFill/>
          <a:ln w="9525">
            <a:noFill/>
            <a:miter lim="800000"/>
            <a:headEnd/>
            <a:tailEnd/>
          </a:ln>
        </p:spPr>
        <p:txBody>
          <a:bodyPr wrap="none">
            <a:spAutoFit/>
          </a:bodyPr>
          <a:lstStyle/>
          <a:p>
            <a:pPr eaLnBrk="0" hangingPunct="0"/>
            <a:r>
              <a:rPr lang="en-US" altLang="zh-CN" sz="1200" dirty="0">
                <a:solidFill>
                  <a:srgbClr val="000000">
                    <a:lumMod val="75000"/>
                    <a:lumOff val="25000"/>
                  </a:srgbClr>
                </a:solidFill>
                <a:ea typeface="MS PGothic" pitchFamily="34" charset="-128"/>
                <a:cs typeface="Calibri" pitchFamily="34" charset="0"/>
              </a:rPr>
              <a:t>www.huawei.com</a:t>
            </a:r>
          </a:p>
        </p:txBody>
      </p:sp>
      <p:sp>
        <p:nvSpPr>
          <p:cNvPr id="59" name="TextBox 58"/>
          <p:cNvSpPr txBox="1"/>
          <p:nvPr userDrawn="1"/>
        </p:nvSpPr>
        <p:spPr>
          <a:xfrm>
            <a:off x="1217907" y="4563533"/>
            <a:ext cx="6885977" cy="1068241"/>
          </a:xfrm>
          <a:prstGeom prst="rect">
            <a:avLst/>
          </a:prstGeom>
          <a:noFill/>
        </p:spPr>
        <p:txBody>
          <a:bodyPr wrap="square" rtlCol="0">
            <a:spAutoFit/>
          </a:bodyPr>
          <a:lstStyle/>
          <a:p>
            <a:pPr algn="just" fontAlgn="auto">
              <a:spcBef>
                <a:spcPts val="0"/>
              </a:spcBef>
              <a:spcAft>
                <a:spcPts val="450"/>
              </a:spcAft>
              <a:defRPr/>
            </a:pPr>
            <a:r>
              <a:rPr lang="en-US" altLang="zh-CN" sz="1050" dirty="0" smtClean="0">
                <a:solidFill>
                  <a:srgbClr val="000000">
                    <a:lumMod val="75000"/>
                    <a:lumOff val="25000"/>
                  </a:srgbClr>
                </a:solidFill>
                <a:ea typeface="宋体" charset="-122"/>
                <a:cs typeface="Calibri" pitchFamily="34" charset="0"/>
              </a:rPr>
              <a:t>Copyright©2014 Huawei Technologies Co., Ltd. All Rights Reserved.</a:t>
            </a:r>
            <a:endParaRPr lang="zh-CN" altLang="zh-CN" sz="1050" dirty="0" smtClean="0">
              <a:solidFill>
                <a:srgbClr val="000000">
                  <a:lumMod val="75000"/>
                  <a:lumOff val="25000"/>
                </a:srgbClr>
              </a:solidFill>
              <a:ea typeface="宋体" charset="-122"/>
              <a:cs typeface="Calibri" pitchFamily="34" charset="0"/>
            </a:endParaRPr>
          </a:p>
          <a:p>
            <a:pPr algn="just" fontAlgn="auto">
              <a:spcBef>
                <a:spcPts val="0"/>
              </a:spcBef>
              <a:spcAft>
                <a:spcPts val="0"/>
              </a:spcAft>
              <a:defRPr/>
            </a:pPr>
            <a:r>
              <a:rPr lang="en-US" altLang="zh-CN" sz="975" dirty="0" smtClean="0">
                <a:solidFill>
                  <a:srgbClr val="000000">
                    <a:lumMod val="75000"/>
                    <a:lumOff val="25000"/>
                  </a:srgbClr>
                </a:solidFill>
                <a:ea typeface="宋体" charset="-122"/>
                <a:cs typeface="Calibri"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975" dirty="0">
              <a:solidFill>
                <a:srgbClr val="000000">
                  <a:lumMod val="75000"/>
                  <a:lumOff val="25000"/>
                </a:srgbClr>
              </a:solidFill>
              <a:ea typeface="宋体" charset="-122"/>
              <a:cs typeface="Calibri" pitchFamily="34" charset="0"/>
            </a:endParaRPr>
          </a:p>
        </p:txBody>
      </p:sp>
      <p:sp>
        <p:nvSpPr>
          <p:cNvPr id="57" name="Rectangle 86"/>
          <p:cNvSpPr>
            <a:spLocks noChangeArrowheads="1"/>
          </p:cNvSpPr>
          <p:nvPr userDrawn="1"/>
        </p:nvSpPr>
        <p:spPr bwMode="auto">
          <a:xfrm>
            <a:off x="275011" y="6397521"/>
            <a:ext cx="1057183" cy="462069"/>
          </a:xfrm>
          <a:prstGeom prst="rect">
            <a:avLst/>
          </a:prstGeom>
          <a:noFill/>
          <a:ln w="9525">
            <a:noFill/>
            <a:miter lim="800000"/>
            <a:headEnd/>
            <a:tailEnd/>
          </a:ln>
          <a:effectLst/>
        </p:spPr>
        <p:txBody>
          <a:bodyPr lIns="0" tIns="0" rIns="0" bIns="0"/>
          <a:lstStyle/>
          <a:p>
            <a:pPr defTabSz="588090" eaLnBrk="0" hangingPunct="0">
              <a:lnSpc>
                <a:spcPct val="85000"/>
              </a:lnSpc>
            </a:pPr>
            <a:endParaRPr lang="de-DE" sz="750" dirty="0">
              <a:solidFill>
                <a:srgbClr val="000000"/>
              </a:solidFill>
              <a:ea typeface="MS PGothic" pitchFamily="34" charset="-128"/>
              <a:cs typeface="Calibri" pitchFamily="34" charset="0"/>
            </a:endParaRPr>
          </a:p>
          <a:p>
            <a:pPr defTabSz="588090" eaLnBrk="0" hangingPunct="0">
              <a:lnSpc>
                <a:spcPct val="85000"/>
              </a:lnSpc>
            </a:pPr>
            <a:r>
              <a:rPr lang="de-DE" sz="750" dirty="0">
                <a:solidFill>
                  <a:srgbClr val="000000"/>
                </a:solidFill>
                <a:ea typeface="MS PGothic" pitchFamily="34" charset="-128"/>
                <a:cs typeface="Calibri" pitchFamily="34" charset="0"/>
              </a:rPr>
              <a:t>Page </a:t>
            </a:r>
            <a:fld id="{E68EC476-442B-4BB7-9603-F1440C241F3D}" type="slidenum">
              <a:rPr lang="de-DE" sz="750">
                <a:solidFill>
                  <a:srgbClr val="000000"/>
                </a:solidFill>
                <a:ea typeface="MS PGothic" pitchFamily="34" charset="-128"/>
                <a:cs typeface="Calibri" pitchFamily="34" charset="0"/>
              </a:rPr>
              <a:pPr defTabSz="588090" eaLnBrk="0" hangingPunct="0">
                <a:lnSpc>
                  <a:spcPct val="85000"/>
                </a:lnSpc>
              </a:pPr>
              <a:t>‹Nº›</a:t>
            </a:fld>
            <a:endParaRPr lang="en-GB" sz="750" dirty="0">
              <a:solidFill>
                <a:srgbClr val="000000"/>
              </a:solidFill>
              <a:ea typeface="MS PGothic" pitchFamily="34" charset="-128"/>
              <a:cs typeface="Calibri" pitchFamily="34" charset="0"/>
            </a:endParaRPr>
          </a:p>
        </p:txBody>
      </p:sp>
      <p:pic>
        <p:nvPicPr>
          <p:cNvPr id="58" name="Picture 87" descr="图片3副本"/>
          <p:cNvPicPr>
            <a:picLocks noChangeAspect="1" noChangeArrowheads="1"/>
          </p:cNvPicPr>
          <p:nvPr userDrawn="1"/>
        </p:nvPicPr>
        <p:blipFill>
          <a:blip r:embed="rId4" cstate="email"/>
          <a:srcRect/>
          <a:stretch>
            <a:fillRect/>
          </a:stretch>
        </p:blipFill>
        <p:spPr bwMode="auto">
          <a:xfrm>
            <a:off x="7636006" y="6387992"/>
            <a:ext cx="971466" cy="308046"/>
          </a:xfrm>
          <a:prstGeom prst="rect">
            <a:avLst/>
          </a:prstGeom>
          <a:noFill/>
        </p:spPr>
      </p:pic>
      <p:sp>
        <p:nvSpPr>
          <p:cNvPr id="60" name="Text Box 5"/>
          <p:cNvSpPr txBox="1">
            <a:spLocks noChangeArrowheads="1"/>
          </p:cNvSpPr>
          <p:nvPr userDrawn="1"/>
        </p:nvSpPr>
        <p:spPr bwMode="auto">
          <a:xfrm>
            <a:off x="3512036" y="6480089"/>
            <a:ext cx="1975862" cy="161583"/>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defRPr/>
            </a:pPr>
            <a:r>
              <a:rPr lang="en-US" altLang="zh-CN" sz="1050" kern="0" dirty="0" smtClean="0">
                <a:solidFill>
                  <a:srgbClr val="000000">
                    <a:lumMod val="65000"/>
                    <a:lumOff val="35000"/>
                  </a:srgbClr>
                </a:solidFill>
                <a:ea typeface="MS PGothic" pitchFamily="34" charset="-128"/>
                <a:cs typeface="Calibri" pitchFamily="34" charset="0"/>
              </a:rPr>
              <a:t>HUAWEI TECHNOLOGIES CO., LTD.</a:t>
            </a:r>
          </a:p>
        </p:txBody>
      </p:sp>
    </p:spTree>
    <p:extLst>
      <p:ext uri="{BB962C8B-B14F-4D97-AF65-F5344CB8AC3E}">
        <p14:creationId xmlns:p14="http://schemas.microsoft.com/office/powerpoint/2010/main" val="1867032598"/>
      </p:ext>
    </p:extLst>
  </p:cSld>
  <p:clrMap bg1="lt1" tx1="dk1" bg2="lt2" tx2="dk2" accent1="accent1" accent2="accent2" accent3="accent3" accent4="accent4" accent5="accent5" accent6="accent6" hlink="hlink" folHlink="folHlink"/>
  <p:sldLayoutIdLst>
    <p:sldLayoutId id="2147483844"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b="1">
          <a:solidFill>
            <a:srgbClr val="990000"/>
          </a:solidFill>
          <a:latin typeface="+mj-lt"/>
          <a:ea typeface="+mj-ea"/>
          <a:cs typeface="+mj-cs"/>
        </a:defRPr>
      </a:lvl1pPr>
      <a:lvl2pPr algn="l" rtl="0" eaLnBrk="1" fontAlgn="base" hangingPunct="1">
        <a:spcBef>
          <a:spcPct val="0"/>
        </a:spcBef>
        <a:spcAft>
          <a:spcPct val="0"/>
        </a:spcAft>
        <a:defRPr sz="2400" b="1">
          <a:solidFill>
            <a:srgbClr val="990000"/>
          </a:solidFill>
          <a:latin typeface="FrutigerNext LT Medium" pitchFamily="34" charset="0"/>
          <a:ea typeface="SimSun" pitchFamily="2" charset="-122"/>
        </a:defRPr>
      </a:lvl2pPr>
      <a:lvl3pPr algn="l" rtl="0" eaLnBrk="1" fontAlgn="base" hangingPunct="1">
        <a:spcBef>
          <a:spcPct val="0"/>
        </a:spcBef>
        <a:spcAft>
          <a:spcPct val="0"/>
        </a:spcAft>
        <a:defRPr sz="2400" b="1">
          <a:solidFill>
            <a:srgbClr val="990000"/>
          </a:solidFill>
          <a:latin typeface="FrutigerNext LT Medium" pitchFamily="34" charset="0"/>
          <a:ea typeface="SimSun" pitchFamily="2" charset="-122"/>
        </a:defRPr>
      </a:lvl3pPr>
      <a:lvl4pPr algn="l" rtl="0" eaLnBrk="1" fontAlgn="base" hangingPunct="1">
        <a:spcBef>
          <a:spcPct val="0"/>
        </a:spcBef>
        <a:spcAft>
          <a:spcPct val="0"/>
        </a:spcAft>
        <a:defRPr sz="2400" b="1">
          <a:solidFill>
            <a:srgbClr val="990000"/>
          </a:solidFill>
          <a:latin typeface="FrutigerNext LT Medium" pitchFamily="34" charset="0"/>
          <a:ea typeface="SimSun" pitchFamily="2" charset="-122"/>
        </a:defRPr>
      </a:lvl4pPr>
      <a:lvl5pPr algn="l" rtl="0" eaLnBrk="1" fontAlgn="base" hangingPunct="1">
        <a:spcBef>
          <a:spcPct val="0"/>
        </a:spcBef>
        <a:spcAft>
          <a:spcPct val="0"/>
        </a:spcAft>
        <a:defRPr sz="2400" b="1">
          <a:solidFill>
            <a:srgbClr val="990000"/>
          </a:solidFill>
          <a:latin typeface="FrutigerNext LT Medium" pitchFamily="34" charset="0"/>
          <a:ea typeface="SimSun" pitchFamily="2" charset="-122"/>
        </a:defRPr>
      </a:lvl5pPr>
      <a:lvl6pPr marL="342854" algn="l" rtl="0" eaLnBrk="1" fontAlgn="base" hangingPunct="1">
        <a:spcBef>
          <a:spcPct val="0"/>
        </a:spcBef>
        <a:spcAft>
          <a:spcPct val="0"/>
        </a:spcAft>
        <a:defRPr sz="2400" b="1">
          <a:solidFill>
            <a:srgbClr val="990000"/>
          </a:solidFill>
          <a:latin typeface="FrutigerNext LT Medium" pitchFamily="34" charset="0"/>
          <a:ea typeface="SimSun" pitchFamily="2" charset="-122"/>
        </a:defRPr>
      </a:lvl6pPr>
      <a:lvl7pPr marL="685709" algn="l" rtl="0" eaLnBrk="1" fontAlgn="base" hangingPunct="1">
        <a:spcBef>
          <a:spcPct val="0"/>
        </a:spcBef>
        <a:spcAft>
          <a:spcPct val="0"/>
        </a:spcAft>
        <a:defRPr sz="2400" b="1">
          <a:solidFill>
            <a:srgbClr val="990000"/>
          </a:solidFill>
          <a:latin typeface="FrutigerNext LT Medium" pitchFamily="34" charset="0"/>
          <a:ea typeface="SimSun" pitchFamily="2" charset="-122"/>
        </a:defRPr>
      </a:lvl7pPr>
      <a:lvl8pPr marL="1028563" algn="l" rtl="0" eaLnBrk="1" fontAlgn="base" hangingPunct="1">
        <a:spcBef>
          <a:spcPct val="0"/>
        </a:spcBef>
        <a:spcAft>
          <a:spcPct val="0"/>
        </a:spcAft>
        <a:defRPr sz="2400" b="1">
          <a:solidFill>
            <a:srgbClr val="990000"/>
          </a:solidFill>
          <a:latin typeface="FrutigerNext LT Medium" pitchFamily="34" charset="0"/>
          <a:ea typeface="SimSun" pitchFamily="2" charset="-122"/>
        </a:defRPr>
      </a:lvl8pPr>
      <a:lvl9pPr marL="1371417" algn="l" rtl="0" eaLnBrk="1" fontAlgn="base" hangingPunct="1">
        <a:spcBef>
          <a:spcPct val="0"/>
        </a:spcBef>
        <a:spcAft>
          <a:spcPct val="0"/>
        </a:spcAft>
        <a:defRPr sz="2400" b="1">
          <a:solidFill>
            <a:srgbClr val="990000"/>
          </a:solidFill>
          <a:latin typeface="FrutigerNext LT Medium" pitchFamily="34" charset="0"/>
          <a:ea typeface="SimSun" pitchFamily="2" charset="-122"/>
        </a:defRPr>
      </a:lvl9pPr>
    </p:titleStyle>
    <p:bodyStyle>
      <a:lvl1pPr marL="257141" indent="-257141" algn="l" rtl="0" eaLnBrk="1" fontAlgn="base" hangingPunct="1">
        <a:spcBef>
          <a:spcPct val="20000"/>
        </a:spcBef>
        <a:spcAft>
          <a:spcPct val="0"/>
        </a:spcAft>
        <a:buClr>
          <a:srgbClr val="990000"/>
        </a:buClr>
        <a:buChar char="•"/>
        <a:defRPr sz="1800" b="1">
          <a:solidFill>
            <a:schemeClr val="tx1"/>
          </a:solidFill>
          <a:latin typeface="+mn-lt"/>
          <a:ea typeface="+mn-ea"/>
          <a:cs typeface="+mn-cs"/>
        </a:defRPr>
      </a:lvl1pPr>
      <a:lvl2pPr marL="557138" indent="-214284" algn="l" rtl="0" eaLnBrk="1" fontAlgn="base" hangingPunct="1">
        <a:spcBef>
          <a:spcPct val="20000"/>
        </a:spcBef>
        <a:spcAft>
          <a:spcPct val="0"/>
        </a:spcAft>
        <a:buFont typeface="Arial" charset="0"/>
        <a:buChar char="›"/>
        <a:defRPr sz="1500">
          <a:solidFill>
            <a:schemeClr val="tx1"/>
          </a:solidFill>
          <a:latin typeface="+mn-lt"/>
          <a:ea typeface="+mn-ea"/>
        </a:defRPr>
      </a:lvl2pPr>
      <a:lvl3pPr marL="857136" indent="-171427" algn="l" rtl="0" eaLnBrk="1" fontAlgn="base" hangingPunct="1">
        <a:spcBef>
          <a:spcPct val="20000"/>
        </a:spcBef>
        <a:spcAft>
          <a:spcPct val="0"/>
        </a:spcAft>
        <a:buFont typeface="FrutigerNext LT Medium" pitchFamily="34" charset="0"/>
        <a:buChar char="»"/>
        <a:defRPr>
          <a:solidFill>
            <a:schemeClr val="tx1"/>
          </a:solidFill>
          <a:latin typeface="+mn-lt"/>
          <a:ea typeface="+mn-ea"/>
        </a:defRPr>
      </a:lvl3pPr>
      <a:lvl4pPr marL="1199990" indent="-171427" algn="l" rtl="0" eaLnBrk="1" fontAlgn="base" hangingPunct="1">
        <a:spcBef>
          <a:spcPct val="20000"/>
        </a:spcBef>
        <a:spcAft>
          <a:spcPct val="0"/>
        </a:spcAft>
        <a:buChar char="–"/>
        <a:defRPr sz="1200">
          <a:solidFill>
            <a:schemeClr val="tx1"/>
          </a:solidFill>
          <a:latin typeface="+mn-lt"/>
          <a:ea typeface="+mn-ea"/>
        </a:defRPr>
      </a:lvl4pPr>
      <a:lvl5pPr marL="1542844" indent="-171427" algn="l" rtl="0" eaLnBrk="1" fontAlgn="base" hangingPunct="1">
        <a:spcBef>
          <a:spcPct val="20000"/>
        </a:spcBef>
        <a:spcAft>
          <a:spcPct val="0"/>
        </a:spcAft>
        <a:buFont typeface="Arial" charset="0"/>
        <a:buChar char="~"/>
        <a:defRPr sz="1200">
          <a:solidFill>
            <a:schemeClr val="tx1"/>
          </a:solidFill>
          <a:latin typeface="+mn-lt"/>
          <a:ea typeface="+mn-ea"/>
        </a:defRPr>
      </a:lvl5pPr>
      <a:lvl6pPr marL="1885699" indent="-171427" algn="l" rtl="0" eaLnBrk="1" fontAlgn="base" hangingPunct="1">
        <a:spcBef>
          <a:spcPct val="20000"/>
        </a:spcBef>
        <a:spcAft>
          <a:spcPct val="0"/>
        </a:spcAft>
        <a:buFont typeface="Arial" charset="0"/>
        <a:buChar char="~"/>
        <a:defRPr sz="1200">
          <a:solidFill>
            <a:schemeClr val="tx1"/>
          </a:solidFill>
          <a:latin typeface="+mn-lt"/>
          <a:ea typeface="+mn-ea"/>
        </a:defRPr>
      </a:lvl6pPr>
      <a:lvl7pPr marL="2228553" indent="-171427" algn="l" rtl="0" eaLnBrk="1" fontAlgn="base" hangingPunct="1">
        <a:spcBef>
          <a:spcPct val="20000"/>
        </a:spcBef>
        <a:spcAft>
          <a:spcPct val="0"/>
        </a:spcAft>
        <a:buFont typeface="Arial" charset="0"/>
        <a:buChar char="~"/>
        <a:defRPr sz="1200">
          <a:solidFill>
            <a:schemeClr val="tx1"/>
          </a:solidFill>
          <a:latin typeface="+mn-lt"/>
          <a:ea typeface="+mn-ea"/>
        </a:defRPr>
      </a:lvl7pPr>
      <a:lvl8pPr marL="2571407" indent="-171427" algn="l" rtl="0" eaLnBrk="1" fontAlgn="base" hangingPunct="1">
        <a:spcBef>
          <a:spcPct val="20000"/>
        </a:spcBef>
        <a:spcAft>
          <a:spcPct val="0"/>
        </a:spcAft>
        <a:buFont typeface="Arial" charset="0"/>
        <a:buChar char="~"/>
        <a:defRPr sz="1200">
          <a:solidFill>
            <a:schemeClr val="tx1"/>
          </a:solidFill>
          <a:latin typeface="+mn-lt"/>
          <a:ea typeface="+mn-ea"/>
        </a:defRPr>
      </a:lvl8pPr>
      <a:lvl9pPr marL="2914261" indent="-171427" algn="l" rtl="0" eaLnBrk="1" fontAlgn="base" hangingPunct="1">
        <a:spcBef>
          <a:spcPct val="20000"/>
        </a:spcBef>
        <a:spcAft>
          <a:spcPct val="0"/>
        </a:spcAft>
        <a:buFont typeface="Arial" charset="0"/>
        <a:buChar char="~"/>
        <a:defRPr sz="1200">
          <a:solidFill>
            <a:schemeClr val="tx1"/>
          </a:solidFill>
          <a:latin typeface="+mn-lt"/>
          <a:ea typeface="+mn-ea"/>
        </a:defRPr>
      </a:lvl9pPr>
    </p:bodyStyle>
    <p:otherStyle>
      <a:defPPr>
        <a:defRPr lang="zh-CN"/>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1192" y="6352"/>
            <a:ext cx="9144399" cy="6853237"/>
          </a:xfrm>
          <a:prstGeom prst="rect">
            <a:avLst/>
          </a:prstGeom>
          <a:blipFill dpi="0" rotWithShape="1">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CC9900"/>
              </a:buClr>
              <a:buFont typeface="Wingdings" pitchFamily="2" charset="2"/>
              <a:buChar char="n"/>
            </a:pPr>
            <a:endParaRPr lang="zh-CN" altLang="en-US" b="1">
              <a:solidFill>
                <a:prstClr val="white"/>
              </a:solidFill>
            </a:endParaRPr>
          </a:p>
        </p:txBody>
      </p:sp>
      <p:sp>
        <p:nvSpPr>
          <p:cNvPr id="1470550" name="Rectangle 86"/>
          <p:cNvSpPr>
            <a:spLocks noChangeArrowheads="1"/>
          </p:cNvSpPr>
          <p:nvPr userDrawn="1"/>
        </p:nvSpPr>
        <p:spPr bwMode="auto">
          <a:xfrm>
            <a:off x="275011" y="6397521"/>
            <a:ext cx="1057183" cy="462069"/>
          </a:xfrm>
          <a:prstGeom prst="rect">
            <a:avLst/>
          </a:prstGeom>
          <a:noFill/>
          <a:ln w="9525">
            <a:noFill/>
            <a:miter lim="800000"/>
            <a:headEnd/>
            <a:tailEnd/>
          </a:ln>
          <a:effectLst/>
        </p:spPr>
        <p:txBody>
          <a:bodyPr lIns="0" tIns="0" rIns="0" bIns="0"/>
          <a:lstStyle/>
          <a:p>
            <a:pPr defTabSz="588090" eaLnBrk="0" hangingPunct="0">
              <a:lnSpc>
                <a:spcPct val="85000"/>
              </a:lnSpc>
            </a:pPr>
            <a:endParaRPr lang="de-DE" sz="750" dirty="0">
              <a:solidFill>
                <a:srgbClr val="000000"/>
              </a:solidFill>
              <a:latin typeface="FrutigerNext LT Light" pitchFamily="34" charset="0"/>
              <a:ea typeface="MS PGothic" pitchFamily="34" charset="-128"/>
            </a:endParaRPr>
          </a:p>
          <a:p>
            <a:pPr defTabSz="588090" eaLnBrk="0" hangingPunct="0">
              <a:lnSpc>
                <a:spcPct val="85000"/>
              </a:lnSpc>
            </a:pPr>
            <a:r>
              <a:rPr lang="de-DE" sz="750" dirty="0">
                <a:solidFill>
                  <a:srgbClr val="000000"/>
                </a:solidFill>
                <a:latin typeface="FrutigerNext LT Light" pitchFamily="34" charset="0"/>
                <a:ea typeface="MS PGothic" pitchFamily="34" charset="-128"/>
              </a:rPr>
              <a:t>Page </a:t>
            </a:r>
            <a:fld id="{E68EC476-442B-4BB7-9603-F1440C241F3D}" type="slidenum">
              <a:rPr lang="de-DE" sz="750">
                <a:solidFill>
                  <a:srgbClr val="000000"/>
                </a:solidFill>
                <a:latin typeface="FrutigerNext LT Light" pitchFamily="34" charset="0"/>
                <a:ea typeface="MS PGothic" pitchFamily="34" charset="-128"/>
              </a:rPr>
              <a:pPr defTabSz="588090" eaLnBrk="0" hangingPunct="0">
                <a:lnSpc>
                  <a:spcPct val="85000"/>
                </a:lnSpc>
              </a:pPr>
              <a:t>‹Nº›</a:t>
            </a:fld>
            <a:endParaRPr lang="en-GB" sz="75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9" cstate="email"/>
          <a:srcRect/>
          <a:stretch>
            <a:fillRect/>
          </a:stretch>
        </p:blipFill>
        <p:spPr bwMode="auto">
          <a:xfrm>
            <a:off x="7636006" y="6387992"/>
            <a:ext cx="971466" cy="308046"/>
          </a:xfrm>
          <a:prstGeom prst="rect">
            <a:avLst/>
          </a:prstGeom>
          <a:noFill/>
        </p:spPr>
      </p:pic>
      <p:sp>
        <p:nvSpPr>
          <p:cNvPr id="63" name="Text Box 5"/>
          <p:cNvSpPr txBox="1">
            <a:spLocks noChangeArrowheads="1"/>
          </p:cNvSpPr>
          <p:nvPr userDrawn="1"/>
        </p:nvSpPr>
        <p:spPr bwMode="auto">
          <a:xfrm>
            <a:off x="3512037" y="6480089"/>
            <a:ext cx="2378215" cy="161583"/>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defRPr/>
            </a:pPr>
            <a:r>
              <a:rPr lang="en-US" altLang="zh-CN" sz="105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46" r:id="rId1"/>
    <p:sldLayoutId id="2147483848" r:id="rId2"/>
    <p:sldLayoutId id="2147483849" r:id="rId3"/>
    <p:sldLayoutId id="2147483850" r:id="rId4"/>
    <p:sldLayoutId id="2147483851" r:id="rId5"/>
  </p:sldLayoutIdLst>
  <p:timing>
    <p:tnLst>
      <p:par>
        <p:cTn id="1" dur="indefinite" restart="never" nodeType="tmRoot"/>
      </p:par>
    </p:tnLst>
  </p:timing>
  <p:hf sldNum="0" hdr="0" ftr="0"/>
  <p:txStyles>
    <p:titleStyle>
      <a:lvl1pPr algn="l" rtl="0" eaLnBrk="1" fontAlgn="base" hangingPunct="1">
        <a:spcBef>
          <a:spcPct val="0"/>
        </a:spcBef>
        <a:spcAft>
          <a:spcPct val="0"/>
        </a:spcAft>
        <a:defRPr sz="2400" b="1">
          <a:solidFill>
            <a:srgbClr val="990000"/>
          </a:solidFill>
          <a:latin typeface="+mj-lt"/>
          <a:ea typeface="+mj-ea"/>
          <a:cs typeface="+mj-cs"/>
        </a:defRPr>
      </a:lvl1pPr>
      <a:lvl2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5pPr>
      <a:lvl6pPr marL="34285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6pPr>
      <a:lvl7pPr marL="685709"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7pPr>
      <a:lvl8pPr marL="1028563"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8pPr>
      <a:lvl9pPr marL="1371417"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9pPr>
    </p:titleStyle>
    <p:bodyStyle>
      <a:lvl1pPr marL="257141" indent="-257141" algn="l" rtl="0" eaLnBrk="1" fontAlgn="base" hangingPunct="1">
        <a:spcBef>
          <a:spcPct val="20000"/>
        </a:spcBef>
        <a:spcAft>
          <a:spcPct val="0"/>
        </a:spcAft>
        <a:buClr>
          <a:srgbClr val="990000"/>
        </a:buClr>
        <a:buChar char="•"/>
        <a:defRPr sz="1800" b="1">
          <a:solidFill>
            <a:schemeClr val="tx1"/>
          </a:solidFill>
          <a:latin typeface="+mn-lt"/>
          <a:ea typeface="+mn-ea"/>
          <a:cs typeface="+mn-cs"/>
        </a:defRPr>
      </a:lvl1pPr>
      <a:lvl2pPr marL="557138" indent="-214284" algn="l" rtl="0" eaLnBrk="1" fontAlgn="base" hangingPunct="1">
        <a:spcBef>
          <a:spcPct val="20000"/>
        </a:spcBef>
        <a:spcAft>
          <a:spcPct val="0"/>
        </a:spcAft>
        <a:buFont typeface="Arial" charset="0"/>
        <a:buChar char="›"/>
        <a:defRPr sz="1500">
          <a:solidFill>
            <a:schemeClr val="tx1"/>
          </a:solidFill>
          <a:latin typeface="+mn-lt"/>
          <a:ea typeface="+mn-ea"/>
          <a:cs typeface="+mn-cs"/>
        </a:defRPr>
      </a:lvl2pPr>
      <a:lvl3pPr marL="857136" indent="-17142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199990" indent="-171427" algn="l" rtl="0" eaLnBrk="1" fontAlgn="base" hangingPunct="1">
        <a:spcBef>
          <a:spcPct val="20000"/>
        </a:spcBef>
        <a:spcAft>
          <a:spcPct val="0"/>
        </a:spcAft>
        <a:buChar char="–"/>
        <a:defRPr sz="1200">
          <a:solidFill>
            <a:schemeClr val="tx1"/>
          </a:solidFill>
          <a:latin typeface="+mn-lt"/>
          <a:ea typeface="+mn-ea"/>
          <a:cs typeface="+mn-cs"/>
        </a:defRPr>
      </a:lvl4pPr>
      <a:lvl5pPr marL="1542844"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5pPr>
      <a:lvl6pPr marL="1885699"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6pPr>
      <a:lvl7pPr marL="2228553"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7pPr>
      <a:lvl8pPr marL="2571407"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8pPr>
      <a:lvl9pPr marL="2914261"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1192" y="6352"/>
            <a:ext cx="9144399" cy="6853237"/>
          </a:xfrm>
          <a:prstGeom prst="rect">
            <a:avLst/>
          </a:prstGeom>
          <a:blipFill dpi="0" rotWithShape="1">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CC9900"/>
              </a:buClr>
              <a:buFont typeface="Wingdings" pitchFamily="2" charset="2"/>
              <a:buChar char="n"/>
            </a:pPr>
            <a:endParaRPr lang="zh-CN" altLang="en-US" b="1">
              <a:solidFill>
                <a:prstClr val="white"/>
              </a:solidFill>
            </a:endParaRPr>
          </a:p>
        </p:txBody>
      </p:sp>
      <p:sp>
        <p:nvSpPr>
          <p:cNvPr id="1470550" name="Rectangle 86"/>
          <p:cNvSpPr>
            <a:spLocks noChangeArrowheads="1"/>
          </p:cNvSpPr>
          <p:nvPr userDrawn="1"/>
        </p:nvSpPr>
        <p:spPr bwMode="auto">
          <a:xfrm>
            <a:off x="275011" y="6397521"/>
            <a:ext cx="1057183" cy="462069"/>
          </a:xfrm>
          <a:prstGeom prst="rect">
            <a:avLst/>
          </a:prstGeom>
          <a:noFill/>
          <a:ln w="9525">
            <a:noFill/>
            <a:miter lim="800000"/>
            <a:headEnd/>
            <a:tailEnd/>
          </a:ln>
          <a:effectLst/>
        </p:spPr>
        <p:txBody>
          <a:bodyPr lIns="0" tIns="0" rIns="0" bIns="0"/>
          <a:lstStyle/>
          <a:p>
            <a:pPr defTabSz="588090" eaLnBrk="0" hangingPunct="0">
              <a:lnSpc>
                <a:spcPct val="85000"/>
              </a:lnSpc>
            </a:pPr>
            <a:endParaRPr lang="de-DE" sz="750" dirty="0">
              <a:solidFill>
                <a:srgbClr val="000000"/>
              </a:solidFill>
              <a:latin typeface="FrutigerNext LT Light" pitchFamily="34" charset="0"/>
              <a:ea typeface="MS PGothic" pitchFamily="34" charset="-128"/>
            </a:endParaRPr>
          </a:p>
          <a:p>
            <a:pPr defTabSz="588090" eaLnBrk="0" hangingPunct="0">
              <a:lnSpc>
                <a:spcPct val="85000"/>
              </a:lnSpc>
            </a:pPr>
            <a:r>
              <a:rPr lang="de-DE" sz="750" dirty="0">
                <a:solidFill>
                  <a:srgbClr val="000000"/>
                </a:solidFill>
                <a:latin typeface="FrutigerNext LT Light" pitchFamily="34" charset="0"/>
                <a:ea typeface="MS PGothic" pitchFamily="34" charset="-128"/>
              </a:rPr>
              <a:t>Page </a:t>
            </a:r>
            <a:fld id="{E68EC476-442B-4BB7-9603-F1440C241F3D}" type="slidenum">
              <a:rPr lang="de-DE" sz="750">
                <a:solidFill>
                  <a:srgbClr val="000000"/>
                </a:solidFill>
                <a:latin typeface="FrutigerNext LT Light" pitchFamily="34" charset="0"/>
                <a:ea typeface="MS PGothic" pitchFamily="34" charset="-128"/>
              </a:rPr>
              <a:pPr defTabSz="588090" eaLnBrk="0" hangingPunct="0">
                <a:lnSpc>
                  <a:spcPct val="85000"/>
                </a:lnSpc>
              </a:pPr>
              <a:t>‹Nº›</a:t>
            </a:fld>
            <a:endParaRPr lang="en-GB" sz="75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9" cstate="email"/>
          <a:srcRect/>
          <a:stretch>
            <a:fillRect/>
          </a:stretch>
        </p:blipFill>
        <p:spPr bwMode="auto">
          <a:xfrm>
            <a:off x="7636006" y="6387992"/>
            <a:ext cx="971466" cy="308046"/>
          </a:xfrm>
          <a:prstGeom prst="rect">
            <a:avLst/>
          </a:prstGeom>
          <a:noFill/>
        </p:spPr>
      </p:pic>
      <p:sp>
        <p:nvSpPr>
          <p:cNvPr id="63" name="Text Box 5"/>
          <p:cNvSpPr txBox="1">
            <a:spLocks noChangeArrowheads="1"/>
          </p:cNvSpPr>
          <p:nvPr userDrawn="1"/>
        </p:nvSpPr>
        <p:spPr bwMode="auto">
          <a:xfrm>
            <a:off x="3512037" y="6480089"/>
            <a:ext cx="2378215" cy="161583"/>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defRPr/>
            </a:pPr>
            <a:r>
              <a:rPr lang="en-US" altLang="zh-CN" sz="105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53" r:id="rId1"/>
    <p:sldLayoutId id="2147483855" r:id="rId2"/>
    <p:sldLayoutId id="2147483856" r:id="rId3"/>
    <p:sldLayoutId id="2147483857" r:id="rId4"/>
    <p:sldLayoutId id="2147483858" r:id="rId5"/>
  </p:sldLayoutIdLst>
  <p:timing>
    <p:tnLst>
      <p:par>
        <p:cTn id="1" dur="indefinite" restart="never" nodeType="tmRoot"/>
      </p:par>
    </p:tnLst>
  </p:timing>
  <p:hf sldNum="0" hdr="0" ftr="0"/>
  <p:txStyles>
    <p:titleStyle>
      <a:lvl1pPr algn="l" rtl="0" eaLnBrk="1" fontAlgn="base" hangingPunct="1">
        <a:spcBef>
          <a:spcPct val="0"/>
        </a:spcBef>
        <a:spcAft>
          <a:spcPct val="0"/>
        </a:spcAft>
        <a:defRPr sz="2400" b="1">
          <a:solidFill>
            <a:srgbClr val="990000"/>
          </a:solidFill>
          <a:latin typeface="+mj-lt"/>
          <a:ea typeface="+mj-ea"/>
          <a:cs typeface="+mj-cs"/>
        </a:defRPr>
      </a:lvl1pPr>
      <a:lvl2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5pPr>
      <a:lvl6pPr marL="34285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6pPr>
      <a:lvl7pPr marL="685709"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7pPr>
      <a:lvl8pPr marL="1028563"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8pPr>
      <a:lvl9pPr marL="1371417"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9pPr>
    </p:titleStyle>
    <p:bodyStyle>
      <a:lvl1pPr marL="257141" indent="-257141" algn="l" rtl="0" eaLnBrk="1" fontAlgn="base" hangingPunct="1">
        <a:spcBef>
          <a:spcPct val="20000"/>
        </a:spcBef>
        <a:spcAft>
          <a:spcPct val="0"/>
        </a:spcAft>
        <a:buClr>
          <a:srgbClr val="990000"/>
        </a:buClr>
        <a:buChar char="•"/>
        <a:defRPr sz="1800" b="1">
          <a:solidFill>
            <a:schemeClr val="tx1"/>
          </a:solidFill>
          <a:latin typeface="+mn-lt"/>
          <a:ea typeface="+mn-ea"/>
          <a:cs typeface="+mn-cs"/>
        </a:defRPr>
      </a:lvl1pPr>
      <a:lvl2pPr marL="557138" indent="-214284" algn="l" rtl="0" eaLnBrk="1" fontAlgn="base" hangingPunct="1">
        <a:spcBef>
          <a:spcPct val="20000"/>
        </a:spcBef>
        <a:spcAft>
          <a:spcPct val="0"/>
        </a:spcAft>
        <a:buFont typeface="Arial" charset="0"/>
        <a:buChar char="›"/>
        <a:defRPr sz="1500">
          <a:solidFill>
            <a:schemeClr val="tx1"/>
          </a:solidFill>
          <a:latin typeface="+mn-lt"/>
          <a:ea typeface="+mn-ea"/>
          <a:cs typeface="+mn-cs"/>
        </a:defRPr>
      </a:lvl2pPr>
      <a:lvl3pPr marL="857136" indent="-17142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199990" indent="-171427" algn="l" rtl="0" eaLnBrk="1" fontAlgn="base" hangingPunct="1">
        <a:spcBef>
          <a:spcPct val="20000"/>
        </a:spcBef>
        <a:spcAft>
          <a:spcPct val="0"/>
        </a:spcAft>
        <a:buChar char="–"/>
        <a:defRPr sz="1200">
          <a:solidFill>
            <a:schemeClr val="tx1"/>
          </a:solidFill>
          <a:latin typeface="+mn-lt"/>
          <a:ea typeface="+mn-ea"/>
          <a:cs typeface="+mn-cs"/>
        </a:defRPr>
      </a:lvl4pPr>
      <a:lvl5pPr marL="1542844"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5pPr>
      <a:lvl6pPr marL="1885699"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6pPr>
      <a:lvl7pPr marL="2228553"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7pPr>
      <a:lvl8pPr marL="2571407"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8pPr>
      <a:lvl9pPr marL="2914261"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1192" y="6352"/>
            <a:ext cx="9144399" cy="6853237"/>
          </a:xfrm>
          <a:prstGeom prst="rect">
            <a:avLst/>
          </a:prstGeom>
          <a:blipFill dpi="0" rotWithShape="1">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CC9900"/>
              </a:buClr>
              <a:buFont typeface="Wingdings" pitchFamily="2" charset="2"/>
              <a:buChar char="n"/>
            </a:pPr>
            <a:endParaRPr lang="zh-CN" altLang="en-US" b="1">
              <a:solidFill>
                <a:prstClr val="white"/>
              </a:solidFill>
            </a:endParaRPr>
          </a:p>
        </p:txBody>
      </p:sp>
      <p:sp>
        <p:nvSpPr>
          <p:cNvPr id="1470550" name="Rectangle 86"/>
          <p:cNvSpPr>
            <a:spLocks noChangeArrowheads="1"/>
          </p:cNvSpPr>
          <p:nvPr userDrawn="1"/>
        </p:nvSpPr>
        <p:spPr bwMode="auto">
          <a:xfrm>
            <a:off x="275011" y="6397521"/>
            <a:ext cx="1057183" cy="462069"/>
          </a:xfrm>
          <a:prstGeom prst="rect">
            <a:avLst/>
          </a:prstGeom>
          <a:noFill/>
          <a:ln w="9525">
            <a:noFill/>
            <a:miter lim="800000"/>
            <a:headEnd/>
            <a:tailEnd/>
          </a:ln>
          <a:effectLst/>
        </p:spPr>
        <p:txBody>
          <a:bodyPr lIns="0" tIns="0" rIns="0" bIns="0"/>
          <a:lstStyle/>
          <a:p>
            <a:pPr defTabSz="588090" eaLnBrk="0" hangingPunct="0">
              <a:lnSpc>
                <a:spcPct val="85000"/>
              </a:lnSpc>
            </a:pPr>
            <a:endParaRPr lang="de-DE" sz="750" dirty="0">
              <a:solidFill>
                <a:srgbClr val="000000"/>
              </a:solidFill>
              <a:latin typeface="FrutigerNext LT Light" pitchFamily="34" charset="0"/>
              <a:ea typeface="MS PGothic" pitchFamily="34" charset="-128"/>
            </a:endParaRPr>
          </a:p>
          <a:p>
            <a:pPr defTabSz="588090" eaLnBrk="0" hangingPunct="0">
              <a:lnSpc>
                <a:spcPct val="85000"/>
              </a:lnSpc>
            </a:pPr>
            <a:r>
              <a:rPr lang="de-DE" sz="750" dirty="0">
                <a:solidFill>
                  <a:srgbClr val="000000"/>
                </a:solidFill>
                <a:latin typeface="FrutigerNext LT Light" pitchFamily="34" charset="0"/>
                <a:ea typeface="MS PGothic" pitchFamily="34" charset="-128"/>
              </a:rPr>
              <a:t>Page </a:t>
            </a:r>
            <a:fld id="{E68EC476-442B-4BB7-9603-F1440C241F3D}" type="slidenum">
              <a:rPr lang="de-DE" sz="750">
                <a:solidFill>
                  <a:srgbClr val="000000"/>
                </a:solidFill>
                <a:latin typeface="FrutigerNext LT Light" pitchFamily="34" charset="0"/>
                <a:ea typeface="MS PGothic" pitchFamily="34" charset="-128"/>
              </a:rPr>
              <a:pPr defTabSz="588090" eaLnBrk="0" hangingPunct="0">
                <a:lnSpc>
                  <a:spcPct val="85000"/>
                </a:lnSpc>
              </a:pPr>
              <a:t>‹Nº›</a:t>
            </a:fld>
            <a:endParaRPr lang="en-GB" sz="75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9" cstate="email"/>
          <a:srcRect/>
          <a:stretch>
            <a:fillRect/>
          </a:stretch>
        </p:blipFill>
        <p:spPr bwMode="auto">
          <a:xfrm>
            <a:off x="7636006" y="6387992"/>
            <a:ext cx="971466" cy="308046"/>
          </a:xfrm>
          <a:prstGeom prst="rect">
            <a:avLst/>
          </a:prstGeom>
          <a:noFill/>
        </p:spPr>
      </p:pic>
      <p:sp>
        <p:nvSpPr>
          <p:cNvPr id="63" name="Text Box 5"/>
          <p:cNvSpPr txBox="1">
            <a:spLocks noChangeArrowheads="1"/>
          </p:cNvSpPr>
          <p:nvPr userDrawn="1"/>
        </p:nvSpPr>
        <p:spPr bwMode="auto">
          <a:xfrm>
            <a:off x="3512037" y="6480089"/>
            <a:ext cx="2378215" cy="161583"/>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defRPr/>
            </a:pPr>
            <a:r>
              <a:rPr lang="en-US" altLang="zh-CN" sz="105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60" r:id="rId1"/>
    <p:sldLayoutId id="2147483862" r:id="rId2"/>
    <p:sldLayoutId id="2147483863" r:id="rId3"/>
    <p:sldLayoutId id="2147483864" r:id="rId4"/>
    <p:sldLayoutId id="2147483865" r:id="rId5"/>
  </p:sldLayoutIdLst>
  <p:timing>
    <p:tnLst>
      <p:par>
        <p:cTn id="1" dur="indefinite" restart="never" nodeType="tmRoot"/>
      </p:par>
    </p:tnLst>
  </p:timing>
  <p:hf sldNum="0" hdr="0" ftr="0"/>
  <p:txStyles>
    <p:titleStyle>
      <a:lvl1pPr algn="l" rtl="0" eaLnBrk="1" fontAlgn="base" hangingPunct="1">
        <a:spcBef>
          <a:spcPct val="0"/>
        </a:spcBef>
        <a:spcAft>
          <a:spcPct val="0"/>
        </a:spcAft>
        <a:defRPr sz="2400" b="1">
          <a:solidFill>
            <a:srgbClr val="990000"/>
          </a:solidFill>
          <a:latin typeface="+mj-lt"/>
          <a:ea typeface="+mj-ea"/>
          <a:cs typeface="+mj-cs"/>
        </a:defRPr>
      </a:lvl1pPr>
      <a:lvl2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5pPr>
      <a:lvl6pPr marL="34285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6pPr>
      <a:lvl7pPr marL="685709"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7pPr>
      <a:lvl8pPr marL="1028563"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8pPr>
      <a:lvl9pPr marL="1371417"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9pPr>
    </p:titleStyle>
    <p:bodyStyle>
      <a:lvl1pPr marL="257141" indent="-257141" algn="l" rtl="0" eaLnBrk="1" fontAlgn="base" hangingPunct="1">
        <a:spcBef>
          <a:spcPct val="20000"/>
        </a:spcBef>
        <a:spcAft>
          <a:spcPct val="0"/>
        </a:spcAft>
        <a:buClr>
          <a:srgbClr val="990000"/>
        </a:buClr>
        <a:buChar char="•"/>
        <a:defRPr sz="1800" b="1">
          <a:solidFill>
            <a:schemeClr val="tx1"/>
          </a:solidFill>
          <a:latin typeface="+mn-lt"/>
          <a:ea typeface="+mn-ea"/>
          <a:cs typeface="+mn-cs"/>
        </a:defRPr>
      </a:lvl1pPr>
      <a:lvl2pPr marL="557138" indent="-214284" algn="l" rtl="0" eaLnBrk="1" fontAlgn="base" hangingPunct="1">
        <a:spcBef>
          <a:spcPct val="20000"/>
        </a:spcBef>
        <a:spcAft>
          <a:spcPct val="0"/>
        </a:spcAft>
        <a:buFont typeface="Arial" charset="0"/>
        <a:buChar char="›"/>
        <a:defRPr sz="1500">
          <a:solidFill>
            <a:schemeClr val="tx1"/>
          </a:solidFill>
          <a:latin typeface="+mn-lt"/>
          <a:ea typeface="+mn-ea"/>
          <a:cs typeface="+mn-cs"/>
        </a:defRPr>
      </a:lvl2pPr>
      <a:lvl3pPr marL="857136" indent="-17142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199990" indent="-171427" algn="l" rtl="0" eaLnBrk="1" fontAlgn="base" hangingPunct="1">
        <a:spcBef>
          <a:spcPct val="20000"/>
        </a:spcBef>
        <a:spcAft>
          <a:spcPct val="0"/>
        </a:spcAft>
        <a:buChar char="–"/>
        <a:defRPr sz="1200">
          <a:solidFill>
            <a:schemeClr val="tx1"/>
          </a:solidFill>
          <a:latin typeface="+mn-lt"/>
          <a:ea typeface="+mn-ea"/>
          <a:cs typeface="+mn-cs"/>
        </a:defRPr>
      </a:lvl4pPr>
      <a:lvl5pPr marL="1542844"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5pPr>
      <a:lvl6pPr marL="1885699"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6pPr>
      <a:lvl7pPr marL="2228553"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7pPr>
      <a:lvl8pPr marL="2571407"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8pPr>
      <a:lvl9pPr marL="2914261"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1192" y="6352"/>
            <a:ext cx="9144399" cy="6853237"/>
          </a:xfrm>
          <a:prstGeom prst="rect">
            <a:avLst/>
          </a:prstGeom>
          <a:blipFill dpi="0" rotWithShape="1">
            <a:blip r:embed="rId7" cstate="email">
              <a:duotone>
                <a:prstClr val="black"/>
                <a:schemeClr val="accent4">
                  <a:tint val="45000"/>
                  <a:satMod val="400000"/>
                </a:schemeClr>
              </a:duotone>
              <a:extLst>
                <a:ext uri="{BEBA8EAE-BF5A-486C-A8C5-ECC9F3942E4B}">
                  <a14:imgProps xmlns:a14="http://schemas.microsoft.com/office/drawing/2010/main">
                    <a14:imgLayer r:embed="rId8">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CC9900"/>
              </a:buClr>
              <a:buFont typeface="Wingdings" pitchFamily="2" charset="2"/>
              <a:buChar char="n"/>
            </a:pPr>
            <a:endParaRPr lang="zh-CN" altLang="en-US" b="1">
              <a:solidFill>
                <a:prstClr val="white"/>
              </a:solidFill>
            </a:endParaRPr>
          </a:p>
        </p:txBody>
      </p:sp>
      <p:sp>
        <p:nvSpPr>
          <p:cNvPr id="1470550" name="Rectangle 86"/>
          <p:cNvSpPr>
            <a:spLocks noChangeArrowheads="1"/>
          </p:cNvSpPr>
          <p:nvPr userDrawn="1"/>
        </p:nvSpPr>
        <p:spPr bwMode="auto">
          <a:xfrm>
            <a:off x="275011" y="6397521"/>
            <a:ext cx="1057183" cy="462069"/>
          </a:xfrm>
          <a:prstGeom prst="rect">
            <a:avLst/>
          </a:prstGeom>
          <a:noFill/>
          <a:ln w="9525">
            <a:noFill/>
            <a:miter lim="800000"/>
            <a:headEnd/>
            <a:tailEnd/>
          </a:ln>
          <a:effectLst/>
        </p:spPr>
        <p:txBody>
          <a:bodyPr lIns="0" tIns="0" rIns="0" bIns="0"/>
          <a:lstStyle/>
          <a:p>
            <a:pPr defTabSz="588090" eaLnBrk="0" hangingPunct="0">
              <a:lnSpc>
                <a:spcPct val="85000"/>
              </a:lnSpc>
            </a:pPr>
            <a:endParaRPr lang="de-DE" sz="750" dirty="0">
              <a:solidFill>
                <a:srgbClr val="000000"/>
              </a:solidFill>
              <a:latin typeface="FrutigerNext LT Light" pitchFamily="34" charset="0"/>
              <a:ea typeface="MS PGothic" pitchFamily="34" charset="-128"/>
            </a:endParaRPr>
          </a:p>
          <a:p>
            <a:pPr defTabSz="588090" eaLnBrk="0" hangingPunct="0">
              <a:lnSpc>
                <a:spcPct val="85000"/>
              </a:lnSpc>
            </a:pPr>
            <a:r>
              <a:rPr lang="de-DE" sz="750" dirty="0">
                <a:solidFill>
                  <a:srgbClr val="000000"/>
                </a:solidFill>
                <a:latin typeface="FrutigerNext LT Light" pitchFamily="34" charset="0"/>
                <a:ea typeface="MS PGothic" pitchFamily="34" charset="-128"/>
              </a:rPr>
              <a:t>Page </a:t>
            </a:r>
            <a:fld id="{E68EC476-442B-4BB7-9603-F1440C241F3D}" type="slidenum">
              <a:rPr lang="de-DE" sz="750">
                <a:solidFill>
                  <a:srgbClr val="000000"/>
                </a:solidFill>
                <a:latin typeface="FrutigerNext LT Light" pitchFamily="34" charset="0"/>
                <a:ea typeface="MS PGothic" pitchFamily="34" charset="-128"/>
              </a:rPr>
              <a:pPr defTabSz="588090" eaLnBrk="0" hangingPunct="0">
                <a:lnSpc>
                  <a:spcPct val="85000"/>
                </a:lnSpc>
              </a:pPr>
              <a:t>‹Nº›</a:t>
            </a:fld>
            <a:endParaRPr lang="en-GB" sz="75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9" cstate="email"/>
          <a:srcRect/>
          <a:stretch>
            <a:fillRect/>
          </a:stretch>
        </p:blipFill>
        <p:spPr bwMode="auto">
          <a:xfrm>
            <a:off x="7636006" y="6387992"/>
            <a:ext cx="971466" cy="308046"/>
          </a:xfrm>
          <a:prstGeom prst="rect">
            <a:avLst/>
          </a:prstGeom>
          <a:noFill/>
        </p:spPr>
      </p:pic>
      <p:sp>
        <p:nvSpPr>
          <p:cNvPr id="63" name="Text Box 5"/>
          <p:cNvSpPr txBox="1">
            <a:spLocks noChangeArrowheads="1"/>
          </p:cNvSpPr>
          <p:nvPr userDrawn="1"/>
        </p:nvSpPr>
        <p:spPr bwMode="auto">
          <a:xfrm>
            <a:off x="3512037" y="6480089"/>
            <a:ext cx="2378215" cy="161583"/>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defRPr/>
            </a:pPr>
            <a:r>
              <a:rPr lang="en-US" altLang="zh-CN" sz="105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67" r:id="rId1"/>
    <p:sldLayoutId id="2147483869" r:id="rId2"/>
    <p:sldLayoutId id="2147483870" r:id="rId3"/>
    <p:sldLayoutId id="2147483871" r:id="rId4"/>
    <p:sldLayoutId id="2147483872" r:id="rId5"/>
  </p:sldLayoutIdLst>
  <p:timing>
    <p:tnLst>
      <p:par>
        <p:cTn id="1" dur="indefinite" restart="never" nodeType="tmRoot"/>
      </p:par>
    </p:tnLst>
  </p:timing>
  <p:hf sldNum="0" hdr="0" ftr="0"/>
  <p:txStyles>
    <p:titleStyle>
      <a:lvl1pPr algn="l" rtl="0" eaLnBrk="1" fontAlgn="base" hangingPunct="1">
        <a:spcBef>
          <a:spcPct val="0"/>
        </a:spcBef>
        <a:spcAft>
          <a:spcPct val="0"/>
        </a:spcAft>
        <a:defRPr sz="2400" b="1">
          <a:solidFill>
            <a:srgbClr val="990000"/>
          </a:solidFill>
          <a:latin typeface="+mj-lt"/>
          <a:ea typeface="+mj-ea"/>
          <a:cs typeface="+mj-cs"/>
        </a:defRPr>
      </a:lvl1pPr>
      <a:lvl2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5pPr>
      <a:lvl6pPr marL="34285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6pPr>
      <a:lvl7pPr marL="685709"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7pPr>
      <a:lvl8pPr marL="1028563"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8pPr>
      <a:lvl9pPr marL="1371417"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9pPr>
    </p:titleStyle>
    <p:bodyStyle>
      <a:lvl1pPr marL="257141" indent="-257141" algn="l" rtl="0" eaLnBrk="1" fontAlgn="base" hangingPunct="1">
        <a:spcBef>
          <a:spcPct val="20000"/>
        </a:spcBef>
        <a:spcAft>
          <a:spcPct val="0"/>
        </a:spcAft>
        <a:buClr>
          <a:srgbClr val="990000"/>
        </a:buClr>
        <a:buChar char="•"/>
        <a:defRPr sz="1800" b="1">
          <a:solidFill>
            <a:schemeClr val="tx1"/>
          </a:solidFill>
          <a:latin typeface="+mn-lt"/>
          <a:ea typeface="+mn-ea"/>
          <a:cs typeface="+mn-cs"/>
        </a:defRPr>
      </a:lvl1pPr>
      <a:lvl2pPr marL="557138" indent="-214284" algn="l" rtl="0" eaLnBrk="1" fontAlgn="base" hangingPunct="1">
        <a:spcBef>
          <a:spcPct val="20000"/>
        </a:spcBef>
        <a:spcAft>
          <a:spcPct val="0"/>
        </a:spcAft>
        <a:buFont typeface="Arial" charset="0"/>
        <a:buChar char="›"/>
        <a:defRPr sz="1500">
          <a:solidFill>
            <a:schemeClr val="tx1"/>
          </a:solidFill>
          <a:latin typeface="+mn-lt"/>
          <a:ea typeface="+mn-ea"/>
          <a:cs typeface="+mn-cs"/>
        </a:defRPr>
      </a:lvl2pPr>
      <a:lvl3pPr marL="857136" indent="-17142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199990" indent="-171427" algn="l" rtl="0" eaLnBrk="1" fontAlgn="base" hangingPunct="1">
        <a:spcBef>
          <a:spcPct val="20000"/>
        </a:spcBef>
        <a:spcAft>
          <a:spcPct val="0"/>
        </a:spcAft>
        <a:buChar char="–"/>
        <a:defRPr sz="1200">
          <a:solidFill>
            <a:schemeClr val="tx1"/>
          </a:solidFill>
          <a:latin typeface="+mn-lt"/>
          <a:ea typeface="+mn-ea"/>
          <a:cs typeface="+mn-cs"/>
        </a:defRPr>
      </a:lvl4pPr>
      <a:lvl5pPr marL="1542844"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5pPr>
      <a:lvl6pPr marL="1885699"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6pPr>
      <a:lvl7pPr marL="2228553"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7pPr>
      <a:lvl8pPr marL="2571407"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8pPr>
      <a:lvl9pPr marL="2914261"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1192" y="6352"/>
            <a:ext cx="9144399" cy="6853237"/>
          </a:xfrm>
          <a:prstGeom prst="rect">
            <a:avLst/>
          </a:prstGeom>
          <a:blipFill dpi="0" rotWithShape="1">
            <a:blip r:embed="rId4" cstate="print">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CC9900"/>
              </a:buClr>
              <a:buFont typeface="Wingdings" pitchFamily="2" charset="2"/>
              <a:buChar char="n"/>
            </a:pPr>
            <a:endParaRPr lang="zh-CN" altLang="en-US" b="1">
              <a:solidFill>
                <a:prstClr val="white"/>
              </a:solidFill>
            </a:endParaRPr>
          </a:p>
        </p:txBody>
      </p:sp>
      <p:sp>
        <p:nvSpPr>
          <p:cNvPr id="1470550" name="Rectangle 86"/>
          <p:cNvSpPr>
            <a:spLocks noChangeArrowheads="1"/>
          </p:cNvSpPr>
          <p:nvPr userDrawn="1"/>
        </p:nvSpPr>
        <p:spPr bwMode="auto">
          <a:xfrm>
            <a:off x="275011" y="6397521"/>
            <a:ext cx="1057183" cy="462069"/>
          </a:xfrm>
          <a:prstGeom prst="rect">
            <a:avLst/>
          </a:prstGeom>
          <a:noFill/>
          <a:ln w="9525">
            <a:noFill/>
            <a:miter lim="800000"/>
            <a:headEnd/>
            <a:tailEnd/>
          </a:ln>
          <a:effectLst/>
        </p:spPr>
        <p:txBody>
          <a:bodyPr lIns="0" tIns="0" rIns="0" bIns="0"/>
          <a:lstStyle/>
          <a:p>
            <a:pPr defTabSz="588090" eaLnBrk="0" hangingPunct="0">
              <a:lnSpc>
                <a:spcPct val="85000"/>
              </a:lnSpc>
            </a:pPr>
            <a:endParaRPr lang="de-DE" sz="750" dirty="0">
              <a:solidFill>
                <a:srgbClr val="000000"/>
              </a:solidFill>
              <a:latin typeface="FrutigerNext LT Light" pitchFamily="34" charset="0"/>
              <a:ea typeface="MS PGothic" pitchFamily="34" charset="-128"/>
            </a:endParaRPr>
          </a:p>
          <a:p>
            <a:pPr defTabSz="588090" eaLnBrk="0" hangingPunct="0">
              <a:lnSpc>
                <a:spcPct val="85000"/>
              </a:lnSpc>
            </a:pPr>
            <a:r>
              <a:rPr lang="de-DE" sz="750" dirty="0">
                <a:solidFill>
                  <a:srgbClr val="000000"/>
                </a:solidFill>
                <a:latin typeface="FrutigerNext LT Light" pitchFamily="34" charset="0"/>
                <a:ea typeface="MS PGothic" pitchFamily="34" charset="-128"/>
              </a:rPr>
              <a:t>Page </a:t>
            </a:r>
            <a:fld id="{E68EC476-442B-4BB7-9603-F1440C241F3D}" type="slidenum">
              <a:rPr lang="de-DE" sz="750">
                <a:solidFill>
                  <a:srgbClr val="000000"/>
                </a:solidFill>
                <a:latin typeface="FrutigerNext LT Light" pitchFamily="34" charset="0"/>
                <a:ea typeface="MS PGothic" pitchFamily="34" charset="-128"/>
              </a:rPr>
              <a:pPr defTabSz="588090" eaLnBrk="0" hangingPunct="0">
                <a:lnSpc>
                  <a:spcPct val="85000"/>
                </a:lnSpc>
              </a:pPr>
              <a:t>‹Nº›</a:t>
            </a:fld>
            <a:endParaRPr lang="en-GB" sz="750" dirty="0">
              <a:solidFill>
                <a:srgbClr val="000000"/>
              </a:solidFill>
              <a:latin typeface="FrutigerNext LT Light" pitchFamily="34" charset="0"/>
              <a:ea typeface="MS PGothic" pitchFamily="34" charset="-128"/>
            </a:endParaRPr>
          </a:p>
        </p:txBody>
      </p:sp>
      <p:pic>
        <p:nvPicPr>
          <p:cNvPr id="1470551" name="Picture 87" descr="图片3副本"/>
          <p:cNvPicPr>
            <a:picLocks noChangeAspect="1" noChangeArrowheads="1"/>
          </p:cNvPicPr>
          <p:nvPr userDrawn="1"/>
        </p:nvPicPr>
        <p:blipFill>
          <a:blip r:embed="rId6" cstate="print"/>
          <a:srcRect/>
          <a:stretch>
            <a:fillRect/>
          </a:stretch>
        </p:blipFill>
        <p:spPr bwMode="auto">
          <a:xfrm>
            <a:off x="7636006" y="6387992"/>
            <a:ext cx="971466" cy="308046"/>
          </a:xfrm>
          <a:prstGeom prst="rect">
            <a:avLst/>
          </a:prstGeom>
          <a:noFill/>
        </p:spPr>
      </p:pic>
      <p:sp>
        <p:nvSpPr>
          <p:cNvPr id="63" name="Text Box 5"/>
          <p:cNvSpPr txBox="1">
            <a:spLocks noChangeArrowheads="1"/>
          </p:cNvSpPr>
          <p:nvPr userDrawn="1"/>
        </p:nvSpPr>
        <p:spPr bwMode="auto">
          <a:xfrm>
            <a:off x="3512037" y="6480089"/>
            <a:ext cx="2378215" cy="161583"/>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fontAlgn="auto">
              <a:spcBef>
                <a:spcPts val="0"/>
              </a:spcBef>
              <a:spcAft>
                <a:spcPts val="0"/>
              </a:spcAft>
              <a:defRPr/>
            </a:pPr>
            <a:r>
              <a:rPr lang="en-US" altLang="zh-CN" sz="1050" kern="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74" r:id="rId1"/>
    <p:sldLayoutId id="2147483879" r:id="rId2"/>
  </p:sldLayoutIdLst>
  <p:timing>
    <p:tnLst>
      <p:par>
        <p:cTn id="1" dur="indefinite" restart="never" nodeType="tmRoot"/>
      </p:par>
    </p:tnLst>
  </p:timing>
  <p:hf sldNum="0" hdr="0" ftr="0"/>
  <p:txStyles>
    <p:titleStyle>
      <a:lvl1pPr algn="l" rtl="0" eaLnBrk="1" fontAlgn="base" hangingPunct="1">
        <a:spcBef>
          <a:spcPct val="0"/>
        </a:spcBef>
        <a:spcAft>
          <a:spcPct val="0"/>
        </a:spcAft>
        <a:defRPr sz="2400" b="1">
          <a:solidFill>
            <a:srgbClr val="990000"/>
          </a:solidFill>
          <a:latin typeface="+mj-lt"/>
          <a:ea typeface="+mj-ea"/>
          <a:cs typeface="+mj-cs"/>
        </a:defRPr>
      </a:lvl1pPr>
      <a:lvl2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5pPr>
      <a:lvl6pPr marL="34285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6pPr>
      <a:lvl7pPr marL="685709"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7pPr>
      <a:lvl8pPr marL="1028563"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8pPr>
      <a:lvl9pPr marL="1371417"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9pPr>
    </p:titleStyle>
    <p:bodyStyle>
      <a:lvl1pPr marL="257141" indent="-257141" algn="l" rtl="0" eaLnBrk="1" fontAlgn="base" hangingPunct="1">
        <a:spcBef>
          <a:spcPct val="20000"/>
        </a:spcBef>
        <a:spcAft>
          <a:spcPct val="0"/>
        </a:spcAft>
        <a:buClr>
          <a:srgbClr val="990000"/>
        </a:buClr>
        <a:buChar char="•"/>
        <a:defRPr sz="1800" b="1">
          <a:solidFill>
            <a:schemeClr val="tx1"/>
          </a:solidFill>
          <a:latin typeface="+mn-lt"/>
          <a:ea typeface="+mn-ea"/>
          <a:cs typeface="+mn-cs"/>
        </a:defRPr>
      </a:lvl1pPr>
      <a:lvl2pPr marL="557138" indent="-214284" algn="l" rtl="0" eaLnBrk="1" fontAlgn="base" hangingPunct="1">
        <a:spcBef>
          <a:spcPct val="20000"/>
        </a:spcBef>
        <a:spcAft>
          <a:spcPct val="0"/>
        </a:spcAft>
        <a:buFont typeface="Arial" charset="0"/>
        <a:buChar char="›"/>
        <a:defRPr sz="1500">
          <a:solidFill>
            <a:schemeClr val="tx1"/>
          </a:solidFill>
          <a:latin typeface="+mn-lt"/>
          <a:ea typeface="+mn-ea"/>
          <a:cs typeface="+mn-cs"/>
        </a:defRPr>
      </a:lvl2pPr>
      <a:lvl3pPr marL="857136" indent="-171427"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199990" indent="-171427" algn="l" rtl="0" eaLnBrk="1" fontAlgn="base" hangingPunct="1">
        <a:spcBef>
          <a:spcPct val="20000"/>
        </a:spcBef>
        <a:spcAft>
          <a:spcPct val="0"/>
        </a:spcAft>
        <a:buChar char="–"/>
        <a:defRPr sz="1200">
          <a:solidFill>
            <a:schemeClr val="tx1"/>
          </a:solidFill>
          <a:latin typeface="+mn-lt"/>
          <a:ea typeface="+mn-ea"/>
          <a:cs typeface="+mn-cs"/>
        </a:defRPr>
      </a:lvl4pPr>
      <a:lvl5pPr marL="1542844"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5pPr>
      <a:lvl6pPr marL="1885699"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6pPr>
      <a:lvl7pPr marL="2228553"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7pPr>
      <a:lvl8pPr marL="2571407"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8pPr>
      <a:lvl9pPr marL="2914261" indent="-171427" algn="l" rtl="0" eaLnBrk="1" fontAlgn="base" hangingPunct="1">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709" rtl="0" eaLnBrk="1" latinLnBrk="0" hangingPunct="1">
        <a:defRPr sz="1350" kern="1200">
          <a:solidFill>
            <a:schemeClr val="tx1"/>
          </a:solidFill>
          <a:latin typeface="+mn-lt"/>
          <a:ea typeface="+mn-ea"/>
          <a:cs typeface="+mn-cs"/>
        </a:defRPr>
      </a:lvl1pPr>
      <a:lvl2pPr marL="342854" algn="l" defTabSz="685709" rtl="0" eaLnBrk="1" latinLnBrk="0" hangingPunct="1">
        <a:defRPr sz="1350" kern="1200">
          <a:solidFill>
            <a:schemeClr val="tx1"/>
          </a:solidFill>
          <a:latin typeface="+mn-lt"/>
          <a:ea typeface="+mn-ea"/>
          <a:cs typeface="+mn-cs"/>
        </a:defRPr>
      </a:lvl2pPr>
      <a:lvl3pPr marL="685709" algn="l" defTabSz="685709" rtl="0" eaLnBrk="1" latinLnBrk="0" hangingPunct="1">
        <a:defRPr sz="1350" kern="1200">
          <a:solidFill>
            <a:schemeClr val="tx1"/>
          </a:solidFill>
          <a:latin typeface="+mn-lt"/>
          <a:ea typeface="+mn-ea"/>
          <a:cs typeface="+mn-cs"/>
        </a:defRPr>
      </a:lvl3pPr>
      <a:lvl4pPr marL="1028563" algn="l" defTabSz="685709" rtl="0" eaLnBrk="1" latinLnBrk="0" hangingPunct="1">
        <a:defRPr sz="1350" kern="1200">
          <a:solidFill>
            <a:schemeClr val="tx1"/>
          </a:solidFill>
          <a:latin typeface="+mn-lt"/>
          <a:ea typeface="+mn-ea"/>
          <a:cs typeface="+mn-cs"/>
        </a:defRPr>
      </a:lvl4pPr>
      <a:lvl5pPr marL="1371417" algn="l" defTabSz="685709" rtl="0" eaLnBrk="1" latinLnBrk="0" hangingPunct="1">
        <a:defRPr sz="1350" kern="1200">
          <a:solidFill>
            <a:schemeClr val="tx1"/>
          </a:solidFill>
          <a:latin typeface="+mn-lt"/>
          <a:ea typeface="+mn-ea"/>
          <a:cs typeface="+mn-cs"/>
        </a:defRPr>
      </a:lvl5pPr>
      <a:lvl6pPr marL="1714271" algn="l" defTabSz="685709" rtl="0" eaLnBrk="1" latinLnBrk="0" hangingPunct="1">
        <a:defRPr sz="1350" kern="1200">
          <a:solidFill>
            <a:schemeClr val="tx1"/>
          </a:solidFill>
          <a:latin typeface="+mn-lt"/>
          <a:ea typeface="+mn-ea"/>
          <a:cs typeface="+mn-cs"/>
        </a:defRPr>
      </a:lvl6pPr>
      <a:lvl7pPr marL="2057126" algn="l" defTabSz="685709" rtl="0" eaLnBrk="1" latinLnBrk="0" hangingPunct="1">
        <a:defRPr sz="1350" kern="1200">
          <a:solidFill>
            <a:schemeClr val="tx1"/>
          </a:solidFill>
          <a:latin typeface="+mn-lt"/>
          <a:ea typeface="+mn-ea"/>
          <a:cs typeface="+mn-cs"/>
        </a:defRPr>
      </a:lvl7pPr>
      <a:lvl8pPr marL="2399980" algn="l" defTabSz="685709" rtl="0" eaLnBrk="1" latinLnBrk="0" hangingPunct="1">
        <a:defRPr sz="1350" kern="1200">
          <a:solidFill>
            <a:schemeClr val="tx1"/>
          </a:solidFill>
          <a:latin typeface="+mn-lt"/>
          <a:ea typeface="+mn-ea"/>
          <a:cs typeface="+mn-cs"/>
        </a:defRPr>
      </a:lvl8pPr>
      <a:lvl9pPr marL="2742834" algn="l" defTabSz="685709"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77"/>
          <p:cNvGrpSpPr>
            <a:grpSpLocks/>
          </p:cNvGrpSpPr>
          <p:nvPr/>
        </p:nvGrpSpPr>
        <p:grpSpPr bwMode="auto">
          <a:xfrm>
            <a:off x="9326596" y="3504426"/>
            <a:ext cx="919323" cy="3224960"/>
            <a:chOff x="5839" y="2251"/>
            <a:chExt cx="579" cy="2031"/>
          </a:xfrm>
        </p:grpSpPr>
        <p:sp>
          <p:nvSpPr>
            <p:cNvPr id="1038" name="Rectangle 78"/>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srgbClr val="000000"/>
                </a:solidFill>
              </a:endParaRPr>
            </a:p>
          </p:txBody>
        </p:sp>
        <p:grpSp>
          <p:nvGrpSpPr>
            <p:cNvPr id="3" name="Group 79"/>
            <p:cNvGrpSpPr>
              <a:grpSpLocks/>
            </p:cNvGrpSpPr>
            <p:nvPr userDrawn="1"/>
          </p:nvGrpSpPr>
          <p:grpSpPr bwMode="auto">
            <a:xfrm>
              <a:off x="5893" y="2387"/>
              <a:ext cx="466" cy="115"/>
              <a:chOff x="5893" y="2387"/>
              <a:chExt cx="466" cy="115"/>
            </a:xfrm>
          </p:grpSpPr>
          <p:sp>
            <p:nvSpPr>
              <p:cNvPr id="1100" name="Rectangle 80"/>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101" name="Rectangle 81"/>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102" name="Rectangle 82"/>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103" name="Rectangle 83"/>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4" name="Group 84"/>
            <p:cNvGrpSpPr>
              <a:grpSpLocks/>
            </p:cNvGrpSpPr>
            <p:nvPr userDrawn="1"/>
          </p:nvGrpSpPr>
          <p:grpSpPr bwMode="auto">
            <a:xfrm>
              <a:off x="5893" y="2523"/>
              <a:ext cx="466" cy="115"/>
              <a:chOff x="5893" y="2523"/>
              <a:chExt cx="466" cy="115"/>
            </a:xfrm>
          </p:grpSpPr>
          <p:sp>
            <p:nvSpPr>
              <p:cNvPr id="1096" name="Rectangle 85"/>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97" name="Rectangle 86"/>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98" name="Rectangle 87"/>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99" name="Rectangle 88"/>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5" name="Group 89"/>
            <p:cNvGrpSpPr>
              <a:grpSpLocks/>
            </p:cNvGrpSpPr>
            <p:nvPr userDrawn="1"/>
          </p:nvGrpSpPr>
          <p:grpSpPr bwMode="auto">
            <a:xfrm>
              <a:off x="5893" y="2659"/>
              <a:ext cx="466" cy="115"/>
              <a:chOff x="5893" y="2659"/>
              <a:chExt cx="466" cy="115"/>
            </a:xfrm>
          </p:grpSpPr>
          <p:sp>
            <p:nvSpPr>
              <p:cNvPr id="1092" name="Rectangle 90"/>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93" name="Rectangle 91"/>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94" name="Rectangle 92"/>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95" name="Rectangle 93"/>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6" name="Group 94"/>
            <p:cNvGrpSpPr>
              <a:grpSpLocks/>
            </p:cNvGrpSpPr>
            <p:nvPr userDrawn="1"/>
          </p:nvGrpSpPr>
          <p:grpSpPr bwMode="auto">
            <a:xfrm>
              <a:off x="5893" y="2251"/>
              <a:ext cx="466" cy="119"/>
              <a:chOff x="5893" y="2251"/>
              <a:chExt cx="466" cy="119"/>
            </a:xfrm>
          </p:grpSpPr>
          <p:sp>
            <p:nvSpPr>
              <p:cNvPr id="1088" name="Rectangle 95"/>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89" name="Rectangle 96"/>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90" name="Rectangle 97"/>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91" name="Rectangle 98"/>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7" name="Group 99"/>
            <p:cNvGrpSpPr>
              <a:grpSpLocks/>
            </p:cNvGrpSpPr>
            <p:nvPr userDrawn="1"/>
          </p:nvGrpSpPr>
          <p:grpSpPr bwMode="auto">
            <a:xfrm>
              <a:off x="5893" y="2886"/>
              <a:ext cx="466" cy="115"/>
              <a:chOff x="5893" y="2886"/>
              <a:chExt cx="466" cy="115"/>
            </a:xfrm>
          </p:grpSpPr>
          <p:sp>
            <p:nvSpPr>
              <p:cNvPr id="1084" name="Rectangle 100"/>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85" name="Rectangle 101"/>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86" name="Rectangle 102"/>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87" name="Rectangle 103"/>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8" name="Group 104"/>
            <p:cNvGrpSpPr>
              <a:grpSpLocks/>
            </p:cNvGrpSpPr>
            <p:nvPr userDrawn="1"/>
          </p:nvGrpSpPr>
          <p:grpSpPr bwMode="auto">
            <a:xfrm>
              <a:off x="5893" y="3022"/>
              <a:ext cx="466" cy="115"/>
              <a:chOff x="5893" y="3022"/>
              <a:chExt cx="466" cy="115"/>
            </a:xfrm>
          </p:grpSpPr>
          <p:sp>
            <p:nvSpPr>
              <p:cNvPr id="1080" name="Rectangle 105"/>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81" name="Rectangle 106"/>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82" name="Rectangle 107"/>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83" name="Rectangle 108"/>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9" name="Group 109"/>
            <p:cNvGrpSpPr>
              <a:grpSpLocks/>
            </p:cNvGrpSpPr>
            <p:nvPr userDrawn="1"/>
          </p:nvGrpSpPr>
          <p:grpSpPr bwMode="auto">
            <a:xfrm>
              <a:off x="5893" y="3158"/>
              <a:ext cx="466" cy="115"/>
              <a:chOff x="5893" y="3158"/>
              <a:chExt cx="466" cy="115"/>
            </a:xfrm>
          </p:grpSpPr>
          <p:sp>
            <p:nvSpPr>
              <p:cNvPr id="1076" name="Rectangle 110"/>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77" name="Rectangle 111"/>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78" name="Rectangle 112"/>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79" name="Rectangle 113"/>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10" name="Group 114"/>
            <p:cNvGrpSpPr>
              <a:grpSpLocks/>
            </p:cNvGrpSpPr>
            <p:nvPr userDrawn="1"/>
          </p:nvGrpSpPr>
          <p:grpSpPr bwMode="auto">
            <a:xfrm>
              <a:off x="5893" y="3385"/>
              <a:ext cx="466" cy="115"/>
              <a:chOff x="5893" y="3385"/>
              <a:chExt cx="466" cy="115"/>
            </a:xfrm>
          </p:grpSpPr>
          <p:sp>
            <p:nvSpPr>
              <p:cNvPr id="1072" name="Rectangle 115"/>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73" name="Rectangle 116"/>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74" name="Rectangle 117"/>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75" name="Rectangle 118"/>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11" name="Group 119"/>
            <p:cNvGrpSpPr>
              <a:grpSpLocks/>
            </p:cNvGrpSpPr>
            <p:nvPr userDrawn="1"/>
          </p:nvGrpSpPr>
          <p:grpSpPr bwMode="auto">
            <a:xfrm>
              <a:off x="5893" y="3521"/>
              <a:ext cx="466" cy="115"/>
              <a:chOff x="5893" y="3521"/>
              <a:chExt cx="466" cy="115"/>
            </a:xfrm>
          </p:grpSpPr>
          <p:sp>
            <p:nvSpPr>
              <p:cNvPr id="1068" name="Rectangle 120"/>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69" name="Rectangle 121"/>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70" name="Rectangle 122"/>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71" name="Rectangle 123"/>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12" name="Group 124"/>
            <p:cNvGrpSpPr>
              <a:grpSpLocks/>
            </p:cNvGrpSpPr>
            <p:nvPr userDrawn="1"/>
          </p:nvGrpSpPr>
          <p:grpSpPr bwMode="auto">
            <a:xfrm>
              <a:off x="5893" y="3657"/>
              <a:ext cx="466" cy="115"/>
              <a:chOff x="5893" y="3657"/>
              <a:chExt cx="466" cy="115"/>
            </a:xfrm>
          </p:grpSpPr>
          <p:sp>
            <p:nvSpPr>
              <p:cNvPr id="1064" name="Rectangle 125"/>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65" name="Rectangle 126"/>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66" name="Rectangle 127"/>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67" name="Rectangle 128"/>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13" name="Group 129"/>
            <p:cNvGrpSpPr>
              <a:grpSpLocks/>
            </p:cNvGrpSpPr>
            <p:nvPr userDrawn="1"/>
          </p:nvGrpSpPr>
          <p:grpSpPr bwMode="auto">
            <a:xfrm>
              <a:off x="5893" y="3884"/>
              <a:ext cx="466" cy="115"/>
              <a:chOff x="5893" y="3884"/>
              <a:chExt cx="466" cy="115"/>
            </a:xfrm>
          </p:grpSpPr>
          <p:sp>
            <p:nvSpPr>
              <p:cNvPr id="1060" name="Rectangle 130"/>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61" name="Rectangle 131"/>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62" name="Rectangle 132"/>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63" name="Rectangle 133"/>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14" name="Group 134"/>
            <p:cNvGrpSpPr>
              <a:grpSpLocks/>
            </p:cNvGrpSpPr>
            <p:nvPr userDrawn="1"/>
          </p:nvGrpSpPr>
          <p:grpSpPr bwMode="auto">
            <a:xfrm>
              <a:off x="5893" y="4026"/>
              <a:ext cx="466" cy="115"/>
              <a:chOff x="5893" y="4026"/>
              <a:chExt cx="466" cy="115"/>
            </a:xfrm>
          </p:grpSpPr>
          <p:sp>
            <p:nvSpPr>
              <p:cNvPr id="1056" name="Rectangle 135"/>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57" name="Rectangle 136"/>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58" name="Rectangle 137"/>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59" name="Rectangle 138"/>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nvGrpSpPr>
            <p:cNvPr id="15" name="Group 139"/>
            <p:cNvGrpSpPr>
              <a:grpSpLocks/>
            </p:cNvGrpSpPr>
            <p:nvPr userDrawn="1"/>
          </p:nvGrpSpPr>
          <p:grpSpPr bwMode="auto">
            <a:xfrm>
              <a:off x="5893" y="4167"/>
              <a:ext cx="466" cy="115"/>
              <a:chOff x="5893" y="4167"/>
              <a:chExt cx="466" cy="115"/>
            </a:xfrm>
          </p:grpSpPr>
          <p:sp>
            <p:nvSpPr>
              <p:cNvPr id="1052" name="Rectangle 140"/>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53" name="Rectangle 141"/>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54" name="Rectangle 142"/>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sp>
            <p:nvSpPr>
              <p:cNvPr id="1055" name="Rectangle 143"/>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ndParaRPr>
              </a:p>
            </p:txBody>
          </p:sp>
        </p:grpSp>
      </p:grpSp>
      <p:sp>
        <p:nvSpPr>
          <p:cNvPr id="1027" name="Rectangle 144"/>
          <p:cNvSpPr>
            <a:spLocks noChangeArrowheads="1"/>
          </p:cNvSpPr>
          <p:nvPr/>
        </p:nvSpPr>
        <p:spPr bwMode="auto">
          <a:xfrm>
            <a:off x="9253560" y="1333810"/>
            <a:ext cx="1192420" cy="15697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latin typeface="Arial" pitchFamily="34" charset="0"/>
                <a:ea typeface="黑体" pitchFamily="49" charset="-122"/>
              </a:rPr>
              <a:t>配色参考方案：</a:t>
            </a:r>
          </a:p>
          <a:p>
            <a:pPr>
              <a:lnSpc>
                <a:spcPct val="120000"/>
              </a:lnSpc>
              <a:spcBef>
                <a:spcPct val="20000"/>
              </a:spcBef>
            </a:pPr>
            <a:r>
              <a:rPr lang="zh-CN" altLang="en-US" sz="1125" dirty="0">
                <a:solidFill>
                  <a:srgbClr val="FFFFFF"/>
                </a:solidFill>
                <a:latin typeface="Arial" pitchFamily="34" charset="0"/>
                <a:ea typeface="黑体" pitchFamily="49" charset="-122"/>
              </a:rPr>
              <a:t>建议同一页面内不超过四种颜色，以下是</a:t>
            </a:r>
            <a:r>
              <a:rPr lang="en-US" altLang="zh-CN" sz="1125" dirty="0">
                <a:solidFill>
                  <a:srgbClr val="FFFFFF"/>
                </a:solidFill>
                <a:latin typeface="Arial" pitchFamily="34" charset="0"/>
                <a:ea typeface="黑体" pitchFamily="49" charset="-122"/>
              </a:rPr>
              <a:t>13</a:t>
            </a:r>
            <a:r>
              <a:rPr lang="zh-CN" altLang="en-US" sz="1125" dirty="0">
                <a:solidFill>
                  <a:srgbClr val="FFFFFF"/>
                </a:solidFill>
                <a:latin typeface="Arial" pitchFamily="34" charset="0"/>
                <a:ea typeface="黑体" pitchFamily="49" charset="-122"/>
              </a:rPr>
              <a:t>组配色方案，同一页面内只选择一组使用。（仅供参考）</a:t>
            </a:r>
          </a:p>
        </p:txBody>
      </p:sp>
      <p:sp>
        <p:nvSpPr>
          <p:cNvPr id="1028" name="Rectangle 145"/>
          <p:cNvSpPr>
            <a:spLocks noChangeArrowheads="1"/>
          </p:cNvSpPr>
          <p:nvPr/>
        </p:nvSpPr>
        <p:spPr bwMode="auto">
          <a:xfrm>
            <a:off x="9253558" y="1"/>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latin typeface="Arial" pitchFamily="34" charset="0"/>
                <a:ea typeface="黑体" pitchFamily="49" charset="-122"/>
              </a:rPr>
              <a:t>客户或者合作伙伴的标志放在右上角</a:t>
            </a:r>
            <a:r>
              <a:rPr lang="en-US" altLang="zh-CN" sz="1125" dirty="0">
                <a:solidFill>
                  <a:srgbClr val="FFFFFF"/>
                </a:solidFill>
                <a:latin typeface="Arial" pitchFamily="34" charset="0"/>
                <a:ea typeface="黑体" pitchFamily="49" charset="-122"/>
              </a:rPr>
              <a:t>.</a:t>
            </a:r>
            <a:endParaRPr lang="zh-CN" altLang="en-US" sz="1125" dirty="0">
              <a:solidFill>
                <a:srgbClr val="FFFFFF"/>
              </a:solidFill>
              <a:latin typeface="Arial" pitchFamily="34" charset="0"/>
              <a:ea typeface="黑体" pitchFamily="49" charset="-122"/>
            </a:endParaRPr>
          </a:p>
        </p:txBody>
      </p:sp>
      <p:pic>
        <p:nvPicPr>
          <p:cNvPr id="1029" name="Picture 146" descr="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973364"/>
            <a:ext cx="9145588" cy="3810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3" name="Text Box 7"/>
          <p:cNvSpPr txBox="1">
            <a:spLocks noChangeArrowheads="1"/>
          </p:cNvSpPr>
          <p:nvPr/>
        </p:nvSpPr>
        <p:spPr bwMode="auto">
          <a:xfrm>
            <a:off x="7230732" y="4012544"/>
            <a:ext cx="1152900" cy="2423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50" tIns="45725" rIns="91450" bIns="45725">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975" dirty="0" smtClean="0">
                <a:solidFill>
                  <a:srgbClr val="FFFFFF"/>
                </a:solidFill>
                <a:latin typeface="FrutigerNext LT Bold" pitchFamily="34" charset="0"/>
                <a:ea typeface="MS PGothic" pitchFamily="34" charset="-128"/>
              </a:rPr>
              <a:t>www.huawei.com</a:t>
            </a:r>
          </a:p>
        </p:txBody>
      </p:sp>
      <p:sp>
        <p:nvSpPr>
          <p:cNvPr id="1031" name="Rectangle 2"/>
          <p:cNvSpPr>
            <a:spLocks noGrp="1" noChangeArrowheads="1"/>
          </p:cNvSpPr>
          <p:nvPr>
            <p:ph type="title"/>
          </p:nvPr>
        </p:nvSpPr>
        <p:spPr bwMode="auto">
          <a:xfrm>
            <a:off x="755785" y="2157179"/>
            <a:ext cx="5617551" cy="62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2412" rIns="121944" bIns="62412" numCol="1" anchor="ctr" anchorCtr="0" compatLnSpc="1">
            <a:prstTxWarp prst="textNoShape">
              <a:avLst/>
            </a:prstTxWarp>
            <a:spAutoFit/>
          </a:bodyPr>
          <a:lstStyle/>
          <a:p>
            <a:pPr lvl="0"/>
            <a:r>
              <a:rPr lang="zh-CN" altLang="en-US" dirty="0" smtClean="0"/>
              <a:t>单击此处编辑母版标题样式</a:t>
            </a:r>
          </a:p>
        </p:txBody>
      </p:sp>
      <p:sp>
        <p:nvSpPr>
          <p:cNvPr id="1032" name="Rectangle 3"/>
          <p:cNvSpPr>
            <a:spLocks noGrp="1" noChangeArrowheads="1"/>
          </p:cNvSpPr>
          <p:nvPr>
            <p:ph type="body" idx="1"/>
          </p:nvPr>
        </p:nvSpPr>
        <p:spPr bwMode="auto">
          <a:xfrm>
            <a:off x="755784" y="3069351"/>
            <a:ext cx="5330163" cy="492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0972" rIns="121944" bIns="60972" numCol="1" anchor="t" anchorCtr="0" compatLnSpc="1">
            <a:prstTxWarp prst="textNoShape">
              <a:avLst/>
            </a:prstTxWarp>
            <a:spAutoFit/>
          </a:bodyPr>
          <a:lstStyle/>
          <a:p>
            <a:pPr lvl="0"/>
            <a:r>
              <a:rPr lang="zh-CN" altLang="en-US" dirty="0" smtClean="0"/>
              <a:t>单击此处编辑母版文本样式</a:t>
            </a:r>
          </a:p>
        </p:txBody>
      </p:sp>
      <p:sp>
        <p:nvSpPr>
          <p:cNvPr id="310" name="Rectangle 19"/>
          <p:cNvSpPr>
            <a:spLocks noGrp="1" noChangeArrowheads="1"/>
          </p:cNvSpPr>
          <p:nvPr>
            <p:ph type="dt" sz="quarter" idx="2"/>
          </p:nvPr>
        </p:nvSpPr>
        <p:spPr bwMode="auto">
          <a:xfrm>
            <a:off x="755782" y="479536"/>
            <a:ext cx="2133971" cy="21929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25">
                <a:latin typeface="+mn-lt"/>
                <a:ea typeface="+mn-ea"/>
              </a:defRPr>
            </a:lvl1pPr>
          </a:lstStyle>
          <a:p>
            <a:pPr>
              <a:defRPr/>
            </a:pPr>
            <a:endParaRPr lang="en-US" altLang="zh-CN" dirty="0">
              <a:solidFill>
                <a:srgbClr val="000000"/>
              </a:solidFill>
            </a:endParaRPr>
          </a:p>
        </p:txBody>
      </p:sp>
      <p:sp>
        <p:nvSpPr>
          <p:cNvPr id="83" name="矩形 82"/>
          <p:cNvSpPr/>
          <p:nvPr userDrawn="1"/>
        </p:nvSpPr>
        <p:spPr bwMode="auto">
          <a:xfrm>
            <a:off x="0" y="908931"/>
            <a:ext cx="9145588" cy="3889332"/>
          </a:xfrm>
          <a:prstGeom prst="rect">
            <a:avLst/>
          </a:prstGeom>
          <a:solidFill>
            <a:schemeClr val="bg1"/>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50" tIns="45725" rIns="91450" bIns="45725" numCol="1" rtlCol="0" anchor="t" anchorCtr="0" compatLnSpc="1">
            <a:prstTxWarp prst="textNoShape">
              <a:avLst/>
            </a:prstTxWarp>
          </a:bodyPr>
          <a:lstStyle/>
          <a:p>
            <a:pPr defTabSz="914461">
              <a:buClr>
                <a:srgbClr val="CC9900"/>
              </a:buClr>
              <a:buFont typeface="Wingdings" pitchFamily="2" charset="2"/>
              <a:buChar char="n"/>
            </a:pPr>
            <a:endParaRPr lang="zh-CN" altLang="en-US" sz="1800" dirty="0" smtClean="0">
              <a:solidFill>
                <a:srgbClr val="000000"/>
              </a:solidFill>
              <a:latin typeface="Arial" charset="0"/>
              <a:ea typeface="宋体" charset="-122"/>
            </a:endParaRPr>
          </a:p>
        </p:txBody>
      </p:sp>
      <p:pic>
        <p:nvPicPr>
          <p:cNvPr id="82" name="Picture 6" descr="C:\Users\z00205060\Desktop\CP项目\规范类文件\新建文件夹\巴展视觉物料规范-18.jpg"/>
          <p:cNvPicPr>
            <a:picLocks noChangeAspect="1" noChangeArrowheads="1"/>
          </p:cNvPicPr>
          <p:nvPr userDrawn="1"/>
        </p:nvPicPr>
        <p:blipFill>
          <a:blip r:embed="rId4" cstate="email"/>
          <a:srcRect/>
          <a:stretch>
            <a:fillRect/>
          </a:stretch>
        </p:blipFill>
        <p:spPr bwMode="auto">
          <a:xfrm>
            <a:off x="0" y="0"/>
            <a:ext cx="9145588" cy="6858736"/>
          </a:xfrm>
          <a:prstGeom prst="rect">
            <a:avLst/>
          </a:prstGeom>
          <a:noFill/>
        </p:spPr>
      </p:pic>
      <p:pic>
        <p:nvPicPr>
          <p:cNvPr id="84" name="Picture 77" descr="Logo"/>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82145" y="5787562"/>
            <a:ext cx="529783"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Text Box 7"/>
          <p:cNvSpPr txBox="1">
            <a:spLocks noChangeArrowheads="1"/>
          </p:cNvSpPr>
          <p:nvPr userDrawn="1"/>
        </p:nvSpPr>
        <p:spPr bwMode="auto">
          <a:xfrm>
            <a:off x="7096186" y="6286493"/>
            <a:ext cx="1152880" cy="24237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975" dirty="0" smtClean="0">
                <a:solidFill>
                  <a:srgbClr val="000000">
                    <a:lumMod val="65000"/>
                    <a:lumOff val="35000"/>
                  </a:srgbClr>
                </a:solidFill>
                <a:latin typeface="FrutigerNext LT Light" pitchFamily="34" charset="0"/>
                <a:ea typeface="MS PGothic" pitchFamily="34" charset="-128"/>
              </a:rPr>
              <a:t>www.huawei.com</a:t>
            </a:r>
          </a:p>
        </p:txBody>
      </p:sp>
      <p:sp>
        <p:nvSpPr>
          <p:cNvPr id="86" name="Text Box 5"/>
          <p:cNvSpPr txBox="1">
            <a:spLocks noChangeArrowheads="1"/>
          </p:cNvSpPr>
          <p:nvPr userDrawn="1"/>
        </p:nvSpPr>
        <p:spPr bwMode="auto">
          <a:xfrm>
            <a:off x="4071579" y="6324966"/>
            <a:ext cx="2378215" cy="161583"/>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50" dirty="0" smtClean="0">
                <a:solidFill>
                  <a:srgbClr val="000000">
                    <a:lumMod val="65000"/>
                    <a:lumOff val="35000"/>
                  </a:srgbClr>
                </a:solidFill>
                <a:latin typeface="FrutigerNext LT Light" pitchFamily="34" charset="0"/>
                <a:ea typeface="MS PGothic" pitchFamily="34" charset="-128"/>
              </a:rPr>
              <a:t>HUAWEI TECHNOLOGIES CO., LTD.</a:t>
            </a:r>
          </a:p>
        </p:txBody>
      </p:sp>
    </p:spTree>
  </p:cSld>
  <p:clrMap bg1="lt1" tx1="dk1" bg2="lt2" tx2="dk2" accent1="accent1" accent2="accent2" accent3="accent3" accent4="accent4" accent5="accent5" accent6="accent6" hlink="hlink" folHlink="folHlink"/>
  <p:sldLayoutIdLst>
    <p:sldLayoutId id="2147483881" r:id="rId1"/>
  </p:sldLayoutIdLst>
  <p:transition advClick="0" advTm="8000">
    <p:fade thruBlk="1"/>
  </p:transition>
  <p:timing>
    <p:tnLst>
      <p:par>
        <p:cTn id="1" dur="indefinite" restart="never" nodeType="tmRoot"/>
      </p:par>
    </p:tnLst>
  </p:timing>
  <p:txStyles>
    <p:titleStyle>
      <a:lvl1pPr algn="l" rtl="0" eaLnBrk="1" fontAlgn="base" hangingPunct="1">
        <a:spcBef>
          <a:spcPct val="0"/>
        </a:spcBef>
        <a:spcAft>
          <a:spcPct val="0"/>
        </a:spcAft>
        <a:defRPr lang="zh-CN" altLang="en-US" sz="3225" b="1" dirty="0">
          <a:solidFill>
            <a:schemeClr val="bg1"/>
          </a:solidFill>
          <a:latin typeface="+mj-lt"/>
          <a:ea typeface="黑体" pitchFamily="49" charset="-122"/>
          <a:cs typeface="+mj-cs"/>
        </a:defRPr>
      </a:lvl1pPr>
      <a:lvl2pPr algn="l" rtl="0" eaLnBrk="1" fontAlgn="base" hangingPunct="1">
        <a:spcBef>
          <a:spcPct val="0"/>
        </a:spcBef>
        <a:spcAft>
          <a:spcPct val="0"/>
        </a:spcAft>
        <a:defRPr sz="3225" b="1">
          <a:solidFill>
            <a:schemeClr val="bg1"/>
          </a:solidFill>
          <a:latin typeface="黑体" pitchFamily="49" charset="-122"/>
          <a:ea typeface="黑体" pitchFamily="49" charset="-122"/>
          <a:cs typeface="宋体" charset="-122"/>
        </a:defRPr>
      </a:lvl2pPr>
      <a:lvl3pPr algn="l" rtl="0" eaLnBrk="1" fontAlgn="base" hangingPunct="1">
        <a:spcBef>
          <a:spcPct val="0"/>
        </a:spcBef>
        <a:spcAft>
          <a:spcPct val="0"/>
        </a:spcAft>
        <a:defRPr sz="3225" b="1">
          <a:solidFill>
            <a:schemeClr val="bg1"/>
          </a:solidFill>
          <a:latin typeface="黑体" pitchFamily="49" charset="-122"/>
          <a:ea typeface="黑体" pitchFamily="49" charset="-122"/>
          <a:cs typeface="宋体" charset="-122"/>
        </a:defRPr>
      </a:lvl3pPr>
      <a:lvl4pPr algn="l" rtl="0" eaLnBrk="1" fontAlgn="base" hangingPunct="1">
        <a:spcBef>
          <a:spcPct val="0"/>
        </a:spcBef>
        <a:spcAft>
          <a:spcPct val="0"/>
        </a:spcAft>
        <a:defRPr sz="3225" b="1">
          <a:solidFill>
            <a:schemeClr val="bg1"/>
          </a:solidFill>
          <a:latin typeface="黑体" pitchFamily="49" charset="-122"/>
          <a:ea typeface="黑体" pitchFamily="49" charset="-122"/>
          <a:cs typeface="宋体" charset="-122"/>
        </a:defRPr>
      </a:lvl4pPr>
      <a:lvl5pPr algn="l" rtl="0" eaLnBrk="1" fontAlgn="base" hangingPunct="1">
        <a:spcBef>
          <a:spcPct val="0"/>
        </a:spcBef>
        <a:spcAft>
          <a:spcPct val="0"/>
        </a:spcAft>
        <a:defRPr sz="3225" b="1">
          <a:solidFill>
            <a:schemeClr val="bg1"/>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1" fontAlgn="base" hangingPunct="1">
        <a:spcBef>
          <a:spcPct val="20000"/>
        </a:spcBef>
        <a:spcAft>
          <a:spcPct val="0"/>
        </a:spcAft>
        <a:buClr>
          <a:srgbClr val="990000"/>
        </a:buClr>
        <a:defRPr sz="2400" b="1">
          <a:solidFill>
            <a:schemeClr val="bg1"/>
          </a:solidFill>
          <a:latin typeface="+mn-lt"/>
          <a:ea typeface="黑体" pitchFamily="49" charset="-122"/>
          <a:cs typeface="+mn-cs"/>
        </a:defRPr>
      </a:lvl1pPr>
      <a:lvl2pPr marL="742999" indent="-285769" algn="l" rtl="0" eaLnBrk="1" fontAlgn="base" hangingPunct="1">
        <a:spcBef>
          <a:spcPct val="20000"/>
        </a:spcBef>
        <a:spcAft>
          <a:spcPct val="0"/>
        </a:spcAft>
        <a:buFont typeface="Arial" pitchFamily="34" charset="0"/>
        <a:buChar char="›"/>
        <a:defRPr sz="2025">
          <a:solidFill>
            <a:schemeClr val="tx1"/>
          </a:solidFill>
          <a:latin typeface="+mn-lt"/>
          <a:ea typeface="+mn-ea"/>
          <a:cs typeface="+mn-cs"/>
        </a:defRPr>
      </a:lvl2pPr>
      <a:lvl3pPr marL="1143076" indent="-228615" algn="l" rtl="0" eaLnBrk="1" fontAlgn="base" hangingPunct="1">
        <a:spcBef>
          <a:spcPct val="20000"/>
        </a:spcBef>
        <a:spcAft>
          <a:spcPct val="0"/>
        </a:spcAft>
        <a:buFont typeface="FrutigerNext LT Medium" pitchFamily="34" charset="0"/>
        <a:buChar char="»"/>
        <a:defRPr>
          <a:solidFill>
            <a:schemeClr val="tx1"/>
          </a:solidFill>
          <a:latin typeface="+mn-lt"/>
          <a:ea typeface="+mn-ea"/>
          <a:cs typeface="+mn-cs"/>
        </a:defRPr>
      </a:lvl3pPr>
      <a:lvl4pPr marL="1600307" indent="-228615" algn="l" rtl="0" eaLnBrk="1" fontAlgn="base" hangingPunct="1">
        <a:spcBef>
          <a:spcPct val="20000"/>
        </a:spcBef>
        <a:spcAft>
          <a:spcPct val="0"/>
        </a:spcAft>
        <a:buChar char="–"/>
        <a:defRPr sz="1575">
          <a:solidFill>
            <a:schemeClr val="tx1"/>
          </a:solidFill>
          <a:latin typeface="+mn-lt"/>
          <a:ea typeface="+mn-ea"/>
          <a:cs typeface="+mn-cs"/>
        </a:defRPr>
      </a:lvl4pPr>
      <a:lvl5pPr marL="2057537" indent="-228615" algn="l" rtl="0" eaLnBrk="1" fontAlgn="base" hangingPunct="1">
        <a:spcBef>
          <a:spcPct val="20000"/>
        </a:spcBef>
        <a:spcAft>
          <a:spcPct val="0"/>
        </a:spcAft>
        <a:buFont typeface="Arial" pitchFamily="34" charset="0"/>
        <a:buChar char="~"/>
        <a:defRPr sz="1575">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79" y="275232"/>
            <a:ext cx="8231030" cy="1143265"/>
          </a:xfrm>
          <a:prstGeom prst="rect">
            <a:avLst/>
          </a:prstGeom>
        </p:spPr>
        <p:txBody>
          <a:bodyPr vert="horz" lIns="121944" tIns="60972" rIns="121944" bIns="60972" rtlCol="0" anchor="ctr">
            <a:normAutofit/>
          </a:bodyPr>
          <a:lstStyle/>
          <a:p>
            <a:endParaRPr lang="en-US" altLang="zh-CN" dirty="0" smtClean="0"/>
          </a:p>
        </p:txBody>
      </p:sp>
      <p:sp>
        <p:nvSpPr>
          <p:cNvPr id="3" name="文本占位符 2"/>
          <p:cNvSpPr>
            <a:spLocks noGrp="1"/>
          </p:cNvSpPr>
          <p:nvPr>
            <p:ph type="body" idx="1"/>
          </p:nvPr>
        </p:nvSpPr>
        <p:spPr>
          <a:xfrm>
            <a:off x="457279" y="1600572"/>
            <a:ext cx="8231030" cy="4526481"/>
          </a:xfrm>
          <a:prstGeom prst="rect">
            <a:avLst/>
          </a:prstGeom>
        </p:spPr>
        <p:txBody>
          <a:bodyPr vert="horz" lIns="121944" tIns="60972" rIns="121944" bIns="6097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457281" y="6357824"/>
            <a:ext cx="2133971" cy="366267"/>
          </a:xfrm>
          <a:prstGeom prst="rect">
            <a:avLst/>
          </a:prstGeom>
        </p:spPr>
        <p:txBody>
          <a:bodyPr vert="horz" lIns="121944" tIns="60972" rIns="121944" bIns="60972" rtlCol="0" anchor="ctr"/>
          <a:lstStyle>
            <a:lvl1pPr algn="l">
              <a:defRPr sz="1200">
                <a:solidFill>
                  <a:schemeClr val="bg1"/>
                </a:solidFill>
              </a:defRPr>
            </a:lvl1pPr>
          </a:lstStyle>
          <a:p>
            <a:pPr defTabSz="914461" fontAlgn="auto">
              <a:spcBef>
                <a:spcPts val="0"/>
              </a:spcBef>
              <a:spcAft>
                <a:spcPts val="0"/>
              </a:spcAft>
            </a:pPr>
            <a:fld id="{724D11B5-F4EC-4A10-9CB4-D208720918BE}" type="datetimeFigureOut">
              <a:rPr lang="zh-CN" altLang="en-US" smtClean="0">
                <a:solidFill>
                  <a:prstClr val="white"/>
                </a:solidFill>
                <a:latin typeface="Arial"/>
                <a:ea typeface="微软雅黑"/>
              </a:rPr>
              <a:pPr defTabSz="914461" fontAlgn="auto">
                <a:spcBef>
                  <a:spcPts val="0"/>
                </a:spcBef>
                <a:spcAft>
                  <a:spcPts val="0"/>
                </a:spcAft>
              </a:pPr>
              <a:t>2017/4/5</a:t>
            </a:fld>
            <a:endParaRPr lang="zh-CN" altLang="en-US">
              <a:solidFill>
                <a:prstClr val="white"/>
              </a:solidFill>
              <a:latin typeface="Arial"/>
              <a:ea typeface="微软雅黑"/>
            </a:endParaRPr>
          </a:p>
        </p:txBody>
      </p:sp>
      <p:sp>
        <p:nvSpPr>
          <p:cNvPr id="5" name="页脚占位符 4"/>
          <p:cNvSpPr>
            <a:spLocks noGrp="1"/>
          </p:cNvSpPr>
          <p:nvPr>
            <p:ph type="ftr" sz="quarter" idx="3"/>
          </p:nvPr>
        </p:nvSpPr>
        <p:spPr>
          <a:xfrm>
            <a:off x="3124743" y="6357824"/>
            <a:ext cx="2896103" cy="366267"/>
          </a:xfrm>
          <a:prstGeom prst="rect">
            <a:avLst/>
          </a:prstGeom>
        </p:spPr>
        <p:txBody>
          <a:bodyPr vert="horz" lIns="121944" tIns="60972" rIns="121944" bIns="60972" rtlCol="0" anchor="ctr"/>
          <a:lstStyle>
            <a:lvl1pPr algn="ctr">
              <a:defRPr sz="1200">
                <a:solidFill>
                  <a:schemeClr val="bg1"/>
                </a:solidFill>
              </a:defRPr>
            </a:lvl1pPr>
          </a:lstStyle>
          <a:p>
            <a:pPr defTabSz="914461" fontAlgn="auto">
              <a:spcBef>
                <a:spcPts val="0"/>
              </a:spcBef>
              <a:spcAft>
                <a:spcPts val="0"/>
              </a:spcAft>
            </a:pPr>
            <a:endParaRPr lang="zh-CN" altLang="en-US">
              <a:solidFill>
                <a:prstClr val="white"/>
              </a:solidFill>
              <a:latin typeface="Arial"/>
              <a:ea typeface="微软雅黑"/>
            </a:endParaRPr>
          </a:p>
        </p:txBody>
      </p:sp>
      <p:sp>
        <p:nvSpPr>
          <p:cNvPr id="6" name="灯片编号占位符 5"/>
          <p:cNvSpPr>
            <a:spLocks noGrp="1"/>
          </p:cNvSpPr>
          <p:nvPr>
            <p:ph type="sldNum" sz="quarter" idx="4"/>
          </p:nvPr>
        </p:nvSpPr>
        <p:spPr>
          <a:xfrm>
            <a:off x="6554339" y="6357824"/>
            <a:ext cx="2133971" cy="366267"/>
          </a:xfrm>
          <a:prstGeom prst="rect">
            <a:avLst/>
          </a:prstGeom>
        </p:spPr>
        <p:txBody>
          <a:bodyPr vert="horz" lIns="121944" tIns="60972" rIns="121944" bIns="60972" rtlCol="0" anchor="ctr"/>
          <a:lstStyle>
            <a:lvl1pPr algn="r">
              <a:defRPr sz="1200">
                <a:solidFill>
                  <a:schemeClr val="bg1"/>
                </a:solidFill>
              </a:defRPr>
            </a:lvl1pPr>
          </a:lstStyle>
          <a:p>
            <a:pPr defTabSz="914461" fontAlgn="auto">
              <a:spcBef>
                <a:spcPts val="0"/>
              </a:spcBef>
              <a:spcAft>
                <a:spcPts val="0"/>
              </a:spcAft>
            </a:pPr>
            <a:fld id="{3CF2F073-B7F6-4C9C-B66E-467879956FCE}" type="slidenum">
              <a:rPr lang="zh-CN" altLang="en-US" smtClean="0">
                <a:solidFill>
                  <a:prstClr val="white"/>
                </a:solidFill>
                <a:latin typeface="Arial"/>
                <a:ea typeface="微软雅黑"/>
              </a:rPr>
              <a:pPr defTabSz="914461" fontAlgn="auto">
                <a:spcBef>
                  <a:spcPts val="0"/>
                </a:spcBef>
                <a:spcAft>
                  <a:spcPts val="0"/>
                </a:spcAft>
              </a:pPr>
              <a:t>‹Nº›</a:t>
            </a:fld>
            <a:endParaRPr lang="zh-CN" altLang="en-US">
              <a:solidFill>
                <a:prstClr val="white"/>
              </a:solidFill>
              <a:latin typeface="Arial"/>
              <a:ea typeface="微软雅黑"/>
            </a:endParaRPr>
          </a:p>
        </p:txBody>
      </p:sp>
      <p:pic>
        <p:nvPicPr>
          <p:cNvPr id="10"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1618"/>
            <a:ext cx="9145586" cy="6856357"/>
          </a:xfrm>
          <a:prstGeom prst="rect">
            <a:avLst/>
          </a:prstGeom>
        </p:spPr>
      </p:pic>
    </p:spTree>
    <p:extLst>
      <p:ext uri="{BB962C8B-B14F-4D97-AF65-F5344CB8AC3E}">
        <p14:creationId xmlns:p14="http://schemas.microsoft.com/office/powerpoint/2010/main" val="892561937"/>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923" r:id="rId3"/>
    <p:sldLayoutId id="2147483932" r:id="rId4"/>
  </p:sldLayoutIdLst>
  <p:timing>
    <p:tnLst>
      <p:par>
        <p:cTn id="1" dur="indefinite" restart="never" nodeType="tmRoot"/>
      </p:par>
    </p:tnLst>
  </p:timing>
  <p:txStyles>
    <p:titleStyle>
      <a:lvl1pPr algn="ctr" defTabSz="914461" rtl="0" eaLnBrk="1" latinLnBrk="0" hangingPunct="1">
        <a:spcBef>
          <a:spcPct val="0"/>
        </a:spcBef>
        <a:buNone/>
        <a:defRPr sz="4424" kern="1200">
          <a:solidFill>
            <a:schemeClr val="bg1"/>
          </a:solidFill>
          <a:latin typeface="+mj-lt"/>
          <a:ea typeface="+mj-ea"/>
          <a:cs typeface="+mj-cs"/>
        </a:defRPr>
      </a:lvl1pPr>
    </p:titleStyle>
    <p:bodyStyle>
      <a:lvl1pPr marL="342923" indent="-342923" algn="l" defTabSz="914461" rtl="0" eaLnBrk="1" latinLnBrk="0" hangingPunct="1">
        <a:spcBef>
          <a:spcPct val="20000"/>
        </a:spcBef>
        <a:buFont typeface="Arial" pitchFamily="34" charset="0"/>
        <a:buChar char="•"/>
        <a:defRPr sz="3225" kern="1200">
          <a:solidFill>
            <a:schemeClr val="bg1"/>
          </a:solidFill>
          <a:latin typeface="+mn-lt"/>
          <a:ea typeface="+mn-ea"/>
          <a:cs typeface="+mn-cs"/>
        </a:defRPr>
      </a:lvl1pPr>
      <a:lvl2pPr marL="742999" indent="-285769" algn="l" defTabSz="914461" rtl="0" eaLnBrk="1" latinLnBrk="0" hangingPunct="1">
        <a:spcBef>
          <a:spcPct val="20000"/>
        </a:spcBef>
        <a:buFont typeface="Arial" pitchFamily="34" charset="0"/>
        <a:buChar char="–"/>
        <a:defRPr sz="2775" kern="1200">
          <a:solidFill>
            <a:schemeClr val="bg1"/>
          </a:solidFill>
          <a:latin typeface="+mn-lt"/>
          <a:ea typeface="+mn-ea"/>
          <a:cs typeface="+mn-cs"/>
        </a:defRPr>
      </a:lvl2pPr>
      <a:lvl3pPr marL="1143076" indent="-228615" algn="l" defTabSz="91446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30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4pPr>
      <a:lvl5pPr marL="205753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5pPr>
      <a:lvl6pPr marL="251476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99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922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6459"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1" name="Picture 9" descr="封面"/>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1413203"/>
            <a:ext cx="9145588" cy="3124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8"/>
          <p:cNvSpPr>
            <a:spLocks noGrp="1" noChangeArrowheads="1"/>
          </p:cNvSpPr>
          <p:nvPr>
            <p:ph type="title"/>
          </p:nvPr>
        </p:nvSpPr>
        <p:spPr bwMode="auto">
          <a:xfrm>
            <a:off x="755784" y="2637451"/>
            <a:ext cx="5549276" cy="61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0972" rIns="121944" bIns="60972" numCol="1" anchor="t" anchorCtr="0" compatLnSpc="1">
            <a:prstTxWarp prst="textNoShape">
              <a:avLst/>
            </a:prstTxWarp>
            <a:spAutoFit/>
          </a:bodyPr>
          <a:lstStyle/>
          <a:p>
            <a:pPr lvl="0"/>
            <a:r>
              <a:rPr lang="zh-CN" altLang="en-US" dirty="0" smtClean="0"/>
              <a:t>单击此处编辑母版标题样式</a:t>
            </a:r>
          </a:p>
        </p:txBody>
      </p:sp>
      <p:sp>
        <p:nvSpPr>
          <p:cNvPr id="2053" name="Rectangle 13"/>
          <p:cNvSpPr>
            <a:spLocks noChangeArrowheads="1"/>
          </p:cNvSpPr>
          <p:nvPr/>
        </p:nvSpPr>
        <p:spPr bwMode="auto">
          <a:xfrm>
            <a:off x="7237085" y="476362"/>
            <a:ext cx="1465518"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4277" eaLnBrk="0" hangingPunct="0"/>
            <a:r>
              <a:rPr lang="en-US" altLang="zh-CN" sz="1425" b="1" dirty="0">
                <a:solidFill>
                  <a:srgbClr val="666666"/>
                </a:solidFill>
                <a:latin typeface="FrutigerNext LT Bold" pitchFamily="34" charset="0"/>
                <a:ea typeface="MS PGothic" pitchFamily="34" charset="-128"/>
              </a:rPr>
              <a:t>Security Level: </a:t>
            </a:r>
          </a:p>
        </p:txBody>
      </p:sp>
      <p:sp>
        <p:nvSpPr>
          <p:cNvPr id="81" name="Rectangle 19"/>
          <p:cNvSpPr>
            <a:spLocks noGrp="1" noChangeArrowheads="1"/>
          </p:cNvSpPr>
          <p:nvPr>
            <p:ph type="dt" sz="quarter" idx="2"/>
          </p:nvPr>
        </p:nvSpPr>
        <p:spPr bwMode="auto">
          <a:xfrm>
            <a:off x="755782" y="479536"/>
            <a:ext cx="2133971" cy="21929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25">
                <a:latin typeface="+mn-lt"/>
                <a:ea typeface="+mj-ea"/>
              </a:defRPr>
            </a:lvl1pPr>
          </a:lstStyle>
          <a:p>
            <a:pPr>
              <a:defRPr/>
            </a:pPr>
            <a:endParaRPr lang="en-US" altLang="zh-CN"/>
          </a:p>
        </p:txBody>
      </p:sp>
      <p:sp>
        <p:nvSpPr>
          <p:cNvPr id="2055" name="Rectangle 21"/>
          <p:cNvSpPr>
            <a:spLocks noChangeArrowheads="1"/>
          </p:cNvSpPr>
          <p:nvPr/>
        </p:nvSpPr>
        <p:spPr bwMode="auto">
          <a:xfrm>
            <a:off x="-1952963" y="692312"/>
            <a:ext cx="1844995" cy="567384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marL="342923" indent="-342923" algn="r">
              <a:lnSpc>
                <a:spcPct val="125000"/>
              </a:lnSpc>
              <a:spcBef>
                <a:spcPct val="20000"/>
              </a:spcBef>
            </a:pPr>
            <a:r>
              <a:rPr lang="zh-CN" altLang="en-US" sz="1125" dirty="0">
                <a:solidFill>
                  <a:srgbClr val="FFFFFF"/>
                </a:solidFill>
                <a:latin typeface="Arial" pitchFamily="34" charset="0"/>
              </a:rPr>
              <a:t>英文标题</a:t>
            </a:r>
            <a:r>
              <a:rPr lang="en-US" altLang="zh-CN" sz="1125" dirty="0">
                <a:solidFill>
                  <a:srgbClr val="FFFFFF"/>
                </a:solidFill>
                <a:latin typeface="Arial" pitchFamily="34" charset="0"/>
              </a:rPr>
              <a:t>:32-35pt  </a:t>
            </a:r>
            <a:endParaRPr lang="zh-CN" altLang="en-US"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颜色</a:t>
            </a:r>
            <a:r>
              <a:rPr lang="en-US" altLang="zh-CN" sz="1125" dirty="0">
                <a:solidFill>
                  <a:srgbClr val="FFFFFF"/>
                </a:solidFill>
                <a:latin typeface="Arial" pitchFamily="34" charset="0"/>
              </a:rPr>
              <a:t>: R153 G0 B0</a:t>
            </a:r>
          </a:p>
          <a:p>
            <a:pPr marL="342923" indent="-342923" algn="r">
              <a:lnSpc>
                <a:spcPct val="125000"/>
              </a:lnSpc>
              <a:spcBef>
                <a:spcPct val="20000"/>
              </a:spcBef>
            </a:pPr>
            <a:r>
              <a:rPr lang="zh-CN" altLang="en-US" sz="1125" dirty="0">
                <a:solidFill>
                  <a:srgbClr val="FFFFFF"/>
                </a:solidFill>
                <a:latin typeface="Arial" pitchFamily="34" charset="0"/>
              </a:rPr>
              <a:t>内部使用字体 </a:t>
            </a:r>
            <a:r>
              <a:rPr lang="en-US" altLang="zh-CN" sz="1125" dirty="0">
                <a:solidFill>
                  <a:srgbClr val="FFFFFF"/>
                </a:solidFill>
                <a:latin typeface="Arial" pitchFamily="34" charset="0"/>
              </a:rPr>
              <a:t>:</a:t>
            </a:r>
          </a:p>
          <a:p>
            <a:pPr marL="342923" indent="-342923" algn="r">
              <a:lnSpc>
                <a:spcPct val="125000"/>
              </a:lnSpc>
              <a:spcBef>
                <a:spcPct val="20000"/>
              </a:spcBef>
            </a:pPr>
            <a:r>
              <a:rPr lang="en-US" altLang="zh-CN" sz="1125" dirty="0" err="1">
                <a:solidFill>
                  <a:srgbClr val="FFFFFF"/>
                </a:solidFill>
                <a:latin typeface="Arial" pitchFamily="34" charset="0"/>
              </a:rPr>
              <a:t>FrutigerNext</a:t>
            </a:r>
            <a:r>
              <a:rPr lang="en-US" altLang="zh-CN" sz="1125" dirty="0">
                <a:solidFill>
                  <a:srgbClr val="FFFFFF"/>
                </a:solidFill>
                <a:latin typeface="Arial" pitchFamily="34" charset="0"/>
              </a:rPr>
              <a:t> LT Medium</a:t>
            </a:r>
          </a:p>
          <a:p>
            <a:pPr marL="342923" indent="-342923" algn="r">
              <a:lnSpc>
                <a:spcPct val="125000"/>
              </a:lnSpc>
              <a:spcBef>
                <a:spcPct val="20000"/>
              </a:spcBef>
            </a:pPr>
            <a:r>
              <a:rPr lang="zh-CN" altLang="en-US" sz="1125" dirty="0">
                <a:solidFill>
                  <a:srgbClr val="FFFFFF"/>
                </a:solidFill>
                <a:latin typeface="Arial" pitchFamily="34" charset="0"/>
              </a:rPr>
              <a:t>外部使用字体 </a:t>
            </a:r>
            <a:r>
              <a:rPr lang="en-US" altLang="zh-CN" sz="1125" dirty="0">
                <a:solidFill>
                  <a:srgbClr val="FFFFFF"/>
                </a:solidFill>
                <a:latin typeface="Arial" pitchFamily="34" charset="0"/>
              </a:rPr>
              <a:t>: Arial</a:t>
            </a:r>
          </a:p>
          <a:p>
            <a:pPr marL="342923" indent="-342923" algn="r">
              <a:lnSpc>
                <a:spcPct val="75000"/>
              </a:lnSpc>
              <a:spcBef>
                <a:spcPct val="20000"/>
              </a:spcBef>
            </a:pPr>
            <a:endParaRPr lang="en-US" altLang="zh-CN"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中文标题</a:t>
            </a:r>
            <a:r>
              <a:rPr lang="en-US" altLang="zh-CN" sz="1125" dirty="0">
                <a:solidFill>
                  <a:srgbClr val="FFFFFF"/>
                </a:solidFill>
                <a:latin typeface="Arial" pitchFamily="34" charset="0"/>
              </a:rPr>
              <a:t>:30-32pt  </a:t>
            </a:r>
            <a:endParaRPr lang="zh-CN" altLang="en-US"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颜色</a:t>
            </a:r>
            <a:r>
              <a:rPr lang="en-US" altLang="zh-CN" sz="1125" dirty="0">
                <a:solidFill>
                  <a:srgbClr val="FFFFFF"/>
                </a:solidFill>
                <a:latin typeface="Arial" pitchFamily="34" charset="0"/>
              </a:rPr>
              <a:t>: R153 G0 B0</a:t>
            </a:r>
          </a:p>
          <a:p>
            <a:pPr marL="342923" indent="-342923" algn="r">
              <a:lnSpc>
                <a:spcPct val="125000"/>
              </a:lnSpc>
              <a:spcBef>
                <a:spcPct val="20000"/>
              </a:spcBef>
            </a:pPr>
            <a:r>
              <a:rPr lang="zh-CN" altLang="en-US" sz="1125" dirty="0">
                <a:solidFill>
                  <a:srgbClr val="FFFFFF"/>
                </a:solidFill>
                <a:latin typeface="Arial" pitchFamily="34" charset="0"/>
              </a:rPr>
              <a:t>字体</a:t>
            </a:r>
            <a:r>
              <a:rPr lang="en-US" altLang="zh-CN" sz="1125" dirty="0">
                <a:solidFill>
                  <a:srgbClr val="FFFFFF"/>
                </a:solidFill>
                <a:latin typeface="Arial" pitchFamily="34" charset="0"/>
              </a:rPr>
              <a:t>:</a:t>
            </a:r>
            <a:r>
              <a:rPr lang="zh-CN" altLang="en-US" sz="1125" dirty="0">
                <a:solidFill>
                  <a:srgbClr val="FFFFFF"/>
                </a:solidFill>
                <a:latin typeface="Arial" pitchFamily="34" charset="0"/>
              </a:rPr>
              <a:t>黑体</a:t>
            </a:r>
          </a:p>
          <a:p>
            <a:pPr marL="342923" indent="-342923" algn="r">
              <a:lnSpc>
                <a:spcPct val="125000"/>
              </a:lnSpc>
              <a:spcBef>
                <a:spcPct val="20000"/>
              </a:spcBef>
            </a:pPr>
            <a:endParaRPr lang="zh-CN" altLang="en-US" sz="1125" dirty="0">
              <a:solidFill>
                <a:srgbClr val="FFFFFF"/>
              </a:solidFill>
              <a:latin typeface="Arial" pitchFamily="34" charset="0"/>
            </a:endParaRPr>
          </a:p>
          <a:p>
            <a:pPr marL="342923" indent="-342923" algn="r">
              <a:lnSpc>
                <a:spcPct val="125000"/>
              </a:lnSpc>
              <a:spcBef>
                <a:spcPct val="20000"/>
              </a:spcBef>
            </a:pPr>
            <a:endParaRPr lang="zh-CN" altLang="en-US" sz="1125" dirty="0">
              <a:solidFill>
                <a:srgbClr val="FFFFFF"/>
              </a:solidFill>
              <a:latin typeface="Arial" pitchFamily="34" charset="0"/>
            </a:endParaRPr>
          </a:p>
          <a:p>
            <a:pPr marL="342923" indent="-342923" algn="r">
              <a:lnSpc>
                <a:spcPct val="125000"/>
              </a:lnSpc>
              <a:spcBef>
                <a:spcPct val="20000"/>
              </a:spcBef>
            </a:pPr>
            <a:endParaRPr lang="zh-CN" altLang="en-US"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英文正文</a:t>
            </a:r>
            <a:r>
              <a:rPr lang="en-US" altLang="zh-CN" sz="1125" dirty="0">
                <a:solidFill>
                  <a:srgbClr val="FFFFFF"/>
                </a:solidFill>
                <a:latin typeface="Arial" pitchFamily="34" charset="0"/>
              </a:rPr>
              <a:t>:20-22pt</a:t>
            </a:r>
          </a:p>
          <a:p>
            <a:pPr marL="342923" indent="-342923" algn="r">
              <a:lnSpc>
                <a:spcPct val="125000"/>
              </a:lnSpc>
              <a:spcBef>
                <a:spcPct val="20000"/>
              </a:spcBef>
            </a:pPr>
            <a:r>
              <a:rPr lang="zh-CN" altLang="en-US" sz="1125" dirty="0">
                <a:solidFill>
                  <a:srgbClr val="FFFFFF"/>
                </a:solidFill>
                <a:latin typeface="Arial" pitchFamily="34" charset="0"/>
              </a:rPr>
              <a:t>子目录 </a:t>
            </a:r>
            <a:r>
              <a:rPr lang="en-US" altLang="zh-CN" sz="1125" dirty="0">
                <a:solidFill>
                  <a:srgbClr val="FFFFFF"/>
                </a:solidFill>
                <a:latin typeface="Arial" pitchFamily="34" charset="0"/>
              </a:rPr>
              <a:t>(2-5</a:t>
            </a:r>
            <a:r>
              <a:rPr lang="zh-CN" altLang="en-US" sz="1125" dirty="0">
                <a:solidFill>
                  <a:srgbClr val="FFFFFF"/>
                </a:solidFill>
                <a:latin typeface="Arial" pitchFamily="34" charset="0"/>
              </a:rPr>
              <a:t>级</a:t>
            </a:r>
            <a:r>
              <a:rPr lang="en-US" altLang="zh-CN" sz="1125" dirty="0">
                <a:solidFill>
                  <a:srgbClr val="FFFFFF"/>
                </a:solidFill>
                <a:latin typeface="Arial" pitchFamily="34" charset="0"/>
              </a:rPr>
              <a:t>) :18pt  </a:t>
            </a:r>
          </a:p>
          <a:p>
            <a:pPr marL="342923" indent="-342923" algn="r">
              <a:lnSpc>
                <a:spcPct val="125000"/>
              </a:lnSpc>
              <a:spcBef>
                <a:spcPct val="20000"/>
              </a:spcBef>
            </a:pPr>
            <a:r>
              <a:rPr lang="zh-CN" altLang="en-US" sz="1125" dirty="0">
                <a:solidFill>
                  <a:srgbClr val="FFFFFF"/>
                </a:solidFill>
                <a:latin typeface="Arial" pitchFamily="34" charset="0"/>
              </a:rPr>
              <a:t>颜色</a:t>
            </a:r>
            <a:r>
              <a:rPr lang="en-US" altLang="zh-CN" sz="1125" dirty="0">
                <a:solidFill>
                  <a:srgbClr val="FFFFFF"/>
                </a:solidFill>
                <a:latin typeface="Arial" pitchFamily="34" charset="0"/>
              </a:rPr>
              <a:t>:</a:t>
            </a:r>
            <a:r>
              <a:rPr lang="zh-CN" altLang="en-US" sz="1125" dirty="0">
                <a:solidFill>
                  <a:srgbClr val="FFFFFF"/>
                </a:solidFill>
                <a:latin typeface="Arial" pitchFamily="34" charset="0"/>
              </a:rPr>
              <a:t>黑色</a:t>
            </a:r>
          </a:p>
          <a:p>
            <a:pPr marL="342923" indent="-342923" algn="r">
              <a:lnSpc>
                <a:spcPct val="125000"/>
              </a:lnSpc>
              <a:spcBef>
                <a:spcPct val="20000"/>
              </a:spcBef>
            </a:pPr>
            <a:r>
              <a:rPr lang="zh-CN" altLang="en-US" sz="1125" dirty="0">
                <a:solidFill>
                  <a:srgbClr val="FFFFFF"/>
                </a:solidFill>
                <a:latin typeface="Arial" pitchFamily="34" charset="0"/>
              </a:rPr>
              <a:t>内部使用字体 </a:t>
            </a:r>
            <a:r>
              <a:rPr lang="en-US" altLang="zh-CN" sz="1125" dirty="0">
                <a:solidFill>
                  <a:srgbClr val="FFFFFF"/>
                </a:solidFill>
                <a:latin typeface="Arial" pitchFamily="34" charset="0"/>
              </a:rPr>
              <a:t>:</a:t>
            </a:r>
          </a:p>
          <a:p>
            <a:pPr marL="342923" indent="-342923" algn="r">
              <a:lnSpc>
                <a:spcPct val="125000"/>
              </a:lnSpc>
              <a:spcBef>
                <a:spcPct val="20000"/>
              </a:spcBef>
            </a:pPr>
            <a:r>
              <a:rPr lang="en-US" altLang="zh-CN" sz="1125" dirty="0" err="1">
                <a:solidFill>
                  <a:srgbClr val="FFFFFF"/>
                </a:solidFill>
                <a:latin typeface="Arial" pitchFamily="34" charset="0"/>
              </a:rPr>
              <a:t>FrutigerNext</a:t>
            </a:r>
            <a:r>
              <a:rPr lang="en-US" altLang="zh-CN" sz="1125" dirty="0">
                <a:solidFill>
                  <a:srgbClr val="FFFFFF"/>
                </a:solidFill>
                <a:latin typeface="Arial" pitchFamily="34" charset="0"/>
              </a:rPr>
              <a:t> LT Regular</a:t>
            </a:r>
          </a:p>
          <a:p>
            <a:pPr marL="342923" indent="-342923" algn="r">
              <a:lnSpc>
                <a:spcPct val="125000"/>
              </a:lnSpc>
              <a:spcBef>
                <a:spcPct val="20000"/>
              </a:spcBef>
            </a:pPr>
            <a:r>
              <a:rPr lang="zh-CN" altLang="en-US" sz="1125" dirty="0">
                <a:solidFill>
                  <a:srgbClr val="FFFFFF"/>
                </a:solidFill>
                <a:latin typeface="Arial" pitchFamily="34" charset="0"/>
              </a:rPr>
              <a:t>外部使用字体 </a:t>
            </a:r>
            <a:r>
              <a:rPr lang="en-US" altLang="zh-CN" sz="1125" dirty="0">
                <a:solidFill>
                  <a:srgbClr val="FFFFFF"/>
                </a:solidFill>
                <a:latin typeface="Arial" pitchFamily="34" charset="0"/>
              </a:rPr>
              <a:t>: Arial</a:t>
            </a:r>
          </a:p>
          <a:p>
            <a:pPr marL="342923" indent="-342923" algn="r">
              <a:lnSpc>
                <a:spcPct val="75000"/>
              </a:lnSpc>
              <a:spcBef>
                <a:spcPct val="20000"/>
              </a:spcBef>
            </a:pPr>
            <a:endParaRPr lang="en-US" altLang="zh-CN"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中文正文</a:t>
            </a:r>
            <a:r>
              <a:rPr lang="en-US" altLang="zh-CN" sz="1125" dirty="0">
                <a:solidFill>
                  <a:srgbClr val="FFFFFF"/>
                </a:solidFill>
                <a:latin typeface="Arial" pitchFamily="34" charset="0"/>
              </a:rPr>
              <a:t>:18-20pt</a:t>
            </a:r>
          </a:p>
          <a:p>
            <a:pPr marL="342923" indent="-342923" algn="r">
              <a:lnSpc>
                <a:spcPct val="125000"/>
              </a:lnSpc>
              <a:spcBef>
                <a:spcPct val="20000"/>
              </a:spcBef>
            </a:pPr>
            <a:r>
              <a:rPr lang="zh-CN" altLang="en-US" sz="1125" dirty="0">
                <a:solidFill>
                  <a:srgbClr val="FFFFFF"/>
                </a:solidFill>
                <a:latin typeface="Arial" pitchFamily="34" charset="0"/>
              </a:rPr>
              <a:t>子目录</a:t>
            </a:r>
            <a:r>
              <a:rPr lang="en-US" altLang="zh-CN" sz="1125" dirty="0">
                <a:solidFill>
                  <a:srgbClr val="FFFFFF"/>
                </a:solidFill>
                <a:latin typeface="Arial" pitchFamily="34" charset="0"/>
              </a:rPr>
              <a:t>(2-5</a:t>
            </a:r>
            <a:r>
              <a:rPr lang="zh-CN" altLang="en-US" sz="1125" dirty="0">
                <a:solidFill>
                  <a:srgbClr val="FFFFFF"/>
                </a:solidFill>
                <a:latin typeface="Arial" pitchFamily="34" charset="0"/>
              </a:rPr>
              <a:t>级</a:t>
            </a:r>
            <a:r>
              <a:rPr lang="en-US" altLang="zh-CN" sz="1125" dirty="0">
                <a:solidFill>
                  <a:srgbClr val="FFFFFF"/>
                </a:solidFill>
                <a:latin typeface="Arial" pitchFamily="34" charset="0"/>
              </a:rPr>
              <a:t>):18pt </a:t>
            </a:r>
            <a:endParaRPr lang="zh-CN" altLang="en-US"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颜色</a:t>
            </a:r>
            <a:r>
              <a:rPr lang="en-US" altLang="zh-CN" sz="1125" dirty="0">
                <a:solidFill>
                  <a:srgbClr val="FFFFFF"/>
                </a:solidFill>
                <a:latin typeface="Arial" pitchFamily="34" charset="0"/>
              </a:rPr>
              <a:t>:</a:t>
            </a:r>
            <a:r>
              <a:rPr lang="zh-CN" altLang="en-US" sz="1125" dirty="0">
                <a:solidFill>
                  <a:srgbClr val="FFFFFF"/>
                </a:solidFill>
                <a:latin typeface="Arial" pitchFamily="34" charset="0"/>
              </a:rPr>
              <a:t>黑色</a:t>
            </a:r>
          </a:p>
          <a:p>
            <a:pPr marL="342923" indent="-342923" algn="r">
              <a:lnSpc>
                <a:spcPct val="125000"/>
              </a:lnSpc>
              <a:spcBef>
                <a:spcPct val="20000"/>
              </a:spcBef>
            </a:pPr>
            <a:r>
              <a:rPr lang="zh-CN" altLang="en-US" sz="1125" dirty="0">
                <a:solidFill>
                  <a:srgbClr val="FFFFFF"/>
                </a:solidFill>
                <a:latin typeface="Arial" pitchFamily="34" charset="0"/>
              </a:rPr>
              <a:t>字体</a:t>
            </a:r>
            <a:r>
              <a:rPr lang="en-US" altLang="zh-CN" sz="1125" dirty="0">
                <a:solidFill>
                  <a:srgbClr val="FFFFFF"/>
                </a:solidFill>
                <a:latin typeface="Arial" pitchFamily="34" charset="0"/>
              </a:rPr>
              <a:t>:</a:t>
            </a:r>
            <a:r>
              <a:rPr lang="zh-CN" altLang="en-US" sz="1125" dirty="0">
                <a:solidFill>
                  <a:srgbClr val="FFFFFF"/>
                </a:solidFill>
                <a:latin typeface="Arial" pitchFamily="34" charset="0"/>
              </a:rPr>
              <a:t>细黑体 </a:t>
            </a:r>
            <a:endParaRPr lang="zh-CN" altLang="en-US" sz="1125" dirty="0">
              <a:solidFill>
                <a:srgbClr val="000000"/>
              </a:solidFill>
              <a:latin typeface="Arial" pitchFamily="34" charset="0"/>
            </a:endParaRPr>
          </a:p>
        </p:txBody>
      </p:sp>
      <p:grpSp>
        <p:nvGrpSpPr>
          <p:cNvPr id="2056" name="Group 22"/>
          <p:cNvGrpSpPr>
            <a:grpSpLocks/>
          </p:cNvGrpSpPr>
          <p:nvPr/>
        </p:nvGrpSpPr>
        <p:grpSpPr bwMode="auto">
          <a:xfrm>
            <a:off x="9326596" y="3512366"/>
            <a:ext cx="919323" cy="3224959"/>
            <a:chOff x="5839" y="2251"/>
            <a:chExt cx="579" cy="2031"/>
          </a:xfrm>
        </p:grpSpPr>
        <p:sp>
          <p:nvSpPr>
            <p:cNvPr id="2061" name="Rectangle 23"/>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2062" name="Group 24"/>
            <p:cNvGrpSpPr>
              <a:grpSpLocks/>
            </p:cNvGrpSpPr>
            <p:nvPr userDrawn="1"/>
          </p:nvGrpSpPr>
          <p:grpSpPr bwMode="auto">
            <a:xfrm>
              <a:off x="5893" y="2387"/>
              <a:ext cx="466" cy="115"/>
              <a:chOff x="5893" y="2387"/>
              <a:chExt cx="466" cy="115"/>
            </a:xfrm>
          </p:grpSpPr>
          <p:sp>
            <p:nvSpPr>
              <p:cNvPr id="2123" name="Rectangle 25"/>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24" name="Rectangle 26"/>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25" name="Rectangle 27"/>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26" name="Rectangle 28"/>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63" name="Group 29"/>
            <p:cNvGrpSpPr>
              <a:grpSpLocks/>
            </p:cNvGrpSpPr>
            <p:nvPr userDrawn="1"/>
          </p:nvGrpSpPr>
          <p:grpSpPr bwMode="auto">
            <a:xfrm>
              <a:off x="5893" y="2523"/>
              <a:ext cx="466" cy="115"/>
              <a:chOff x="5893" y="2523"/>
              <a:chExt cx="466" cy="115"/>
            </a:xfrm>
          </p:grpSpPr>
          <p:sp>
            <p:nvSpPr>
              <p:cNvPr id="2119" name="Rectangle 30"/>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20" name="Rectangle 31"/>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21" name="Rectangle 32"/>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22" name="Rectangle 33"/>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64" name="Group 34"/>
            <p:cNvGrpSpPr>
              <a:grpSpLocks/>
            </p:cNvGrpSpPr>
            <p:nvPr userDrawn="1"/>
          </p:nvGrpSpPr>
          <p:grpSpPr bwMode="auto">
            <a:xfrm>
              <a:off x="5893" y="2659"/>
              <a:ext cx="466" cy="115"/>
              <a:chOff x="5893" y="2659"/>
              <a:chExt cx="466" cy="115"/>
            </a:xfrm>
          </p:grpSpPr>
          <p:sp>
            <p:nvSpPr>
              <p:cNvPr id="2115" name="Rectangle 35"/>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16" name="Rectangle 36"/>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17" name="Rectangle 37"/>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18" name="Rectangle 38"/>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65" name="Group 39"/>
            <p:cNvGrpSpPr>
              <a:grpSpLocks/>
            </p:cNvGrpSpPr>
            <p:nvPr userDrawn="1"/>
          </p:nvGrpSpPr>
          <p:grpSpPr bwMode="auto">
            <a:xfrm>
              <a:off x="5893" y="2251"/>
              <a:ext cx="466" cy="119"/>
              <a:chOff x="5893" y="2251"/>
              <a:chExt cx="466" cy="119"/>
            </a:xfrm>
          </p:grpSpPr>
          <p:sp>
            <p:nvSpPr>
              <p:cNvPr id="2111" name="Rectangle 40"/>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12" name="Rectangle 41"/>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13" name="Rectangle 42"/>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14" name="Rectangle 43"/>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66" name="Group 44"/>
            <p:cNvGrpSpPr>
              <a:grpSpLocks/>
            </p:cNvGrpSpPr>
            <p:nvPr userDrawn="1"/>
          </p:nvGrpSpPr>
          <p:grpSpPr bwMode="auto">
            <a:xfrm>
              <a:off x="5893" y="2886"/>
              <a:ext cx="466" cy="115"/>
              <a:chOff x="5893" y="2886"/>
              <a:chExt cx="466" cy="115"/>
            </a:xfrm>
          </p:grpSpPr>
          <p:sp>
            <p:nvSpPr>
              <p:cNvPr id="2107" name="Rectangle 45"/>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08" name="Rectangle 46"/>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09" name="Rectangle 47"/>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10" name="Rectangle 48"/>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67" name="Group 49"/>
            <p:cNvGrpSpPr>
              <a:grpSpLocks/>
            </p:cNvGrpSpPr>
            <p:nvPr userDrawn="1"/>
          </p:nvGrpSpPr>
          <p:grpSpPr bwMode="auto">
            <a:xfrm>
              <a:off x="5893" y="3022"/>
              <a:ext cx="466" cy="115"/>
              <a:chOff x="5893" y="3022"/>
              <a:chExt cx="466" cy="115"/>
            </a:xfrm>
          </p:grpSpPr>
          <p:sp>
            <p:nvSpPr>
              <p:cNvPr id="2103" name="Rectangle 50"/>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04" name="Rectangle 51"/>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05" name="Rectangle 52"/>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06" name="Rectangle 53"/>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68" name="Group 54"/>
            <p:cNvGrpSpPr>
              <a:grpSpLocks/>
            </p:cNvGrpSpPr>
            <p:nvPr userDrawn="1"/>
          </p:nvGrpSpPr>
          <p:grpSpPr bwMode="auto">
            <a:xfrm>
              <a:off x="5893" y="3158"/>
              <a:ext cx="466" cy="115"/>
              <a:chOff x="5893" y="3158"/>
              <a:chExt cx="466" cy="115"/>
            </a:xfrm>
          </p:grpSpPr>
          <p:sp>
            <p:nvSpPr>
              <p:cNvPr id="2099" name="Rectangle 55"/>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00" name="Rectangle 56"/>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01" name="Rectangle 57"/>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02" name="Rectangle 58"/>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69" name="Group 59"/>
            <p:cNvGrpSpPr>
              <a:grpSpLocks/>
            </p:cNvGrpSpPr>
            <p:nvPr userDrawn="1"/>
          </p:nvGrpSpPr>
          <p:grpSpPr bwMode="auto">
            <a:xfrm>
              <a:off x="5893" y="3385"/>
              <a:ext cx="466" cy="115"/>
              <a:chOff x="5893" y="3385"/>
              <a:chExt cx="466" cy="115"/>
            </a:xfrm>
          </p:grpSpPr>
          <p:sp>
            <p:nvSpPr>
              <p:cNvPr id="2095" name="Rectangle 60"/>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96" name="Rectangle 61"/>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97" name="Rectangle 62"/>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98" name="Rectangle 63"/>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70" name="Group 64"/>
            <p:cNvGrpSpPr>
              <a:grpSpLocks/>
            </p:cNvGrpSpPr>
            <p:nvPr userDrawn="1"/>
          </p:nvGrpSpPr>
          <p:grpSpPr bwMode="auto">
            <a:xfrm>
              <a:off x="5893" y="3521"/>
              <a:ext cx="466" cy="115"/>
              <a:chOff x="5893" y="3521"/>
              <a:chExt cx="466" cy="115"/>
            </a:xfrm>
          </p:grpSpPr>
          <p:sp>
            <p:nvSpPr>
              <p:cNvPr id="2091" name="Rectangle 65"/>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92" name="Rectangle 66"/>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93" name="Rectangle 67"/>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94" name="Rectangle 68"/>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71" name="Group 69"/>
            <p:cNvGrpSpPr>
              <a:grpSpLocks/>
            </p:cNvGrpSpPr>
            <p:nvPr userDrawn="1"/>
          </p:nvGrpSpPr>
          <p:grpSpPr bwMode="auto">
            <a:xfrm>
              <a:off x="5893" y="3657"/>
              <a:ext cx="466" cy="115"/>
              <a:chOff x="5893" y="3657"/>
              <a:chExt cx="466" cy="115"/>
            </a:xfrm>
          </p:grpSpPr>
          <p:sp>
            <p:nvSpPr>
              <p:cNvPr id="2087" name="Rectangle 70"/>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88" name="Rectangle 71"/>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89" name="Rectangle 72"/>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90" name="Rectangle 73"/>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72" name="Group 74"/>
            <p:cNvGrpSpPr>
              <a:grpSpLocks/>
            </p:cNvGrpSpPr>
            <p:nvPr userDrawn="1"/>
          </p:nvGrpSpPr>
          <p:grpSpPr bwMode="auto">
            <a:xfrm>
              <a:off x="5893" y="3884"/>
              <a:ext cx="466" cy="115"/>
              <a:chOff x="5893" y="3884"/>
              <a:chExt cx="466" cy="115"/>
            </a:xfrm>
          </p:grpSpPr>
          <p:sp>
            <p:nvSpPr>
              <p:cNvPr id="2083" name="Rectangle 75"/>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84" name="Rectangle 76"/>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85" name="Rectangle 77"/>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86" name="Rectangle 78"/>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73" name="Group 79"/>
            <p:cNvGrpSpPr>
              <a:grpSpLocks/>
            </p:cNvGrpSpPr>
            <p:nvPr userDrawn="1"/>
          </p:nvGrpSpPr>
          <p:grpSpPr bwMode="auto">
            <a:xfrm>
              <a:off x="5893" y="4026"/>
              <a:ext cx="466" cy="115"/>
              <a:chOff x="5893" y="4026"/>
              <a:chExt cx="466" cy="115"/>
            </a:xfrm>
          </p:grpSpPr>
          <p:sp>
            <p:nvSpPr>
              <p:cNvPr id="2079" name="Rectangle 80"/>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80" name="Rectangle 81"/>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81" name="Rectangle 82"/>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82" name="Rectangle 83"/>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2074" name="Group 84"/>
            <p:cNvGrpSpPr>
              <a:grpSpLocks/>
            </p:cNvGrpSpPr>
            <p:nvPr userDrawn="1"/>
          </p:nvGrpSpPr>
          <p:grpSpPr bwMode="auto">
            <a:xfrm>
              <a:off x="5893" y="4167"/>
              <a:ext cx="466" cy="115"/>
              <a:chOff x="5893" y="4167"/>
              <a:chExt cx="466" cy="115"/>
            </a:xfrm>
          </p:grpSpPr>
          <p:sp>
            <p:nvSpPr>
              <p:cNvPr id="2075" name="Rectangle 85"/>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76" name="Rectangle 86"/>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77" name="Rectangle 87"/>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078" name="Rectangle 88"/>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2057" name="Rectangle 89"/>
          <p:cNvSpPr>
            <a:spLocks noChangeArrowheads="1"/>
          </p:cNvSpPr>
          <p:nvPr/>
        </p:nvSpPr>
        <p:spPr bwMode="auto">
          <a:xfrm>
            <a:off x="9253560" y="1341750"/>
            <a:ext cx="1192420" cy="15697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latin typeface="Arial" pitchFamily="34" charset="0"/>
              </a:rPr>
              <a:t>配色参考方案：</a:t>
            </a:r>
          </a:p>
          <a:p>
            <a:pPr>
              <a:lnSpc>
                <a:spcPct val="120000"/>
              </a:lnSpc>
              <a:spcBef>
                <a:spcPct val="20000"/>
              </a:spcBef>
            </a:pPr>
            <a:r>
              <a:rPr lang="zh-CN" altLang="en-US" sz="1125" dirty="0">
                <a:solidFill>
                  <a:srgbClr val="FFFFFF"/>
                </a:solidFill>
                <a:latin typeface="Arial" pitchFamily="34" charset="0"/>
              </a:rPr>
              <a:t>建议同一页面内不超过四种颜色，以下是</a:t>
            </a:r>
            <a:r>
              <a:rPr lang="en-US" altLang="zh-CN" sz="1125" dirty="0">
                <a:solidFill>
                  <a:srgbClr val="FFFFFF"/>
                </a:solidFill>
                <a:latin typeface="Arial" pitchFamily="34" charset="0"/>
              </a:rPr>
              <a:t>13</a:t>
            </a:r>
            <a:r>
              <a:rPr lang="zh-CN" altLang="en-US" sz="1125" dirty="0">
                <a:solidFill>
                  <a:srgbClr val="FFFFFF"/>
                </a:solidFill>
                <a:latin typeface="Arial" pitchFamily="34" charset="0"/>
              </a:rPr>
              <a:t>组配色方案，同一页面内只选择一组使用。（仅供参考）</a:t>
            </a:r>
          </a:p>
        </p:txBody>
      </p:sp>
      <p:sp>
        <p:nvSpPr>
          <p:cNvPr id="2058" name="Rectangle 90"/>
          <p:cNvSpPr>
            <a:spLocks noChangeArrowheads="1"/>
          </p:cNvSpPr>
          <p:nvPr/>
        </p:nvSpPr>
        <p:spPr bwMode="auto">
          <a:xfrm>
            <a:off x="9253558" y="7942"/>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latin typeface="Arial" pitchFamily="34" charset="0"/>
              </a:rPr>
              <a:t>客户或者合作伙伴的标志放在右上角</a:t>
            </a:r>
            <a:r>
              <a:rPr lang="en-US" altLang="zh-CN" sz="1125" dirty="0">
                <a:solidFill>
                  <a:srgbClr val="FFFFFF"/>
                </a:solidFill>
                <a:latin typeface="Arial" pitchFamily="34" charset="0"/>
              </a:rPr>
              <a:t>.</a:t>
            </a:r>
            <a:endParaRPr lang="zh-CN" altLang="en-US" sz="1125" dirty="0">
              <a:solidFill>
                <a:srgbClr val="FFFFFF"/>
              </a:solidFill>
              <a:latin typeface="Arial" pitchFamily="34" charset="0"/>
            </a:endParaRPr>
          </a:p>
        </p:txBody>
      </p:sp>
      <p:sp>
        <p:nvSpPr>
          <p:cNvPr id="152" name="Text Box 5"/>
          <p:cNvSpPr txBox="1">
            <a:spLocks noChangeArrowheads="1"/>
          </p:cNvSpPr>
          <p:nvPr/>
        </p:nvSpPr>
        <p:spPr bwMode="auto">
          <a:xfrm>
            <a:off x="755782" y="6232383"/>
            <a:ext cx="3178509" cy="219291"/>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5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25" dirty="0" smtClean="0">
                <a:solidFill>
                  <a:srgbClr val="000000"/>
                </a:solidFill>
                <a:latin typeface="FrutigerNext LT Bold" pitchFamily="34" charset="0"/>
                <a:ea typeface="MS PGothic" pitchFamily="34" charset="-128"/>
              </a:rPr>
              <a:t>HUAWEI TECHNOLOGIES CO., LTD.</a:t>
            </a:r>
          </a:p>
        </p:txBody>
      </p:sp>
      <p:sp>
        <p:nvSpPr>
          <p:cNvPr id="153" name="Text Box 7"/>
          <p:cNvSpPr txBox="1">
            <a:spLocks noChangeArrowheads="1"/>
          </p:cNvSpPr>
          <p:nvPr/>
        </p:nvSpPr>
        <p:spPr bwMode="auto">
          <a:xfrm>
            <a:off x="7230732" y="4020483"/>
            <a:ext cx="1152900" cy="2423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50" tIns="45725" rIns="91450" bIns="45725">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975" dirty="0" smtClean="0">
                <a:solidFill>
                  <a:srgbClr val="FFFFFF"/>
                </a:solidFill>
                <a:latin typeface="FrutigerNext LT Bold" pitchFamily="34" charset="0"/>
                <a:ea typeface="MS PGothic" pitchFamily="34" charset="-128"/>
              </a:rPr>
              <a:t>www.huawei.com</a:t>
            </a:r>
          </a:p>
        </p:txBody>
      </p:sp>
      <p:pic>
        <p:nvPicPr>
          <p:cNvPr id="79" name="Picture 6" descr="Logo"/>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70548" y="5686155"/>
            <a:ext cx="706559" cy="70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16"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25" b="1">
          <a:solidFill>
            <a:schemeClr val="bg1"/>
          </a:solidFill>
          <a:latin typeface="+mn-lt"/>
          <a:ea typeface="黑体" pitchFamily="49" charset="-122"/>
          <a:cs typeface="+mj-cs"/>
        </a:defRPr>
      </a:lvl1pPr>
      <a:lvl2pPr algn="l" rtl="0" eaLnBrk="0" fontAlgn="base" hangingPunct="0">
        <a:spcBef>
          <a:spcPct val="0"/>
        </a:spcBef>
        <a:spcAft>
          <a:spcPct val="0"/>
        </a:spcAft>
        <a:defRPr sz="3225" b="1">
          <a:solidFill>
            <a:schemeClr val="bg1"/>
          </a:solidFill>
          <a:latin typeface="黑体" pitchFamily="49" charset="-122"/>
          <a:ea typeface="黑体" pitchFamily="49" charset="-122"/>
          <a:cs typeface="宋体" charset="-122"/>
        </a:defRPr>
      </a:lvl2pPr>
      <a:lvl3pPr algn="l" rtl="0" eaLnBrk="0" fontAlgn="base" hangingPunct="0">
        <a:spcBef>
          <a:spcPct val="0"/>
        </a:spcBef>
        <a:spcAft>
          <a:spcPct val="0"/>
        </a:spcAft>
        <a:defRPr sz="3225" b="1">
          <a:solidFill>
            <a:schemeClr val="bg1"/>
          </a:solidFill>
          <a:latin typeface="黑体" pitchFamily="49" charset="-122"/>
          <a:ea typeface="黑体" pitchFamily="49" charset="-122"/>
          <a:cs typeface="宋体" charset="-122"/>
        </a:defRPr>
      </a:lvl3pPr>
      <a:lvl4pPr algn="l" rtl="0" eaLnBrk="0" fontAlgn="base" hangingPunct="0">
        <a:spcBef>
          <a:spcPct val="0"/>
        </a:spcBef>
        <a:spcAft>
          <a:spcPct val="0"/>
        </a:spcAft>
        <a:defRPr sz="3225" b="1">
          <a:solidFill>
            <a:schemeClr val="bg1"/>
          </a:solidFill>
          <a:latin typeface="黑体" pitchFamily="49" charset="-122"/>
          <a:ea typeface="黑体" pitchFamily="49" charset="-122"/>
          <a:cs typeface="宋体" charset="-122"/>
        </a:defRPr>
      </a:lvl4pPr>
      <a:lvl5pPr algn="l" rtl="0" eaLnBrk="0" fontAlgn="base" hangingPunct="0">
        <a:spcBef>
          <a:spcPct val="0"/>
        </a:spcBef>
        <a:spcAft>
          <a:spcPct val="0"/>
        </a:spcAft>
        <a:defRPr sz="3225" b="1">
          <a:solidFill>
            <a:schemeClr val="bg1"/>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99" indent="-285769" algn="l" rtl="0" eaLnBrk="0" fontAlgn="base" hangingPunct="0">
        <a:spcBef>
          <a:spcPct val="20000"/>
        </a:spcBef>
        <a:spcAft>
          <a:spcPct val="0"/>
        </a:spcAft>
        <a:buFont typeface="Arial" pitchFamily="34" charset="0"/>
        <a:buChar char="›"/>
        <a:defRPr sz="2025">
          <a:solidFill>
            <a:schemeClr val="tx1"/>
          </a:solidFill>
          <a:latin typeface="+mn-lt"/>
          <a:ea typeface="+mn-ea"/>
          <a:cs typeface="+mn-cs"/>
        </a:defRPr>
      </a:lvl2pPr>
      <a:lvl3pPr marL="1143076" indent="-228615"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307" indent="-228615" algn="l" rtl="0" eaLnBrk="0" fontAlgn="base" hangingPunct="0">
        <a:spcBef>
          <a:spcPct val="20000"/>
        </a:spcBef>
        <a:spcAft>
          <a:spcPct val="0"/>
        </a:spcAft>
        <a:buChar char="–"/>
        <a:defRPr sz="1575">
          <a:solidFill>
            <a:schemeClr val="tx1"/>
          </a:solidFill>
          <a:latin typeface="+mn-lt"/>
          <a:ea typeface="+mn-ea"/>
          <a:cs typeface="+mn-cs"/>
        </a:defRPr>
      </a:lvl4pPr>
      <a:lvl5pPr marL="2057537" indent="-228615" algn="l" rtl="0" eaLnBrk="0" fontAlgn="base" hangingPunct="0">
        <a:spcBef>
          <a:spcPct val="20000"/>
        </a:spcBef>
        <a:spcAft>
          <a:spcPct val="0"/>
        </a:spcAft>
        <a:buFont typeface="Arial" pitchFamily="34" charset="0"/>
        <a:buChar char="~"/>
        <a:defRPr sz="1575">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 y="1618"/>
            <a:ext cx="9145586" cy="6856357"/>
          </a:xfrm>
          <a:prstGeom prst="rect">
            <a:avLst/>
          </a:prstGeom>
        </p:spPr>
      </p:pic>
      <p:sp>
        <p:nvSpPr>
          <p:cNvPr id="2" name="标题占位符 1"/>
          <p:cNvSpPr>
            <a:spLocks noGrp="1"/>
          </p:cNvSpPr>
          <p:nvPr>
            <p:ph type="title"/>
          </p:nvPr>
        </p:nvSpPr>
        <p:spPr>
          <a:xfrm>
            <a:off x="457279" y="275232"/>
            <a:ext cx="8231030" cy="1143265"/>
          </a:xfrm>
          <a:prstGeom prst="rect">
            <a:avLst/>
          </a:prstGeom>
        </p:spPr>
        <p:txBody>
          <a:bodyPr vert="horz" lIns="121944" tIns="60972" rIns="121944" bIns="60972"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79" y="1600572"/>
            <a:ext cx="8231030" cy="4526481"/>
          </a:xfrm>
          <a:prstGeom prst="rect">
            <a:avLst/>
          </a:prstGeom>
        </p:spPr>
        <p:txBody>
          <a:bodyPr vert="horz" lIns="121944" tIns="60972" rIns="121944" bIns="6097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457281" y="6357824"/>
            <a:ext cx="2133971" cy="366267"/>
          </a:xfrm>
          <a:prstGeom prst="rect">
            <a:avLst/>
          </a:prstGeom>
        </p:spPr>
        <p:txBody>
          <a:bodyPr vert="horz" lIns="121944" tIns="60972" rIns="121944" bIns="60972" rtlCol="0" anchor="ctr"/>
          <a:lstStyle>
            <a:lvl1pPr algn="l">
              <a:defRPr sz="1200">
                <a:solidFill>
                  <a:schemeClr val="bg1"/>
                </a:solidFill>
              </a:defRPr>
            </a:lvl1pPr>
          </a:lstStyle>
          <a:p>
            <a:pPr defTabSz="914461" fontAlgn="auto">
              <a:spcBef>
                <a:spcPts val="0"/>
              </a:spcBef>
              <a:spcAft>
                <a:spcPts val="0"/>
              </a:spcAft>
            </a:pPr>
            <a:fld id="{1A5B2B23-E5F0-44D7-A9FF-4B8E82156B39}" type="datetimeFigureOut">
              <a:rPr lang="zh-CN" altLang="en-US" smtClean="0">
                <a:solidFill>
                  <a:prstClr val="white"/>
                </a:solidFill>
                <a:latin typeface="Arial"/>
                <a:ea typeface="微软雅黑"/>
              </a:rPr>
              <a:pPr defTabSz="914461" fontAlgn="auto">
                <a:spcBef>
                  <a:spcPts val="0"/>
                </a:spcBef>
                <a:spcAft>
                  <a:spcPts val="0"/>
                </a:spcAft>
              </a:pPr>
              <a:t>2017/4/5</a:t>
            </a:fld>
            <a:endParaRPr lang="zh-CN" altLang="en-US">
              <a:solidFill>
                <a:prstClr val="white"/>
              </a:solidFill>
              <a:latin typeface="Arial"/>
              <a:ea typeface="微软雅黑"/>
            </a:endParaRPr>
          </a:p>
        </p:txBody>
      </p:sp>
      <p:sp>
        <p:nvSpPr>
          <p:cNvPr id="5" name="页脚占位符 4"/>
          <p:cNvSpPr>
            <a:spLocks noGrp="1"/>
          </p:cNvSpPr>
          <p:nvPr>
            <p:ph type="ftr" sz="quarter" idx="3"/>
          </p:nvPr>
        </p:nvSpPr>
        <p:spPr>
          <a:xfrm>
            <a:off x="3124743" y="6357824"/>
            <a:ext cx="2896103" cy="366267"/>
          </a:xfrm>
          <a:prstGeom prst="rect">
            <a:avLst/>
          </a:prstGeom>
        </p:spPr>
        <p:txBody>
          <a:bodyPr vert="horz" lIns="121944" tIns="60972" rIns="121944" bIns="60972" rtlCol="0" anchor="ctr"/>
          <a:lstStyle>
            <a:lvl1pPr algn="ctr">
              <a:defRPr sz="1200">
                <a:solidFill>
                  <a:schemeClr val="bg1"/>
                </a:solidFill>
              </a:defRPr>
            </a:lvl1pPr>
          </a:lstStyle>
          <a:p>
            <a:pPr defTabSz="914461" fontAlgn="auto">
              <a:spcBef>
                <a:spcPts val="0"/>
              </a:spcBef>
              <a:spcAft>
                <a:spcPts val="0"/>
              </a:spcAft>
            </a:pPr>
            <a:endParaRPr lang="zh-CN" altLang="en-US">
              <a:solidFill>
                <a:prstClr val="white"/>
              </a:solidFill>
              <a:latin typeface="Arial"/>
              <a:ea typeface="微软雅黑"/>
            </a:endParaRPr>
          </a:p>
        </p:txBody>
      </p:sp>
      <p:sp>
        <p:nvSpPr>
          <p:cNvPr id="6" name="灯片编号占位符 5"/>
          <p:cNvSpPr>
            <a:spLocks noGrp="1"/>
          </p:cNvSpPr>
          <p:nvPr>
            <p:ph type="sldNum" sz="quarter" idx="4"/>
          </p:nvPr>
        </p:nvSpPr>
        <p:spPr>
          <a:xfrm>
            <a:off x="6554339" y="6357824"/>
            <a:ext cx="2133971" cy="366267"/>
          </a:xfrm>
          <a:prstGeom prst="rect">
            <a:avLst/>
          </a:prstGeom>
        </p:spPr>
        <p:txBody>
          <a:bodyPr vert="horz" lIns="121944" tIns="60972" rIns="121944" bIns="60972" rtlCol="0" anchor="ctr"/>
          <a:lstStyle>
            <a:lvl1pPr algn="r">
              <a:defRPr sz="1200">
                <a:solidFill>
                  <a:schemeClr val="bg1"/>
                </a:solidFill>
              </a:defRPr>
            </a:lvl1pPr>
          </a:lstStyle>
          <a:p>
            <a:pPr defTabSz="914461" fontAlgn="auto">
              <a:spcBef>
                <a:spcPts val="0"/>
              </a:spcBef>
              <a:spcAft>
                <a:spcPts val="0"/>
              </a:spcAft>
            </a:pPr>
            <a:fld id="{B2563A90-55EF-4D2C-B954-EDF55F24A661}" type="slidenum">
              <a:rPr lang="zh-CN" altLang="en-US" smtClean="0">
                <a:solidFill>
                  <a:prstClr val="white"/>
                </a:solidFill>
                <a:latin typeface="Arial"/>
                <a:ea typeface="微软雅黑"/>
              </a:rPr>
              <a:pPr defTabSz="914461" fontAlgn="auto">
                <a:spcBef>
                  <a:spcPts val="0"/>
                </a:spcBef>
                <a:spcAft>
                  <a:spcPts val="0"/>
                </a:spcAft>
              </a:pPr>
              <a:t>‹Nº›</a:t>
            </a:fld>
            <a:endParaRPr lang="zh-CN" altLang="en-US">
              <a:solidFill>
                <a:prstClr val="white"/>
              </a:solidFill>
              <a:latin typeface="Arial"/>
              <a:ea typeface="微软雅黑"/>
            </a:endParaRPr>
          </a:p>
        </p:txBody>
      </p:sp>
      <p:sp>
        <p:nvSpPr>
          <p:cNvPr id="8" name="Rectangle 86"/>
          <p:cNvSpPr>
            <a:spLocks noChangeArrowheads="1"/>
          </p:cNvSpPr>
          <p:nvPr userDrawn="1"/>
        </p:nvSpPr>
        <p:spPr bwMode="auto">
          <a:xfrm>
            <a:off x="429518" y="6433426"/>
            <a:ext cx="535587" cy="426163"/>
          </a:xfrm>
          <a:prstGeom prst="rect">
            <a:avLst/>
          </a:prstGeom>
          <a:noFill/>
          <a:ln w="9525">
            <a:noFill/>
            <a:miter lim="800000"/>
            <a:headEnd/>
            <a:tailEnd/>
          </a:ln>
          <a:effectLst/>
        </p:spPr>
        <p:txBody>
          <a:bodyPr lIns="0" tIns="0" rIns="0" bIns="0"/>
          <a:lstStyle/>
          <a:p>
            <a:pPr defTabSz="740985" eaLnBrk="0" fontAlgn="auto" hangingPunct="0">
              <a:lnSpc>
                <a:spcPct val="85000"/>
              </a:lnSpc>
              <a:spcBef>
                <a:spcPts val="0"/>
              </a:spcBef>
              <a:spcAft>
                <a:spcPts val="0"/>
              </a:spcAft>
            </a:pPr>
            <a:endParaRPr lang="de-DE" sz="975" dirty="0">
              <a:solidFill>
                <a:prstClr val="white"/>
              </a:solidFill>
              <a:latin typeface="FrutigerNext LT Light" pitchFamily="34" charset="0"/>
              <a:ea typeface="MS PGothic" pitchFamily="34" charset="-128"/>
            </a:endParaRPr>
          </a:p>
          <a:p>
            <a:pPr defTabSz="740985" eaLnBrk="0" fontAlgn="auto" hangingPunct="0">
              <a:lnSpc>
                <a:spcPct val="85000"/>
              </a:lnSpc>
              <a:spcBef>
                <a:spcPts val="0"/>
              </a:spcBef>
              <a:spcAft>
                <a:spcPts val="0"/>
              </a:spcAft>
            </a:pPr>
            <a:fld id="{E68EC476-442B-4BB7-9603-F1440C241F3D}" type="slidenum">
              <a:rPr lang="de-DE" sz="975" smtClean="0">
                <a:solidFill>
                  <a:prstClr val="white"/>
                </a:solidFill>
                <a:latin typeface="FrutigerNext LT Light" pitchFamily="34" charset="0"/>
                <a:ea typeface="MS PGothic" pitchFamily="34" charset="-128"/>
              </a:rPr>
              <a:pPr defTabSz="740985" eaLnBrk="0" fontAlgn="auto" hangingPunct="0">
                <a:lnSpc>
                  <a:spcPct val="85000"/>
                </a:lnSpc>
                <a:spcBef>
                  <a:spcPts val="0"/>
                </a:spcBef>
                <a:spcAft>
                  <a:spcPts val="0"/>
                </a:spcAft>
              </a:pPr>
              <a:t>‹Nº›</a:t>
            </a:fld>
            <a:endParaRPr lang="en-GB" sz="975" dirty="0">
              <a:solidFill>
                <a:prstClr val="white"/>
              </a:solidFill>
              <a:latin typeface="FrutigerNext LT Light" pitchFamily="34" charset="0"/>
              <a:ea typeface="MS PGothic" pitchFamily="34" charset="-128"/>
            </a:endParaRPr>
          </a:p>
        </p:txBody>
      </p:sp>
    </p:spTree>
    <p:extLst>
      <p:ext uri="{BB962C8B-B14F-4D97-AF65-F5344CB8AC3E}">
        <p14:creationId xmlns:p14="http://schemas.microsoft.com/office/powerpoint/2010/main" val="3318574705"/>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938" r:id="rId6"/>
  </p:sldLayoutIdLst>
  <p:timing>
    <p:tnLst>
      <p:par>
        <p:cTn id="1" dur="indefinite" restart="never" nodeType="tmRoot"/>
      </p:par>
    </p:tnLst>
  </p:timing>
  <p:txStyles>
    <p:titleStyle>
      <a:lvl1pPr algn="ctr" defTabSz="914461" rtl="0" eaLnBrk="1" latinLnBrk="0" hangingPunct="1">
        <a:spcBef>
          <a:spcPct val="0"/>
        </a:spcBef>
        <a:buNone/>
        <a:defRPr sz="4424" kern="1200">
          <a:solidFill>
            <a:schemeClr val="bg1"/>
          </a:solidFill>
          <a:latin typeface="+mj-lt"/>
          <a:ea typeface="+mj-ea"/>
          <a:cs typeface="+mj-cs"/>
        </a:defRPr>
      </a:lvl1pPr>
    </p:titleStyle>
    <p:bodyStyle>
      <a:lvl1pPr marL="342923" indent="-342923" algn="l" defTabSz="914461" rtl="0" eaLnBrk="1" latinLnBrk="0" hangingPunct="1">
        <a:spcBef>
          <a:spcPct val="20000"/>
        </a:spcBef>
        <a:buFont typeface="Arial" pitchFamily="34" charset="0"/>
        <a:buChar char="•"/>
        <a:defRPr sz="3225" kern="1200">
          <a:solidFill>
            <a:schemeClr val="bg1"/>
          </a:solidFill>
          <a:latin typeface="+mn-lt"/>
          <a:ea typeface="+mn-ea"/>
          <a:cs typeface="+mn-cs"/>
        </a:defRPr>
      </a:lvl1pPr>
      <a:lvl2pPr marL="742999" indent="-285769" algn="l" defTabSz="914461" rtl="0" eaLnBrk="1" latinLnBrk="0" hangingPunct="1">
        <a:spcBef>
          <a:spcPct val="20000"/>
        </a:spcBef>
        <a:buFont typeface="Arial" pitchFamily="34" charset="0"/>
        <a:buChar char="–"/>
        <a:defRPr sz="2775" kern="1200">
          <a:solidFill>
            <a:schemeClr val="bg1"/>
          </a:solidFill>
          <a:latin typeface="+mn-lt"/>
          <a:ea typeface="+mn-ea"/>
          <a:cs typeface="+mn-cs"/>
        </a:defRPr>
      </a:lvl2pPr>
      <a:lvl3pPr marL="1143076" indent="-228615" algn="l" defTabSz="91446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30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4pPr>
      <a:lvl5pPr marL="205753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5pPr>
      <a:lvl6pPr marL="251476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99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922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6459"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1618"/>
            <a:ext cx="9145586" cy="6856357"/>
          </a:xfrm>
          <a:prstGeom prst="rect">
            <a:avLst/>
          </a:prstGeom>
        </p:spPr>
      </p:pic>
      <p:sp>
        <p:nvSpPr>
          <p:cNvPr id="2" name="标题占位符 1"/>
          <p:cNvSpPr>
            <a:spLocks noGrp="1"/>
          </p:cNvSpPr>
          <p:nvPr>
            <p:ph type="title"/>
          </p:nvPr>
        </p:nvSpPr>
        <p:spPr>
          <a:xfrm>
            <a:off x="457279" y="275232"/>
            <a:ext cx="8231030" cy="1143265"/>
          </a:xfrm>
          <a:prstGeom prst="rect">
            <a:avLst/>
          </a:prstGeom>
        </p:spPr>
        <p:txBody>
          <a:bodyPr vert="horz" lIns="121944" tIns="60972" rIns="121944" bIns="60972"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79" y="1600572"/>
            <a:ext cx="8231030" cy="4526481"/>
          </a:xfrm>
          <a:prstGeom prst="rect">
            <a:avLst/>
          </a:prstGeom>
        </p:spPr>
        <p:txBody>
          <a:bodyPr vert="horz" lIns="121944" tIns="60972" rIns="121944" bIns="6097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457281" y="6357824"/>
            <a:ext cx="2133971" cy="366267"/>
          </a:xfrm>
          <a:prstGeom prst="rect">
            <a:avLst/>
          </a:prstGeom>
        </p:spPr>
        <p:txBody>
          <a:bodyPr vert="horz" lIns="121944" tIns="60972" rIns="121944" bIns="60972" rtlCol="0" anchor="ctr"/>
          <a:lstStyle>
            <a:lvl1pPr algn="l">
              <a:defRPr sz="1200">
                <a:solidFill>
                  <a:schemeClr val="bg1"/>
                </a:solidFill>
              </a:defRPr>
            </a:lvl1pPr>
          </a:lstStyle>
          <a:p>
            <a:pPr defTabSz="914461" fontAlgn="auto">
              <a:spcBef>
                <a:spcPts val="0"/>
              </a:spcBef>
              <a:spcAft>
                <a:spcPts val="0"/>
              </a:spcAft>
            </a:pPr>
            <a:fld id="{1A5B2B23-E5F0-44D7-A9FF-4B8E82156B39}" type="datetimeFigureOut">
              <a:rPr lang="zh-CN" altLang="en-US" smtClean="0">
                <a:solidFill>
                  <a:prstClr val="white"/>
                </a:solidFill>
                <a:latin typeface="Arial"/>
                <a:ea typeface="微软雅黑"/>
              </a:rPr>
              <a:pPr defTabSz="914461" fontAlgn="auto">
                <a:spcBef>
                  <a:spcPts val="0"/>
                </a:spcBef>
                <a:spcAft>
                  <a:spcPts val="0"/>
                </a:spcAft>
              </a:pPr>
              <a:t>2017/4/5</a:t>
            </a:fld>
            <a:endParaRPr lang="zh-CN" altLang="en-US">
              <a:solidFill>
                <a:prstClr val="white"/>
              </a:solidFill>
              <a:latin typeface="Arial"/>
              <a:ea typeface="微软雅黑"/>
            </a:endParaRPr>
          </a:p>
        </p:txBody>
      </p:sp>
      <p:sp>
        <p:nvSpPr>
          <p:cNvPr id="5" name="页脚占位符 4"/>
          <p:cNvSpPr>
            <a:spLocks noGrp="1"/>
          </p:cNvSpPr>
          <p:nvPr>
            <p:ph type="ftr" sz="quarter" idx="3"/>
          </p:nvPr>
        </p:nvSpPr>
        <p:spPr>
          <a:xfrm>
            <a:off x="3124743" y="6357824"/>
            <a:ext cx="2896103" cy="366267"/>
          </a:xfrm>
          <a:prstGeom prst="rect">
            <a:avLst/>
          </a:prstGeom>
        </p:spPr>
        <p:txBody>
          <a:bodyPr vert="horz" lIns="121944" tIns="60972" rIns="121944" bIns="60972" rtlCol="0" anchor="ctr"/>
          <a:lstStyle>
            <a:lvl1pPr algn="ctr">
              <a:defRPr sz="1200">
                <a:solidFill>
                  <a:schemeClr val="bg1"/>
                </a:solidFill>
              </a:defRPr>
            </a:lvl1pPr>
          </a:lstStyle>
          <a:p>
            <a:pPr defTabSz="914461" fontAlgn="auto">
              <a:spcBef>
                <a:spcPts val="0"/>
              </a:spcBef>
              <a:spcAft>
                <a:spcPts val="0"/>
              </a:spcAft>
            </a:pPr>
            <a:endParaRPr lang="zh-CN" altLang="en-US">
              <a:solidFill>
                <a:prstClr val="white"/>
              </a:solidFill>
              <a:latin typeface="Arial"/>
              <a:ea typeface="微软雅黑"/>
            </a:endParaRPr>
          </a:p>
        </p:txBody>
      </p:sp>
      <p:sp>
        <p:nvSpPr>
          <p:cNvPr id="6" name="灯片编号占位符 5"/>
          <p:cNvSpPr>
            <a:spLocks noGrp="1"/>
          </p:cNvSpPr>
          <p:nvPr>
            <p:ph type="sldNum" sz="quarter" idx="4"/>
          </p:nvPr>
        </p:nvSpPr>
        <p:spPr>
          <a:xfrm>
            <a:off x="6554339" y="6357824"/>
            <a:ext cx="2133971" cy="366267"/>
          </a:xfrm>
          <a:prstGeom prst="rect">
            <a:avLst/>
          </a:prstGeom>
        </p:spPr>
        <p:txBody>
          <a:bodyPr vert="horz" lIns="121944" tIns="60972" rIns="121944" bIns="60972" rtlCol="0" anchor="ctr"/>
          <a:lstStyle>
            <a:lvl1pPr algn="r">
              <a:defRPr sz="1200">
                <a:solidFill>
                  <a:schemeClr val="bg1"/>
                </a:solidFill>
              </a:defRPr>
            </a:lvl1pPr>
          </a:lstStyle>
          <a:p>
            <a:pPr defTabSz="914461" fontAlgn="auto">
              <a:spcBef>
                <a:spcPts val="0"/>
              </a:spcBef>
              <a:spcAft>
                <a:spcPts val="0"/>
              </a:spcAft>
            </a:pPr>
            <a:fld id="{B2563A90-55EF-4D2C-B954-EDF55F24A661}" type="slidenum">
              <a:rPr lang="zh-CN" altLang="en-US" smtClean="0">
                <a:solidFill>
                  <a:prstClr val="white"/>
                </a:solidFill>
                <a:latin typeface="Arial"/>
                <a:ea typeface="微软雅黑"/>
              </a:rPr>
              <a:pPr defTabSz="914461" fontAlgn="auto">
                <a:spcBef>
                  <a:spcPts val="0"/>
                </a:spcBef>
                <a:spcAft>
                  <a:spcPts val="0"/>
                </a:spcAft>
              </a:pPr>
              <a:t>‹Nº›</a:t>
            </a:fld>
            <a:endParaRPr lang="zh-CN" altLang="en-US">
              <a:solidFill>
                <a:prstClr val="white"/>
              </a:solidFill>
              <a:latin typeface="Arial"/>
              <a:ea typeface="微软雅黑"/>
            </a:endParaRPr>
          </a:p>
        </p:txBody>
      </p:sp>
      <p:sp>
        <p:nvSpPr>
          <p:cNvPr id="8" name="Rectangle 86"/>
          <p:cNvSpPr>
            <a:spLocks noChangeArrowheads="1"/>
          </p:cNvSpPr>
          <p:nvPr userDrawn="1"/>
        </p:nvSpPr>
        <p:spPr bwMode="auto">
          <a:xfrm>
            <a:off x="429518" y="6433426"/>
            <a:ext cx="535587" cy="426163"/>
          </a:xfrm>
          <a:prstGeom prst="rect">
            <a:avLst/>
          </a:prstGeom>
          <a:noFill/>
          <a:ln w="9525">
            <a:noFill/>
            <a:miter lim="800000"/>
            <a:headEnd/>
            <a:tailEnd/>
          </a:ln>
          <a:effectLst/>
        </p:spPr>
        <p:txBody>
          <a:bodyPr lIns="0" tIns="0" rIns="0" bIns="0"/>
          <a:lstStyle/>
          <a:p>
            <a:pPr defTabSz="740985" eaLnBrk="0" fontAlgn="auto" hangingPunct="0">
              <a:lnSpc>
                <a:spcPct val="85000"/>
              </a:lnSpc>
              <a:spcBef>
                <a:spcPts val="0"/>
              </a:spcBef>
              <a:spcAft>
                <a:spcPts val="0"/>
              </a:spcAft>
            </a:pPr>
            <a:endParaRPr lang="de-DE" sz="975" dirty="0">
              <a:solidFill>
                <a:prstClr val="white"/>
              </a:solidFill>
              <a:latin typeface="FrutigerNext LT Light" pitchFamily="34" charset="0"/>
              <a:ea typeface="MS PGothic" pitchFamily="34" charset="-128"/>
            </a:endParaRPr>
          </a:p>
          <a:p>
            <a:pPr defTabSz="740985" eaLnBrk="0" fontAlgn="auto" hangingPunct="0">
              <a:lnSpc>
                <a:spcPct val="85000"/>
              </a:lnSpc>
              <a:spcBef>
                <a:spcPts val="0"/>
              </a:spcBef>
              <a:spcAft>
                <a:spcPts val="0"/>
              </a:spcAft>
            </a:pPr>
            <a:fld id="{E68EC476-442B-4BB7-9603-F1440C241F3D}" type="slidenum">
              <a:rPr lang="de-DE" sz="975" smtClean="0">
                <a:solidFill>
                  <a:prstClr val="white"/>
                </a:solidFill>
                <a:latin typeface="FrutigerNext LT Light" pitchFamily="34" charset="0"/>
                <a:ea typeface="MS PGothic" pitchFamily="34" charset="-128"/>
              </a:rPr>
              <a:pPr defTabSz="740985" eaLnBrk="0" fontAlgn="auto" hangingPunct="0">
                <a:lnSpc>
                  <a:spcPct val="85000"/>
                </a:lnSpc>
                <a:spcBef>
                  <a:spcPts val="0"/>
                </a:spcBef>
                <a:spcAft>
                  <a:spcPts val="0"/>
                </a:spcAft>
              </a:pPr>
              <a:t>‹Nº›</a:t>
            </a:fld>
            <a:endParaRPr lang="en-GB" sz="975" dirty="0">
              <a:solidFill>
                <a:prstClr val="white"/>
              </a:solidFill>
              <a:latin typeface="FrutigerNext LT Light" pitchFamily="34" charset="0"/>
              <a:ea typeface="MS PGothic" pitchFamily="34" charset="-128"/>
            </a:endParaRPr>
          </a:p>
        </p:txBody>
      </p:sp>
    </p:spTree>
    <p:extLst>
      <p:ext uri="{BB962C8B-B14F-4D97-AF65-F5344CB8AC3E}">
        <p14:creationId xmlns:p14="http://schemas.microsoft.com/office/powerpoint/2010/main" val="3681961937"/>
      </p:ext>
    </p:extLst>
  </p:cSld>
  <p:clrMap bg1="lt1" tx1="dk1" bg2="lt2" tx2="dk2" accent1="accent1" accent2="accent2" accent3="accent3" accent4="accent4" accent5="accent5" accent6="accent6" hlink="hlink" folHlink="folHlink"/>
  <p:sldLayoutIdLst>
    <p:sldLayoutId id="2147483901" r:id="rId1"/>
    <p:sldLayoutId id="2147483904" r:id="rId2"/>
    <p:sldLayoutId id="2147483905" r:id="rId3"/>
    <p:sldLayoutId id="2147483937" r:id="rId4"/>
  </p:sldLayoutIdLst>
  <p:timing>
    <p:tnLst>
      <p:par>
        <p:cTn id="1" dur="indefinite" restart="never" nodeType="tmRoot"/>
      </p:par>
    </p:tnLst>
  </p:timing>
  <p:txStyles>
    <p:titleStyle>
      <a:lvl1pPr algn="ctr" defTabSz="914461" rtl="0" eaLnBrk="1" latinLnBrk="0" hangingPunct="1">
        <a:spcBef>
          <a:spcPct val="0"/>
        </a:spcBef>
        <a:buNone/>
        <a:defRPr sz="4424" kern="1200">
          <a:solidFill>
            <a:schemeClr val="bg1"/>
          </a:solidFill>
          <a:latin typeface="+mj-lt"/>
          <a:ea typeface="+mj-ea"/>
          <a:cs typeface="+mj-cs"/>
        </a:defRPr>
      </a:lvl1pPr>
    </p:titleStyle>
    <p:bodyStyle>
      <a:lvl1pPr marL="342923" indent="-342923" algn="l" defTabSz="914461" rtl="0" eaLnBrk="1" latinLnBrk="0" hangingPunct="1">
        <a:spcBef>
          <a:spcPct val="20000"/>
        </a:spcBef>
        <a:buFont typeface="Arial" pitchFamily="34" charset="0"/>
        <a:buChar char="•"/>
        <a:defRPr sz="3225" kern="1200">
          <a:solidFill>
            <a:schemeClr val="bg1"/>
          </a:solidFill>
          <a:latin typeface="+mn-lt"/>
          <a:ea typeface="+mn-ea"/>
          <a:cs typeface="+mn-cs"/>
        </a:defRPr>
      </a:lvl1pPr>
      <a:lvl2pPr marL="742999" indent="-285769" algn="l" defTabSz="914461" rtl="0" eaLnBrk="1" latinLnBrk="0" hangingPunct="1">
        <a:spcBef>
          <a:spcPct val="20000"/>
        </a:spcBef>
        <a:buFont typeface="Arial" pitchFamily="34" charset="0"/>
        <a:buChar char="–"/>
        <a:defRPr sz="2775" kern="1200">
          <a:solidFill>
            <a:schemeClr val="bg1"/>
          </a:solidFill>
          <a:latin typeface="+mn-lt"/>
          <a:ea typeface="+mn-ea"/>
          <a:cs typeface="+mn-cs"/>
        </a:defRPr>
      </a:lvl2pPr>
      <a:lvl3pPr marL="1143076" indent="-228615" algn="l" defTabSz="91446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30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4pPr>
      <a:lvl5pPr marL="205753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5pPr>
      <a:lvl6pPr marL="251476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99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922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6459"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1618"/>
            <a:ext cx="9145586" cy="6856357"/>
          </a:xfrm>
          <a:prstGeom prst="rect">
            <a:avLst/>
          </a:prstGeom>
        </p:spPr>
      </p:pic>
      <p:sp>
        <p:nvSpPr>
          <p:cNvPr id="2" name="标题占位符 1"/>
          <p:cNvSpPr>
            <a:spLocks noGrp="1"/>
          </p:cNvSpPr>
          <p:nvPr>
            <p:ph type="title"/>
          </p:nvPr>
        </p:nvSpPr>
        <p:spPr>
          <a:xfrm>
            <a:off x="457279" y="275232"/>
            <a:ext cx="8231030" cy="1143265"/>
          </a:xfrm>
          <a:prstGeom prst="rect">
            <a:avLst/>
          </a:prstGeom>
        </p:spPr>
        <p:txBody>
          <a:bodyPr vert="horz" lIns="121944" tIns="60972" rIns="121944" bIns="60972"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79" y="1600572"/>
            <a:ext cx="8231030" cy="4526481"/>
          </a:xfrm>
          <a:prstGeom prst="rect">
            <a:avLst/>
          </a:prstGeom>
        </p:spPr>
        <p:txBody>
          <a:bodyPr vert="horz" lIns="121944" tIns="60972" rIns="121944" bIns="6097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457281" y="6357824"/>
            <a:ext cx="2133971" cy="366267"/>
          </a:xfrm>
          <a:prstGeom prst="rect">
            <a:avLst/>
          </a:prstGeom>
        </p:spPr>
        <p:txBody>
          <a:bodyPr vert="horz" lIns="121944" tIns="60972" rIns="121944" bIns="60972" rtlCol="0" anchor="ctr"/>
          <a:lstStyle>
            <a:lvl1pPr algn="l">
              <a:defRPr sz="1200">
                <a:solidFill>
                  <a:schemeClr val="bg1"/>
                </a:solidFill>
              </a:defRPr>
            </a:lvl1pPr>
          </a:lstStyle>
          <a:p>
            <a:pPr defTabSz="914461" fontAlgn="auto">
              <a:spcBef>
                <a:spcPts val="0"/>
              </a:spcBef>
              <a:spcAft>
                <a:spcPts val="0"/>
              </a:spcAft>
            </a:pPr>
            <a:fld id="{1A5B2B23-E5F0-44D7-A9FF-4B8E82156B39}" type="datetimeFigureOut">
              <a:rPr lang="zh-CN" altLang="en-US" smtClean="0">
                <a:solidFill>
                  <a:prstClr val="white"/>
                </a:solidFill>
                <a:latin typeface="Arial"/>
                <a:ea typeface="微软雅黑"/>
              </a:rPr>
              <a:pPr defTabSz="914461" fontAlgn="auto">
                <a:spcBef>
                  <a:spcPts val="0"/>
                </a:spcBef>
                <a:spcAft>
                  <a:spcPts val="0"/>
                </a:spcAft>
              </a:pPr>
              <a:t>2017/4/5</a:t>
            </a:fld>
            <a:endParaRPr lang="zh-CN" altLang="en-US">
              <a:solidFill>
                <a:prstClr val="white"/>
              </a:solidFill>
              <a:latin typeface="Arial"/>
              <a:ea typeface="微软雅黑"/>
            </a:endParaRPr>
          </a:p>
        </p:txBody>
      </p:sp>
      <p:sp>
        <p:nvSpPr>
          <p:cNvPr id="5" name="页脚占位符 4"/>
          <p:cNvSpPr>
            <a:spLocks noGrp="1"/>
          </p:cNvSpPr>
          <p:nvPr>
            <p:ph type="ftr" sz="quarter" idx="3"/>
          </p:nvPr>
        </p:nvSpPr>
        <p:spPr>
          <a:xfrm>
            <a:off x="3124743" y="6357824"/>
            <a:ext cx="2896103" cy="366267"/>
          </a:xfrm>
          <a:prstGeom prst="rect">
            <a:avLst/>
          </a:prstGeom>
        </p:spPr>
        <p:txBody>
          <a:bodyPr vert="horz" lIns="121944" tIns="60972" rIns="121944" bIns="60972" rtlCol="0" anchor="ctr"/>
          <a:lstStyle>
            <a:lvl1pPr algn="ctr">
              <a:defRPr sz="1200">
                <a:solidFill>
                  <a:schemeClr val="bg1"/>
                </a:solidFill>
              </a:defRPr>
            </a:lvl1pPr>
          </a:lstStyle>
          <a:p>
            <a:pPr defTabSz="914461" fontAlgn="auto">
              <a:spcBef>
                <a:spcPts val="0"/>
              </a:spcBef>
              <a:spcAft>
                <a:spcPts val="0"/>
              </a:spcAft>
            </a:pPr>
            <a:endParaRPr lang="zh-CN" altLang="en-US">
              <a:solidFill>
                <a:prstClr val="white"/>
              </a:solidFill>
              <a:latin typeface="Arial"/>
              <a:ea typeface="微软雅黑"/>
            </a:endParaRPr>
          </a:p>
        </p:txBody>
      </p:sp>
      <p:sp>
        <p:nvSpPr>
          <p:cNvPr id="6" name="灯片编号占位符 5"/>
          <p:cNvSpPr>
            <a:spLocks noGrp="1"/>
          </p:cNvSpPr>
          <p:nvPr>
            <p:ph type="sldNum" sz="quarter" idx="4"/>
          </p:nvPr>
        </p:nvSpPr>
        <p:spPr>
          <a:xfrm>
            <a:off x="6554339" y="6357824"/>
            <a:ext cx="2133971" cy="366267"/>
          </a:xfrm>
          <a:prstGeom prst="rect">
            <a:avLst/>
          </a:prstGeom>
        </p:spPr>
        <p:txBody>
          <a:bodyPr vert="horz" lIns="121944" tIns="60972" rIns="121944" bIns="60972" rtlCol="0" anchor="ctr"/>
          <a:lstStyle>
            <a:lvl1pPr algn="r">
              <a:defRPr sz="1200">
                <a:solidFill>
                  <a:schemeClr val="bg1"/>
                </a:solidFill>
              </a:defRPr>
            </a:lvl1pPr>
          </a:lstStyle>
          <a:p>
            <a:pPr defTabSz="914461" fontAlgn="auto">
              <a:spcBef>
                <a:spcPts val="0"/>
              </a:spcBef>
              <a:spcAft>
                <a:spcPts val="0"/>
              </a:spcAft>
            </a:pPr>
            <a:fld id="{B2563A90-55EF-4D2C-B954-EDF55F24A661}" type="slidenum">
              <a:rPr lang="zh-CN" altLang="en-US" smtClean="0">
                <a:solidFill>
                  <a:prstClr val="white"/>
                </a:solidFill>
                <a:latin typeface="Arial"/>
                <a:ea typeface="微软雅黑"/>
              </a:rPr>
              <a:pPr defTabSz="914461" fontAlgn="auto">
                <a:spcBef>
                  <a:spcPts val="0"/>
                </a:spcBef>
                <a:spcAft>
                  <a:spcPts val="0"/>
                </a:spcAft>
              </a:pPr>
              <a:t>‹Nº›</a:t>
            </a:fld>
            <a:endParaRPr lang="zh-CN" altLang="en-US">
              <a:solidFill>
                <a:prstClr val="white"/>
              </a:solidFill>
              <a:latin typeface="Arial"/>
              <a:ea typeface="微软雅黑"/>
            </a:endParaRPr>
          </a:p>
        </p:txBody>
      </p:sp>
      <p:sp>
        <p:nvSpPr>
          <p:cNvPr id="8" name="Rectangle 86"/>
          <p:cNvSpPr>
            <a:spLocks noChangeArrowheads="1"/>
          </p:cNvSpPr>
          <p:nvPr userDrawn="1"/>
        </p:nvSpPr>
        <p:spPr bwMode="auto">
          <a:xfrm>
            <a:off x="429518" y="6433426"/>
            <a:ext cx="535587" cy="426163"/>
          </a:xfrm>
          <a:prstGeom prst="rect">
            <a:avLst/>
          </a:prstGeom>
          <a:noFill/>
          <a:ln w="9525">
            <a:noFill/>
            <a:miter lim="800000"/>
            <a:headEnd/>
            <a:tailEnd/>
          </a:ln>
          <a:effectLst/>
        </p:spPr>
        <p:txBody>
          <a:bodyPr lIns="0" tIns="0" rIns="0" bIns="0"/>
          <a:lstStyle/>
          <a:p>
            <a:pPr defTabSz="740985" eaLnBrk="0" fontAlgn="auto" hangingPunct="0">
              <a:lnSpc>
                <a:spcPct val="85000"/>
              </a:lnSpc>
              <a:spcBef>
                <a:spcPts val="0"/>
              </a:spcBef>
              <a:spcAft>
                <a:spcPts val="0"/>
              </a:spcAft>
            </a:pPr>
            <a:endParaRPr lang="de-DE" sz="975" dirty="0">
              <a:solidFill>
                <a:prstClr val="white"/>
              </a:solidFill>
              <a:latin typeface="FrutigerNext LT Light" pitchFamily="34" charset="0"/>
              <a:ea typeface="MS PGothic" pitchFamily="34" charset="-128"/>
            </a:endParaRPr>
          </a:p>
          <a:p>
            <a:pPr defTabSz="740985" eaLnBrk="0" fontAlgn="auto" hangingPunct="0">
              <a:lnSpc>
                <a:spcPct val="85000"/>
              </a:lnSpc>
              <a:spcBef>
                <a:spcPts val="0"/>
              </a:spcBef>
              <a:spcAft>
                <a:spcPts val="0"/>
              </a:spcAft>
            </a:pPr>
            <a:fld id="{E68EC476-442B-4BB7-9603-F1440C241F3D}" type="slidenum">
              <a:rPr lang="de-DE" sz="975" smtClean="0">
                <a:solidFill>
                  <a:prstClr val="white"/>
                </a:solidFill>
                <a:latin typeface="FrutigerNext LT Light" pitchFamily="34" charset="0"/>
                <a:ea typeface="MS PGothic" pitchFamily="34" charset="-128"/>
              </a:rPr>
              <a:pPr defTabSz="740985" eaLnBrk="0" fontAlgn="auto" hangingPunct="0">
                <a:lnSpc>
                  <a:spcPct val="85000"/>
                </a:lnSpc>
                <a:spcBef>
                  <a:spcPts val="0"/>
                </a:spcBef>
                <a:spcAft>
                  <a:spcPts val="0"/>
                </a:spcAft>
              </a:pPr>
              <a:t>‹Nº›</a:t>
            </a:fld>
            <a:endParaRPr lang="en-GB" sz="975" dirty="0">
              <a:solidFill>
                <a:prstClr val="white"/>
              </a:solidFill>
              <a:latin typeface="FrutigerNext LT Light" pitchFamily="34" charset="0"/>
              <a:ea typeface="MS PGothic" pitchFamily="34" charset="-128"/>
            </a:endParaRPr>
          </a:p>
        </p:txBody>
      </p:sp>
    </p:spTree>
    <p:extLst>
      <p:ext uri="{BB962C8B-B14F-4D97-AF65-F5344CB8AC3E}">
        <p14:creationId xmlns:p14="http://schemas.microsoft.com/office/powerpoint/2010/main" val="523464461"/>
      </p:ext>
    </p:extLst>
  </p:cSld>
  <p:clrMap bg1="lt1" tx1="dk1" bg2="lt2" tx2="dk2" accent1="accent1" accent2="accent2" accent3="accent3" accent4="accent4" accent5="accent5" accent6="accent6" hlink="hlink" folHlink="folHlink"/>
  <p:sldLayoutIdLst>
    <p:sldLayoutId id="2147483908" r:id="rId1"/>
    <p:sldLayoutId id="2147483910" r:id="rId2"/>
    <p:sldLayoutId id="2147483911" r:id="rId3"/>
    <p:sldLayoutId id="2147483912" r:id="rId4"/>
    <p:sldLayoutId id="2147483913" r:id="rId5"/>
  </p:sldLayoutIdLst>
  <p:timing>
    <p:tnLst>
      <p:par>
        <p:cTn id="1" dur="indefinite" restart="never" nodeType="tmRoot"/>
      </p:par>
    </p:tnLst>
  </p:timing>
  <p:txStyles>
    <p:titleStyle>
      <a:lvl1pPr algn="ctr" defTabSz="914461" rtl="0" eaLnBrk="1" latinLnBrk="0" hangingPunct="1">
        <a:spcBef>
          <a:spcPct val="0"/>
        </a:spcBef>
        <a:buNone/>
        <a:defRPr sz="4424" kern="1200">
          <a:solidFill>
            <a:schemeClr val="bg1"/>
          </a:solidFill>
          <a:latin typeface="+mj-lt"/>
          <a:ea typeface="+mj-ea"/>
          <a:cs typeface="+mj-cs"/>
        </a:defRPr>
      </a:lvl1pPr>
    </p:titleStyle>
    <p:bodyStyle>
      <a:lvl1pPr marL="342923" indent="-342923" algn="l" defTabSz="914461" rtl="0" eaLnBrk="1" latinLnBrk="0" hangingPunct="1">
        <a:spcBef>
          <a:spcPct val="20000"/>
        </a:spcBef>
        <a:buFont typeface="Arial" pitchFamily="34" charset="0"/>
        <a:buChar char="•"/>
        <a:defRPr sz="3225" kern="1200">
          <a:solidFill>
            <a:schemeClr val="bg1"/>
          </a:solidFill>
          <a:latin typeface="+mn-lt"/>
          <a:ea typeface="+mn-ea"/>
          <a:cs typeface="+mn-cs"/>
        </a:defRPr>
      </a:lvl1pPr>
      <a:lvl2pPr marL="742999" indent="-285769" algn="l" defTabSz="914461" rtl="0" eaLnBrk="1" latinLnBrk="0" hangingPunct="1">
        <a:spcBef>
          <a:spcPct val="20000"/>
        </a:spcBef>
        <a:buFont typeface="Arial" pitchFamily="34" charset="0"/>
        <a:buChar char="–"/>
        <a:defRPr sz="2775" kern="1200">
          <a:solidFill>
            <a:schemeClr val="bg1"/>
          </a:solidFill>
          <a:latin typeface="+mn-lt"/>
          <a:ea typeface="+mn-ea"/>
          <a:cs typeface="+mn-cs"/>
        </a:defRPr>
      </a:lvl2pPr>
      <a:lvl3pPr marL="1143076" indent="-228615" algn="l" defTabSz="91446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30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4pPr>
      <a:lvl5pPr marL="205753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5pPr>
      <a:lvl6pPr marL="251476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99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922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6459"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 y="1618"/>
            <a:ext cx="9145586" cy="6856357"/>
          </a:xfrm>
          <a:prstGeom prst="rect">
            <a:avLst/>
          </a:prstGeom>
        </p:spPr>
      </p:pic>
      <p:sp>
        <p:nvSpPr>
          <p:cNvPr id="2" name="标题占位符 1"/>
          <p:cNvSpPr>
            <a:spLocks noGrp="1"/>
          </p:cNvSpPr>
          <p:nvPr>
            <p:ph type="title"/>
          </p:nvPr>
        </p:nvSpPr>
        <p:spPr>
          <a:xfrm>
            <a:off x="457279" y="275232"/>
            <a:ext cx="8231030" cy="1143265"/>
          </a:xfrm>
          <a:prstGeom prst="rect">
            <a:avLst/>
          </a:prstGeom>
        </p:spPr>
        <p:txBody>
          <a:bodyPr vert="horz" lIns="121944" tIns="60972" rIns="121944" bIns="60972"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79" y="1600572"/>
            <a:ext cx="8231030" cy="4526481"/>
          </a:xfrm>
          <a:prstGeom prst="rect">
            <a:avLst/>
          </a:prstGeom>
        </p:spPr>
        <p:txBody>
          <a:bodyPr vert="horz" lIns="121944" tIns="60972" rIns="121944" bIns="6097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457281" y="6357824"/>
            <a:ext cx="2133971" cy="366267"/>
          </a:xfrm>
          <a:prstGeom prst="rect">
            <a:avLst/>
          </a:prstGeom>
        </p:spPr>
        <p:txBody>
          <a:bodyPr vert="horz" lIns="121944" tIns="60972" rIns="121944" bIns="60972" rtlCol="0" anchor="ctr"/>
          <a:lstStyle>
            <a:lvl1pPr algn="l">
              <a:defRPr sz="1200">
                <a:solidFill>
                  <a:schemeClr val="bg1"/>
                </a:solidFill>
              </a:defRPr>
            </a:lvl1pPr>
          </a:lstStyle>
          <a:p>
            <a:pPr defTabSz="914461" fontAlgn="auto">
              <a:spcBef>
                <a:spcPts val="0"/>
              </a:spcBef>
              <a:spcAft>
                <a:spcPts val="0"/>
              </a:spcAft>
            </a:pPr>
            <a:fld id="{1A5B2B23-E5F0-44D7-A9FF-4B8E82156B39}" type="datetimeFigureOut">
              <a:rPr lang="zh-CN" altLang="en-US" smtClean="0">
                <a:solidFill>
                  <a:prstClr val="white"/>
                </a:solidFill>
                <a:latin typeface="Arial"/>
                <a:ea typeface="微软雅黑"/>
              </a:rPr>
              <a:pPr defTabSz="914461" fontAlgn="auto">
                <a:spcBef>
                  <a:spcPts val="0"/>
                </a:spcBef>
                <a:spcAft>
                  <a:spcPts val="0"/>
                </a:spcAft>
              </a:pPr>
              <a:t>2017/4/5</a:t>
            </a:fld>
            <a:endParaRPr lang="zh-CN" altLang="en-US">
              <a:solidFill>
                <a:prstClr val="white"/>
              </a:solidFill>
              <a:latin typeface="Arial"/>
              <a:ea typeface="微软雅黑"/>
            </a:endParaRPr>
          </a:p>
        </p:txBody>
      </p:sp>
      <p:sp>
        <p:nvSpPr>
          <p:cNvPr id="5" name="页脚占位符 4"/>
          <p:cNvSpPr>
            <a:spLocks noGrp="1"/>
          </p:cNvSpPr>
          <p:nvPr>
            <p:ph type="ftr" sz="quarter" idx="3"/>
          </p:nvPr>
        </p:nvSpPr>
        <p:spPr>
          <a:xfrm>
            <a:off x="3124743" y="6357824"/>
            <a:ext cx="2896103" cy="366267"/>
          </a:xfrm>
          <a:prstGeom prst="rect">
            <a:avLst/>
          </a:prstGeom>
        </p:spPr>
        <p:txBody>
          <a:bodyPr vert="horz" lIns="121944" tIns="60972" rIns="121944" bIns="60972" rtlCol="0" anchor="ctr"/>
          <a:lstStyle>
            <a:lvl1pPr algn="ctr">
              <a:defRPr sz="1200">
                <a:solidFill>
                  <a:schemeClr val="bg1"/>
                </a:solidFill>
              </a:defRPr>
            </a:lvl1pPr>
          </a:lstStyle>
          <a:p>
            <a:pPr defTabSz="914461" fontAlgn="auto">
              <a:spcBef>
                <a:spcPts val="0"/>
              </a:spcBef>
              <a:spcAft>
                <a:spcPts val="0"/>
              </a:spcAft>
            </a:pPr>
            <a:endParaRPr lang="zh-CN" altLang="en-US">
              <a:solidFill>
                <a:prstClr val="white"/>
              </a:solidFill>
              <a:latin typeface="Arial"/>
              <a:ea typeface="微软雅黑"/>
            </a:endParaRPr>
          </a:p>
        </p:txBody>
      </p:sp>
      <p:sp>
        <p:nvSpPr>
          <p:cNvPr id="6" name="灯片编号占位符 5"/>
          <p:cNvSpPr>
            <a:spLocks noGrp="1"/>
          </p:cNvSpPr>
          <p:nvPr>
            <p:ph type="sldNum" sz="quarter" idx="4"/>
          </p:nvPr>
        </p:nvSpPr>
        <p:spPr>
          <a:xfrm>
            <a:off x="6554339" y="6357824"/>
            <a:ext cx="2133971" cy="366267"/>
          </a:xfrm>
          <a:prstGeom prst="rect">
            <a:avLst/>
          </a:prstGeom>
        </p:spPr>
        <p:txBody>
          <a:bodyPr vert="horz" lIns="121944" tIns="60972" rIns="121944" bIns="60972" rtlCol="0" anchor="ctr"/>
          <a:lstStyle>
            <a:lvl1pPr algn="r">
              <a:defRPr sz="1200">
                <a:solidFill>
                  <a:schemeClr val="bg1"/>
                </a:solidFill>
              </a:defRPr>
            </a:lvl1pPr>
          </a:lstStyle>
          <a:p>
            <a:pPr defTabSz="914461" fontAlgn="auto">
              <a:spcBef>
                <a:spcPts val="0"/>
              </a:spcBef>
              <a:spcAft>
                <a:spcPts val="0"/>
              </a:spcAft>
            </a:pPr>
            <a:fld id="{B2563A90-55EF-4D2C-B954-EDF55F24A661}" type="slidenum">
              <a:rPr lang="zh-CN" altLang="en-US" smtClean="0">
                <a:solidFill>
                  <a:prstClr val="white"/>
                </a:solidFill>
                <a:latin typeface="Arial"/>
                <a:ea typeface="微软雅黑"/>
              </a:rPr>
              <a:pPr defTabSz="914461" fontAlgn="auto">
                <a:spcBef>
                  <a:spcPts val="0"/>
                </a:spcBef>
                <a:spcAft>
                  <a:spcPts val="0"/>
                </a:spcAft>
              </a:pPr>
              <a:t>‹Nº›</a:t>
            </a:fld>
            <a:endParaRPr lang="zh-CN" altLang="en-US">
              <a:solidFill>
                <a:prstClr val="white"/>
              </a:solidFill>
              <a:latin typeface="Arial"/>
              <a:ea typeface="微软雅黑"/>
            </a:endParaRPr>
          </a:p>
        </p:txBody>
      </p:sp>
      <p:sp>
        <p:nvSpPr>
          <p:cNvPr id="8" name="Rectangle 86"/>
          <p:cNvSpPr>
            <a:spLocks noChangeArrowheads="1"/>
          </p:cNvSpPr>
          <p:nvPr userDrawn="1"/>
        </p:nvSpPr>
        <p:spPr bwMode="auto">
          <a:xfrm>
            <a:off x="429518" y="6433426"/>
            <a:ext cx="535587" cy="426163"/>
          </a:xfrm>
          <a:prstGeom prst="rect">
            <a:avLst/>
          </a:prstGeom>
          <a:noFill/>
          <a:ln w="9525">
            <a:noFill/>
            <a:miter lim="800000"/>
            <a:headEnd/>
            <a:tailEnd/>
          </a:ln>
          <a:effectLst/>
        </p:spPr>
        <p:txBody>
          <a:bodyPr lIns="0" tIns="0" rIns="0" bIns="0"/>
          <a:lstStyle/>
          <a:p>
            <a:pPr defTabSz="740985" eaLnBrk="0" fontAlgn="auto" hangingPunct="0">
              <a:lnSpc>
                <a:spcPct val="85000"/>
              </a:lnSpc>
              <a:spcBef>
                <a:spcPts val="0"/>
              </a:spcBef>
              <a:spcAft>
                <a:spcPts val="0"/>
              </a:spcAft>
            </a:pPr>
            <a:endParaRPr lang="de-DE" sz="975" dirty="0">
              <a:solidFill>
                <a:prstClr val="white"/>
              </a:solidFill>
              <a:latin typeface="FrutigerNext LT Light" pitchFamily="34" charset="0"/>
              <a:ea typeface="MS PGothic" pitchFamily="34" charset="-128"/>
            </a:endParaRPr>
          </a:p>
          <a:p>
            <a:pPr defTabSz="740985" eaLnBrk="0" fontAlgn="auto" hangingPunct="0">
              <a:lnSpc>
                <a:spcPct val="85000"/>
              </a:lnSpc>
              <a:spcBef>
                <a:spcPts val="0"/>
              </a:spcBef>
              <a:spcAft>
                <a:spcPts val="0"/>
              </a:spcAft>
            </a:pPr>
            <a:fld id="{E68EC476-442B-4BB7-9603-F1440C241F3D}" type="slidenum">
              <a:rPr lang="de-DE" sz="975" smtClean="0">
                <a:solidFill>
                  <a:prstClr val="white"/>
                </a:solidFill>
                <a:latin typeface="FrutigerNext LT Light" pitchFamily="34" charset="0"/>
                <a:ea typeface="MS PGothic" pitchFamily="34" charset="-128"/>
              </a:rPr>
              <a:pPr defTabSz="740985" eaLnBrk="0" fontAlgn="auto" hangingPunct="0">
                <a:lnSpc>
                  <a:spcPct val="85000"/>
                </a:lnSpc>
                <a:spcBef>
                  <a:spcPts val="0"/>
                </a:spcBef>
                <a:spcAft>
                  <a:spcPts val="0"/>
                </a:spcAft>
              </a:pPr>
              <a:t>‹Nº›</a:t>
            </a:fld>
            <a:endParaRPr lang="en-GB" sz="975" dirty="0">
              <a:solidFill>
                <a:prstClr val="white"/>
              </a:solidFill>
              <a:latin typeface="FrutigerNext LT Light" pitchFamily="34" charset="0"/>
              <a:ea typeface="MS PGothic" pitchFamily="34" charset="-128"/>
            </a:endParaRPr>
          </a:p>
        </p:txBody>
      </p:sp>
    </p:spTree>
    <p:extLst>
      <p:ext uri="{BB962C8B-B14F-4D97-AF65-F5344CB8AC3E}">
        <p14:creationId xmlns:p14="http://schemas.microsoft.com/office/powerpoint/2010/main" val="1625674366"/>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Lst>
  <p:timing>
    <p:tnLst>
      <p:par>
        <p:cTn id="1" dur="indefinite" restart="never" nodeType="tmRoot"/>
      </p:par>
    </p:tnLst>
  </p:timing>
  <p:txStyles>
    <p:titleStyle>
      <a:lvl1pPr algn="ctr" defTabSz="914461" rtl="0" eaLnBrk="1" latinLnBrk="0" hangingPunct="1">
        <a:spcBef>
          <a:spcPct val="0"/>
        </a:spcBef>
        <a:buNone/>
        <a:defRPr sz="4424" kern="1200">
          <a:solidFill>
            <a:schemeClr val="bg1"/>
          </a:solidFill>
          <a:latin typeface="+mj-lt"/>
          <a:ea typeface="+mj-ea"/>
          <a:cs typeface="+mj-cs"/>
        </a:defRPr>
      </a:lvl1pPr>
    </p:titleStyle>
    <p:bodyStyle>
      <a:lvl1pPr marL="342923" indent="-342923" algn="l" defTabSz="914461" rtl="0" eaLnBrk="1" latinLnBrk="0" hangingPunct="1">
        <a:spcBef>
          <a:spcPct val="20000"/>
        </a:spcBef>
        <a:buFont typeface="Arial" pitchFamily="34" charset="0"/>
        <a:buChar char="•"/>
        <a:defRPr sz="3225" kern="1200">
          <a:solidFill>
            <a:schemeClr val="bg1"/>
          </a:solidFill>
          <a:latin typeface="+mn-lt"/>
          <a:ea typeface="+mn-ea"/>
          <a:cs typeface="+mn-cs"/>
        </a:defRPr>
      </a:lvl1pPr>
      <a:lvl2pPr marL="742999" indent="-285769" algn="l" defTabSz="914461" rtl="0" eaLnBrk="1" latinLnBrk="0" hangingPunct="1">
        <a:spcBef>
          <a:spcPct val="20000"/>
        </a:spcBef>
        <a:buFont typeface="Arial" pitchFamily="34" charset="0"/>
        <a:buChar char="–"/>
        <a:defRPr sz="2775" kern="1200">
          <a:solidFill>
            <a:schemeClr val="bg1"/>
          </a:solidFill>
          <a:latin typeface="+mn-lt"/>
          <a:ea typeface="+mn-ea"/>
          <a:cs typeface="+mn-cs"/>
        </a:defRPr>
      </a:lvl2pPr>
      <a:lvl3pPr marL="1143076" indent="-228615" algn="l" defTabSz="91446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30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4pPr>
      <a:lvl5pPr marL="205753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5pPr>
      <a:lvl6pPr marL="251476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99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922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6459"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1617"/>
            <a:ext cx="9145587" cy="6856357"/>
          </a:xfrm>
          <a:prstGeom prst="rect">
            <a:avLst/>
          </a:prstGeom>
        </p:spPr>
      </p:pic>
      <p:sp>
        <p:nvSpPr>
          <p:cNvPr id="2" name="标题占位符 1"/>
          <p:cNvSpPr>
            <a:spLocks noGrp="1"/>
          </p:cNvSpPr>
          <p:nvPr>
            <p:ph type="title"/>
          </p:nvPr>
        </p:nvSpPr>
        <p:spPr>
          <a:xfrm>
            <a:off x="457279" y="275231"/>
            <a:ext cx="8231030" cy="1143265"/>
          </a:xfrm>
          <a:prstGeom prst="rect">
            <a:avLst/>
          </a:prstGeom>
        </p:spPr>
        <p:txBody>
          <a:bodyPr vert="horz" lIns="121944" tIns="60972" rIns="121944" bIns="60972"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79" y="1600572"/>
            <a:ext cx="8231030" cy="4526481"/>
          </a:xfrm>
          <a:prstGeom prst="rect">
            <a:avLst/>
          </a:prstGeom>
        </p:spPr>
        <p:txBody>
          <a:bodyPr vert="horz" lIns="121944" tIns="60972" rIns="121944" bIns="60972"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457280" y="6357824"/>
            <a:ext cx="2133971" cy="366267"/>
          </a:xfrm>
          <a:prstGeom prst="rect">
            <a:avLst/>
          </a:prstGeom>
        </p:spPr>
        <p:txBody>
          <a:bodyPr vert="horz" lIns="121944" tIns="60972" rIns="121944" bIns="60972" rtlCol="0" anchor="ctr"/>
          <a:lstStyle>
            <a:lvl1pPr algn="l">
              <a:defRPr sz="1200">
                <a:solidFill>
                  <a:schemeClr val="bg1"/>
                </a:solidFill>
              </a:defRPr>
            </a:lvl1pPr>
          </a:lstStyle>
          <a:p>
            <a:pPr defTabSz="914461" fontAlgn="auto">
              <a:spcBef>
                <a:spcPts val="0"/>
              </a:spcBef>
              <a:spcAft>
                <a:spcPts val="0"/>
              </a:spcAft>
            </a:pPr>
            <a:fld id="{1A5B2B23-E5F0-44D7-A9FF-4B8E82156B39}" type="datetimeFigureOut">
              <a:rPr lang="zh-CN" altLang="en-US" smtClean="0">
                <a:solidFill>
                  <a:prstClr val="white"/>
                </a:solidFill>
                <a:latin typeface="Arial"/>
                <a:ea typeface="微软雅黑"/>
              </a:rPr>
              <a:pPr defTabSz="914461" fontAlgn="auto">
                <a:spcBef>
                  <a:spcPts val="0"/>
                </a:spcBef>
                <a:spcAft>
                  <a:spcPts val="0"/>
                </a:spcAft>
              </a:pPr>
              <a:t>2017/4/5</a:t>
            </a:fld>
            <a:endParaRPr lang="zh-CN" altLang="en-US">
              <a:solidFill>
                <a:prstClr val="white"/>
              </a:solidFill>
              <a:latin typeface="Arial"/>
              <a:ea typeface="微软雅黑"/>
            </a:endParaRPr>
          </a:p>
        </p:txBody>
      </p:sp>
      <p:sp>
        <p:nvSpPr>
          <p:cNvPr id="5" name="页脚占位符 4"/>
          <p:cNvSpPr>
            <a:spLocks noGrp="1"/>
          </p:cNvSpPr>
          <p:nvPr>
            <p:ph type="ftr" sz="quarter" idx="3"/>
          </p:nvPr>
        </p:nvSpPr>
        <p:spPr>
          <a:xfrm>
            <a:off x="3124743" y="6357824"/>
            <a:ext cx="2896103" cy="366267"/>
          </a:xfrm>
          <a:prstGeom prst="rect">
            <a:avLst/>
          </a:prstGeom>
        </p:spPr>
        <p:txBody>
          <a:bodyPr vert="horz" lIns="121944" tIns="60972" rIns="121944" bIns="60972" rtlCol="0" anchor="ctr"/>
          <a:lstStyle>
            <a:lvl1pPr algn="ctr">
              <a:defRPr sz="1200">
                <a:solidFill>
                  <a:schemeClr val="bg1"/>
                </a:solidFill>
              </a:defRPr>
            </a:lvl1pPr>
          </a:lstStyle>
          <a:p>
            <a:pPr defTabSz="914461" fontAlgn="auto">
              <a:spcBef>
                <a:spcPts val="0"/>
              </a:spcBef>
              <a:spcAft>
                <a:spcPts val="0"/>
              </a:spcAft>
            </a:pPr>
            <a:endParaRPr lang="zh-CN" altLang="en-US">
              <a:solidFill>
                <a:prstClr val="white"/>
              </a:solidFill>
              <a:latin typeface="Arial"/>
              <a:ea typeface="微软雅黑"/>
            </a:endParaRPr>
          </a:p>
        </p:txBody>
      </p:sp>
      <p:sp>
        <p:nvSpPr>
          <p:cNvPr id="6" name="灯片编号占位符 5"/>
          <p:cNvSpPr>
            <a:spLocks noGrp="1"/>
          </p:cNvSpPr>
          <p:nvPr>
            <p:ph type="sldNum" sz="quarter" idx="4"/>
          </p:nvPr>
        </p:nvSpPr>
        <p:spPr>
          <a:xfrm>
            <a:off x="6554338" y="6357824"/>
            <a:ext cx="2133971" cy="366267"/>
          </a:xfrm>
          <a:prstGeom prst="rect">
            <a:avLst/>
          </a:prstGeom>
        </p:spPr>
        <p:txBody>
          <a:bodyPr vert="horz" lIns="121944" tIns="60972" rIns="121944" bIns="60972" rtlCol="0" anchor="ctr"/>
          <a:lstStyle>
            <a:lvl1pPr algn="r">
              <a:defRPr sz="1200">
                <a:solidFill>
                  <a:schemeClr val="bg1"/>
                </a:solidFill>
              </a:defRPr>
            </a:lvl1pPr>
          </a:lstStyle>
          <a:p>
            <a:pPr defTabSz="914461" fontAlgn="auto">
              <a:spcBef>
                <a:spcPts val="0"/>
              </a:spcBef>
              <a:spcAft>
                <a:spcPts val="0"/>
              </a:spcAft>
            </a:pPr>
            <a:fld id="{B2563A90-55EF-4D2C-B954-EDF55F24A661}" type="slidenum">
              <a:rPr lang="zh-CN" altLang="en-US" smtClean="0">
                <a:solidFill>
                  <a:prstClr val="white"/>
                </a:solidFill>
                <a:latin typeface="Arial"/>
                <a:ea typeface="微软雅黑"/>
              </a:rPr>
              <a:pPr defTabSz="914461" fontAlgn="auto">
                <a:spcBef>
                  <a:spcPts val="0"/>
                </a:spcBef>
                <a:spcAft>
                  <a:spcPts val="0"/>
                </a:spcAft>
              </a:pPr>
              <a:t>‹Nº›</a:t>
            </a:fld>
            <a:endParaRPr lang="zh-CN" altLang="en-US">
              <a:solidFill>
                <a:prstClr val="white"/>
              </a:solidFill>
              <a:latin typeface="Arial"/>
              <a:ea typeface="微软雅黑"/>
            </a:endParaRPr>
          </a:p>
        </p:txBody>
      </p:sp>
      <p:sp>
        <p:nvSpPr>
          <p:cNvPr id="8" name="Rectangle 86"/>
          <p:cNvSpPr>
            <a:spLocks noChangeArrowheads="1"/>
          </p:cNvSpPr>
          <p:nvPr userDrawn="1"/>
        </p:nvSpPr>
        <p:spPr bwMode="auto">
          <a:xfrm>
            <a:off x="429519" y="6433426"/>
            <a:ext cx="535587" cy="426163"/>
          </a:xfrm>
          <a:prstGeom prst="rect">
            <a:avLst/>
          </a:prstGeom>
          <a:noFill/>
          <a:ln w="9525">
            <a:noFill/>
            <a:miter lim="800000"/>
            <a:headEnd/>
            <a:tailEnd/>
          </a:ln>
          <a:effectLst/>
        </p:spPr>
        <p:txBody>
          <a:bodyPr lIns="0" tIns="0" rIns="0" bIns="0"/>
          <a:lstStyle/>
          <a:p>
            <a:pPr defTabSz="740985" eaLnBrk="0" fontAlgn="auto" hangingPunct="0">
              <a:lnSpc>
                <a:spcPct val="85000"/>
              </a:lnSpc>
              <a:spcBef>
                <a:spcPts val="0"/>
              </a:spcBef>
              <a:spcAft>
                <a:spcPts val="0"/>
              </a:spcAft>
            </a:pPr>
            <a:endParaRPr lang="de-DE" sz="975" dirty="0">
              <a:solidFill>
                <a:prstClr val="white"/>
              </a:solidFill>
              <a:latin typeface="FrutigerNext LT Light" pitchFamily="34" charset="0"/>
              <a:ea typeface="MS PGothic" pitchFamily="34" charset="-128"/>
            </a:endParaRPr>
          </a:p>
          <a:p>
            <a:pPr defTabSz="740985" eaLnBrk="0" fontAlgn="auto" hangingPunct="0">
              <a:lnSpc>
                <a:spcPct val="85000"/>
              </a:lnSpc>
              <a:spcBef>
                <a:spcPts val="0"/>
              </a:spcBef>
              <a:spcAft>
                <a:spcPts val="0"/>
              </a:spcAft>
            </a:pPr>
            <a:fld id="{E68EC476-442B-4BB7-9603-F1440C241F3D}" type="slidenum">
              <a:rPr lang="de-DE" sz="975" smtClean="0">
                <a:solidFill>
                  <a:prstClr val="white"/>
                </a:solidFill>
                <a:latin typeface="FrutigerNext LT Light" pitchFamily="34" charset="0"/>
                <a:ea typeface="MS PGothic" pitchFamily="34" charset="-128"/>
              </a:rPr>
              <a:pPr defTabSz="740985" eaLnBrk="0" fontAlgn="auto" hangingPunct="0">
                <a:lnSpc>
                  <a:spcPct val="85000"/>
                </a:lnSpc>
                <a:spcBef>
                  <a:spcPts val="0"/>
                </a:spcBef>
                <a:spcAft>
                  <a:spcPts val="0"/>
                </a:spcAft>
              </a:pPr>
              <a:t>‹Nº›</a:t>
            </a:fld>
            <a:endParaRPr lang="en-GB" sz="975" dirty="0">
              <a:solidFill>
                <a:prstClr val="white"/>
              </a:solidFill>
              <a:latin typeface="FrutigerNext LT Light" pitchFamily="34" charset="0"/>
              <a:ea typeface="MS PGothic" pitchFamily="34" charset="-128"/>
            </a:endParaRPr>
          </a:p>
        </p:txBody>
      </p:sp>
    </p:spTree>
    <p:extLst>
      <p:ext uri="{BB962C8B-B14F-4D97-AF65-F5344CB8AC3E}">
        <p14:creationId xmlns:p14="http://schemas.microsoft.com/office/powerpoint/2010/main" val="2331886421"/>
      </p:ext>
    </p:extLst>
  </p:cSld>
  <p:clrMap bg1="lt1" tx1="dk1" bg2="lt2" tx2="dk2" accent1="accent1" accent2="accent2" accent3="accent3" accent4="accent4" accent5="accent5" accent6="accent6" hlink="hlink" folHlink="folHlink"/>
  <p:sldLayoutIdLst>
    <p:sldLayoutId id="2147483922" r:id="rId1"/>
  </p:sldLayoutIdLst>
  <p:timing>
    <p:tnLst>
      <p:par>
        <p:cTn id="1" dur="indefinite" restart="never" nodeType="tmRoot"/>
      </p:par>
    </p:tnLst>
  </p:timing>
  <p:txStyles>
    <p:titleStyle>
      <a:lvl1pPr algn="ctr" defTabSz="914461" rtl="0" eaLnBrk="1" latinLnBrk="0" hangingPunct="1">
        <a:spcBef>
          <a:spcPct val="0"/>
        </a:spcBef>
        <a:buNone/>
        <a:defRPr sz="4424" kern="1200">
          <a:solidFill>
            <a:schemeClr val="bg1"/>
          </a:solidFill>
          <a:latin typeface="+mj-lt"/>
          <a:ea typeface="+mj-ea"/>
          <a:cs typeface="+mj-cs"/>
        </a:defRPr>
      </a:lvl1pPr>
    </p:titleStyle>
    <p:bodyStyle>
      <a:lvl1pPr marL="342923" indent="-342923" algn="l" defTabSz="914461" rtl="0" eaLnBrk="1" latinLnBrk="0" hangingPunct="1">
        <a:spcBef>
          <a:spcPct val="20000"/>
        </a:spcBef>
        <a:buFont typeface="Arial" pitchFamily="34" charset="0"/>
        <a:buChar char="•"/>
        <a:defRPr sz="3225" kern="1200">
          <a:solidFill>
            <a:schemeClr val="bg1"/>
          </a:solidFill>
          <a:latin typeface="+mn-lt"/>
          <a:ea typeface="+mn-ea"/>
          <a:cs typeface="+mn-cs"/>
        </a:defRPr>
      </a:lvl1pPr>
      <a:lvl2pPr marL="742999" indent="-285769" algn="l" defTabSz="914461" rtl="0" eaLnBrk="1" latinLnBrk="0" hangingPunct="1">
        <a:spcBef>
          <a:spcPct val="20000"/>
        </a:spcBef>
        <a:buFont typeface="Arial" pitchFamily="34" charset="0"/>
        <a:buChar char="–"/>
        <a:defRPr sz="2775" kern="1200">
          <a:solidFill>
            <a:schemeClr val="bg1"/>
          </a:solidFill>
          <a:latin typeface="+mn-lt"/>
          <a:ea typeface="+mn-ea"/>
          <a:cs typeface="+mn-cs"/>
        </a:defRPr>
      </a:lvl2pPr>
      <a:lvl3pPr marL="1143076" indent="-228615" algn="l" defTabSz="91446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30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4pPr>
      <a:lvl5pPr marL="205753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5pPr>
      <a:lvl6pPr marL="251476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99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922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6459"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188" name="think-cell Slide" r:id="rId8" imgW="270" imgH="270" progId="">
                  <p:embed/>
                </p:oleObj>
              </mc:Choice>
              <mc:Fallback>
                <p:oleObj name="think-cell Slide" r:id="rId8" imgW="270" imgH="270" progId="">
                  <p:embed/>
                  <p:pic>
                    <p:nvPicPr>
                      <p:cNvPr id="0" name="Picture 11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91"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 y="1617"/>
            <a:ext cx="9145587" cy="6856357"/>
          </a:xfrm>
          <a:prstGeom prst="rect">
            <a:avLst/>
          </a:prstGeom>
        </p:spPr>
      </p:pic>
      <p:sp>
        <p:nvSpPr>
          <p:cNvPr id="4" name="日期占位符 3"/>
          <p:cNvSpPr>
            <a:spLocks noGrp="1"/>
          </p:cNvSpPr>
          <p:nvPr>
            <p:ph type="dt" sz="half" idx="2"/>
          </p:nvPr>
        </p:nvSpPr>
        <p:spPr>
          <a:xfrm>
            <a:off x="457280" y="6357824"/>
            <a:ext cx="2133971" cy="366267"/>
          </a:xfrm>
          <a:prstGeom prst="rect">
            <a:avLst/>
          </a:prstGeom>
        </p:spPr>
        <p:txBody>
          <a:bodyPr vert="horz" lIns="121944" tIns="60972" rIns="121944" bIns="60972" rtlCol="0" anchor="ctr"/>
          <a:lstStyle>
            <a:lvl1pPr algn="l">
              <a:defRPr sz="1200">
                <a:solidFill>
                  <a:schemeClr val="bg1"/>
                </a:solidFill>
              </a:defRPr>
            </a:lvl1pPr>
          </a:lstStyle>
          <a:p>
            <a:pPr defTabSz="914461" fontAlgn="auto">
              <a:spcBef>
                <a:spcPts val="0"/>
              </a:spcBef>
              <a:spcAft>
                <a:spcPts val="0"/>
              </a:spcAft>
            </a:pPr>
            <a:fld id="{1A5B2B23-E5F0-44D7-A9FF-4B8E82156B39}" type="datetimeFigureOut">
              <a:rPr lang="zh-CN" altLang="en-US" smtClean="0">
                <a:solidFill>
                  <a:prstClr val="white"/>
                </a:solidFill>
                <a:latin typeface="Arial"/>
                <a:ea typeface="微软雅黑"/>
              </a:rPr>
              <a:pPr defTabSz="914461" fontAlgn="auto">
                <a:spcBef>
                  <a:spcPts val="0"/>
                </a:spcBef>
                <a:spcAft>
                  <a:spcPts val="0"/>
                </a:spcAft>
              </a:pPr>
              <a:t>2017/4/5</a:t>
            </a:fld>
            <a:endParaRPr lang="zh-CN" altLang="en-US">
              <a:solidFill>
                <a:prstClr val="white"/>
              </a:solidFill>
              <a:latin typeface="Arial"/>
              <a:ea typeface="微软雅黑"/>
            </a:endParaRPr>
          </a:p>
        </p:txBody>
      </p:sp>
      <p:sp>
        <p:nvSpPr>
          <p:cNvPr id="5" name="页脚占位符 4"/>
          <p:cNvSpPr>
            <a:spLocks noGrp="1"/>
          </p:cNvSpPr>
          <p:nvPr>
            <p:ph type="ftr" sz="quarter" idx="3"/>
          </p:nvPr>
        </p:nvSpPr>
        <p:spPr>
          <a:xfrm>
            <a:off x="3124743" y="6357824"/>
            <a:ext cx="2896103" cy="366267"/>
          </a:xfrm>
          <a:prstGeom prst="rect">
            <a:avLst/>
          </a:prstGeom>
        </p:spPr>
        <p:txBody>
          <a:bodyPr vert="horz" lIns="121944" tIns="60972" rIns="121944" bIns="60972" rtlCol="0" anchor="ctr"/>
          <a:lstStyle>
            <a:lvl1pPr algn="ctr">
              <a:defRPr sz="1200">
                <a:solidFill>
                  <a:schemeClr val="bg1"/>
                </a:solidFill>
              </a:defRPr>
            </a:lvl1pPr>
          </a:lstStyle>
          <a:p>
            <a:pPr defTabSz="914461" fontAlgn="auto">
              <a:spcBef>
                <a:spcPts val="0"/>
              </a:spcBef>
              <a:spcAft>
                <a:spcPts val="0"/>
              </a:spcAft>
            </a:pPr>
            <a:endParaRPr lang="zh-CN" altLang="en-US">
              <a:solidFill>
                <a:prstClr val="white"/>
              </a:solidFill>
              <a:latin typeface="Arial"/>
              <a:ea typeface="微软雅黑"/>
            </a:endParaRPr>
          </a:p>
        </p:txBody>
      </p:sp>
      <p:sp>
        <p:nvSpPr>
          <p:cNvPr id="6" name="灯片编号占位符 5"/>
          <p:cNvSpPr>
            <a:spLocks noGrp="1"/>
          </p:cNvSpPr>
          <p:nvPr>
            <p:ph type="sldNum" sz="quarter" idx="4"/>
          </p:nvPr>
        </p:nvSpPr>
        <p:spPr>
          <a:xfrm>
            <a:off x="6554338" y="6357824"/>
            <a:ext cx="2133971" cy="366267"/>
          </a:xfrm>
          <a:prstGeom prst="rect">
            <a:avLst/>
          </a:prstGeom>
        </p:spPr>
        <p:txBody>
          <a:bodyPr vert="horz" lIns="121944" tIns="60972" rIns="121944" bIns="60972" rtlCol="0" anchor="ctr"/>
          <a:lstStyle>
            <a:lvl1pPr algn="r">
              <a:defRPr sz="1200">
                <a:solidFill>
                  <a:schemeClr val="bg1"/>
                </a:solidFill>
              </a:defRPr>
            </a:lvl1pPr>
          </a:lstStyle>
          <a:p>
            <a:pPr defTabSz="914461" fontAlgn="auto">
              <a:spcBef>
                <a:spcPts val="0"/>
              </a:spcBef>
              <a:spcAft>
                <a:spcPts val="0"/>
              </a:spcAft>
            </a:pPr>
            <a:fld id="{B2563A90-55EF-4D2C-B954-EDF55F24A661}" type="slidenum">
              <a:rPr lang="zh-CN" altLang="en-US" smtClean="0">
                <a:solidFill>
                  <a:prstClr val="white"/>
                </a:solidFill>
                <a:latin typeface="Arial"/>
                <a:ea typeface="微软雅黑"/>
              </a:rPr>
              <a:pPr defTabSz="914461" fontAlgn="auto">
                <a:spcBef>
                  <a:spcPts val="0"/>
                </a:spcBef>
                <a:spcAft>
                  <a:spcPts val="0"/>
                </a:spcAft>
              </a:pPr>
              <a:t>‹Nº›</a:t>
            </a:fld>
            <a:endParaRPr lang="zh-CN" altLang="en-US">
              <a:solidFill>
                <a:prstClr val="white"/>
              </a:solidFill>
              <a:latin typeface="Arial"/>
              <a:ea typeface="微软雅黑"/>
            </a:endParaRPr>
          </a:p>
        </p:txBody>
      </p:sp>
      <p:sp>
        <p:nvSpPr>
          <p:cNvPr id="8" name="Rectangle 86"/>
          <p:cNvSpPr>
            <a:spLocks noChangeArrowheads="1"/>
          </p:cNvSpPr>
          <p:nvPr userDrawn="1"/>
        </p:nvSpPr>
        <p:spPr bwMode="auto">
          <a:xfrm>
            <a:off x="429519" y="6433426"/>
            <a:ext cx="535587" cy="426163"/>
          </a:xfrm>
          <a:prstGeom prst="rect">
            <a:avLst/>
          </a:prstGeom>
          <a:noFill/>
          <a:ln w="9525">
            <a:noFill/>
            <a:miter lim="800000"/>
            <a:headEnd/>
            <a:tailEnd/>
          </a:ln>
          <a:effectLst/>
        </p:spPr>
        <p:txBody>
          <a:bodyPr lIns="0" tIns="0" rIns="0" bIns="0"/>
          <a:lstStyle/>
          <a:p>
            <a:pPr defTabSz="740985" eaLnBrk="0" fontAlgn="auto" hangingPunct="0">
              <a:lnSpc>
                <a:spcPct val="85000"/>
              </a:lnSpc>
              <a:spcBef>
                <a:spcPts val="0"/>
              </a:spcBef>
              <a:spcAft>
                <a:spcPts val="0"/>
              </a:spcAft>
            </a:pPr>
            <a:endParaRPr lang="de-DE" sz="975" dirty="0">
              <a:solidFill>
                <a:prstClr val="white"/>
              </a:solidFill>
              <a:latin typeface="FrutigerNext LT Light" pitchFamily="34" charset="0"/>
              <a:ea typeface="MS PGothic" pitchFamily="34" charset="-128"/>
            </a:endParaRPr>
          </a:p>
          <a:p>
            <a:pPr defTabSz="740985" eaLnBrk="0" fontAlgn="auto" hangingPunct="0">
              <a:lnSpc>
                <a:spcPct val="85000"/>
              </a:lnSpc>
              <a:spcBef>
                <a:spcPts val="0"/>
              </a:spcBef>
              <a:spcAft>
                <a:spcPts val="0"/>
              </a:spcAft>
            </a:pPr>
            <a:fld id="{E68EC476-442B-4BB7-9603-F1440C241F3D}" type="slidenum">
              <a:rPr lang="de-DE" sz="975" smtClean="0">
                <a:solidFill>
                  <a:prstClr val="white"/>
                </a:solidFill>
                <a:latin typeface="FrutigerNext LT Light" pitchFamily="34" charset="0"/>
                <a:ea typeface="MS PGothic" pitchFamily="34" charset="-128"/>
              </a:rPr>
              <a:pPr defTabSz="740985" eaLnBrk="0" fontAlgn="auto" hangingPunct="0">
                <a:lnSpc>
                  <a:spcPct val="85000"/>
                </a:lnSpc>
                <a:spcBef>
                  <a:spcPts val="0"/>
                </a:spcBef>
                <a:spcAft>
                  <a:spcPts val="0"/>
                </a:spcAft>
              </a:pPr>
              <a:t>‹Nº›</a:t>
            </a:fld>
            <a:endParaRPr lang="en-GB" sz="975" dirty="0">
              <a:solidFill>
                <a:prstClr val="white"/>
              </a:solidFill>
              <a:latin typeface="FrutigerNext LT Light" pitchFamily="34" charset="0"/>
              <a:ea typeface="MS PGothic" pitchFamily="34" charset="-128"/>
            </a:endParaRPr>
          </a:p>
        </p:txBody>
      </p:sp>
    </p:spTree>
    <p:extLst>
      <p:ext uri="{BB962C8B-B14F-4D97-AF65-F5344CB8AC3E}">
        <p14:creationId xmlns:p14="http://schemas.microsoft.com/office/powerpoint/2010/main" val="3284122545"/>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Lst>
  <p:timing>
    <p:tnLst>
      <p:par>
        <p:cTn id="1" dur="indefinite" restart="never" nodeType="tmRoot"/>
      </p:par>
    </p:tnLst>
  </p:timing>
  <p:txStyles>
    <p:titleStyle>
      <a:lvl1pPr algn="ctr" defTabSz="914461" rtl="0" eaLnBrk="1" latinLnBrk="0" hangingPunct="1">
        <a:spcBef>
          <a:spcPct val="0"/>
        </a:spcBef>
        <a:buNone/>
        <a:defRPr sz="4424" kern="1200">
          <a:solidFill>
            <a:schemeClr val="bg1"/>
          </a:solidFill>
          <a:latin typeface="+mj-lt"/>
          <a:ea typeface="+mj-ea"/>
          <a:cs typeface="+mj-cs"/>
        </a:defRPr>
      </a:lvl1pPr>
    </p:titleStyle>
    <p:bodyStyle>
      <a:lvl1pPr marL="342923" indent="-342923" algn="l" defTabSz="914461" rtl="0" eaLnBrk="1" latinLnBrk="0" hangingPunct="1">
        <a:spcBef>
          <a:spcPct val="20000"/>
        </a:spcBef>
        <a:buFont typeface="Arial" pitchFamily="34" charset="0"/>
        <a:buChar char="•"/>
        <a:defRPr sz="3225" kern="1200">
          <a:solidFill>
            <a:schemeClr val="bg1"/>
          </a:solidFill>
          <a:latin typeface="+mn-lt"/>
          <a:ea typeface="+mn-ea"/>
          <a:cs typeface="+mn-cs"/>
        </a:defRPr>
      </a:lvl1pPr>
      <a:lvl2pPr marL="742999" indent="-285769" algn="l" defTabSz="914461" rtl="0" eaLnBrk="1" latinLnBrk="0" hangingPunct="1">
        <a:spcBef>
          <a:spcPct val="20000"/>
        </a:spcBef>
        <a:buFont typeface="Arial" pitchFamily="34" charset="0"/>
        <a:buChar char="–"/>
        <a:defRPr sz="2775" kern="1200">
          <a:solidFill>
            <a:schemeClr val="bg1"/>
          </a:solidFill>
          <a:latin typeface="+mn-lt"/>
          <a:ea typeface="+mn-ea"/>
          <a:cs typeface="+mn-cs"/>
        </a:defRPr>
      </a:lvl2pPr>
      <a:lvl3pPr marL="1143076" indent="-228615" algn="l" defTabSz="91446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30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4pPr>
      <a:lvl5pPr marL="2057537" indent="-228615" algn="l" defTabSz="914461" rtl="0" eaLnBrk="1" latinLnBrk="0" hangingPunct="1">
        <a:spcBef>
          <a:spcPct val="20000"/>
        </a:spcBef>
        <a:buFont typeface="Arial" pitchFamily="34" charset="0"/>
        <a:buChar char="»"/>
        <a:defRPr sz="2025" kern="1200">
          <a:solidFill>
            <a:schemeClr val="bg1"/>
          </a:solidFill>
          <a:latin typeface="+mn-lt"/>
          <a:ea typeface="+mn-ea"/>
          <a:cs typeface="+mn-cs"/>
        </a:defRPr>
      </a:lvl5pPr>
      <a:lvl6pPr marL="251476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99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922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6459"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1617"/>
            <a:ext cx="9145587" cy="6856357"/>
          </a:xfrm>
          <a:prstGeom prst="rect">
            <a:avLst/>
          </a:prstGeom>
        </p:spPr>
      </p:pic>
      <p:sp>
        <p:nvSpPr>
          <p:cNvPr id="7" name="TextBox 6"/>
          <p:cNvSpPr txBox="1"/>
          <p:nvPr userDrawn="1"/>
        </p:nvSpPr>
        <p:spPr>
          <a:xfrm>
            <a:off x="2287599" y="3612786"/>
            <a:ext cx="4283244" cy="496300"/>
          </a:xfrm>
          <a:prstGeom prst="rect">
            <a:avLst/>
          </a:prstGeom>
          <a:noFill/>
        </p:spPr>
        <p:txBody>
          <a:bodyPr wrap="square" lIns="91450" tIns="45725" rIns="91450" bIns="45725">
            <a:spAutoFit/>
          </a:bodyPr>
          <a:lstStyle/>
          <a:p>
            <a:pPr algn="just" defTabSz="914461" fontAlgn="auto">
              <a:spcBef>
                <a:spcPts val="0"/>
              </a:spcBef>
              <a:spcAft>
                <a:spcPts val="0"/>
              </a:spcAft>
              <a:defRPr/>
            </a:pPr>
            <a:r>
              <a:rPr lang="en-US" altLang="zh-CN" sz="525" b="1" dirty="0" smtClean="0">
                <a:solidFill>
                  <a:prstClr val="white"/>
                </a:solidFill>
                <a:latin typeface="Arial"/>
                <a:ea typeface="微软雅黑"/>
              </a:rPr>
              <a:t>Copyright©2016 </a:t>
            </a:r>
            <a:r>
              <a:rPr lang="en-US" altLang="zh-CN" sz="525" b="1" dirty="0">
                <a:solidFill>
                  <a:prstClr val="white"/>
                </a:solidFill>
                <a:latin typeface="Arial"/>
                <a:ea typeface="微软雅黑"/>
              </a:rPr>
              <a:t>Huawei Technologies Co., Ltd. All Rights Reserved.</a:t>
            </a:r>
            <a:endParaRPr lang="zh-CN" altLang="zh-CN" sz="525" dirty="0">
              <a:solidFill>
                <a:prstClr val="white"/>
              </a:solidFill>
              <a:latin typeface="Arial"/>
              <a:ea typeface="微软雅黑"/>
            </a:endParaRPr>
          </a:p>
          <a:p>
            <a:pPr algn="just" defTabSz="914461" fontAlgn="auto">
              <a:spcBef>
                <a:spcPts val="0"/>
              </a:spcBef>
              <a:spcAft>
                <a:spcPts val="0"/>
              </a:spcAft>
              <a:defRPr/>
            </a:pPr>
            <a:r>
              <a:rPr lang="en-US" altLang="zh-CN" sz="525" dirty="0">
                <a:solidFill>
                  <a:prstClr val="white"/>
                </a:solidFill>
                <a:latin typeface="Arial"/>
                <a:ea typeface="微软雅黑"/>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525" dirty="0">
              <a:solidFill>
                <a:prstClr val="white"/>
              </a:solidFill>
              <a:latin typeface="Arial"/>
              <a:ea typeface="微软雅黑"/>
            </a:endParaRPr>
          </a:p>
        </p:txBody>
      </p:sp>
      <p:sp>
        <p:nvSpPr>
          <p:cNvPr id="5" name="TextBox 2"/>
          <p:cNvSpPr txBox="1"/>
          <p:nvPr userDrawn="1"/>
        </p:nvSpPr>
        <p:spPr>
          <a:xfrm>
            <a:off x="3182725" y="2421683"/>
            <a:ext cx="2492991" cy="646331"/>
          </a:xfrm>
          <a:prstGeom prst="rect">
            <a:avLst/>
          </a:prstGeom>
          <a:noFill/>
        </p:spPr>
        <p:txBody>
          <a:bodyPr wrap="none" rtlCol="0">
            <a:spAutoFit/>
          </a:bodyPr>
          <a:lstStyle/>
          <a:p>
            <a:pPr algn="ctr" defTabSz="914461" fontAlgn="auto">
              <a:spcBef>
                <a:spcPts val="0"/>
              </a:spcBef>
              <a:spcAft>
                <a:spcPts val="0"/>
              </a:spcAft>
            </a:pPr>
            <a:r>
              <a:rPr lang="fr-FR" sz="3600" b="1" dirty="0" smtClean="0">
                <a:solidFill>
                  <a:prstClr val="white"/>
                </a:solidFill>
                <a:latin typeface="Arial"/>
                <a:ea typeface="微软雅黑"/>
              </a:rPr>
              <a:t>Thank you</a:t>
            </a:r>
            <a:endParaRPr lang="fr-FR" sz="3600" b="1" dirty="0">
              <a:solidFill>
                <a:prstClr val="white"/>
              </a:solidFill>
              <a:latin typeface="Arial"/>
              <a:ea typeface="微软雅黑"/>
            </a:endParaRPr>
          </a:p>
        </p:txBody>
      </p:sp>
    </p:spTree>
    <p:extLst>
      <p:ext uri="{BB962C8B-B14F-4D97-AF65-F5344CB8AC3E}">
        <p14:creationId xmlns:p14="http://schemas.microsoft.com/office/powerpoint/2010/main" val="3313908301"/>
      </p:ext>
    </p:extLst>
  </p:cSld>
  <p:clrMap bg1="lt1" tx1="dk1" bg2="lt2" tx2="dk2" accent1="accent1" accent2="accent2" accent3="accent3" accent4="accent4" accent5="accent5" accent6="accent6" hlink="hlink" folHlink="folHlink"/>
  <p:sldLayoutIdLst>
    <p:sldLayoutId id="2147483935" r:id="rId1"/>
  </p:sldLayoutIdLst>
  <p:timing>
    <p:tnLst>
      <p:par>
        <p:cTn id="1" dur="indefinite" restart="never" nodeType="tmRoot"/>
      </p:par>
    </p:tnLst>
  </p:timing>
  <p:txStyles>
    <p:titleStyle>
      <a:lvl1pPr algn="ctr" defTabSz="914461" rtl="0" eaLnBrk="1" latinLnBrk="0" hangingPunct="1">
        <a:spcBef>
          <a:spcPct val="0"/>
        </a:spcBef>
        <a:buNone/>
        <a:defRPr sz="4424" kern="1200">
          <a:solidFill>
            <a:schemeClr val="tx1"/>
          </a:solidFill>
          <a:latin typeface="+mj-lt"/>
          <a:ea typeface="+mj-ea"/>
          <a:cs typeface="+mj-cs"/>
        </a:defRPr>
      </a:lvl1pPr>
    </p:titleStyle>
    <p:bodyStyle>
      <a:lvl1pPr marL="342923" indent="-342923" algn="l" defTabSz="914461" rtl="0" eaLnBrk="1" latinLnBrk="0" hangingPunct="1">
        <a:spcBef>
          <a:spcPct val="20000"/>
        </a:spcBef>
        <a:buFont typeface="Arial" pitchFamily="34" charset="0"/>
        <a:buChar char="•"/>
        <a:defRPr sz="3225" kern="1200">
          <a:solidFill>
            <a:schemeClr val="tx1"/>
          </a:solidFill>
          <a:latin typeface="+mn-lt"/>
          <a:ea typeface="+mn-ea"/>
          <a:cs typeface="+mn-cs"/>
        </a:defRPr>
      </a:lvl1pPr>
      <a:lvl2pPr marL="742999" indent="-285769" algn="l" defTabSz="914461" rtl="0" eaLnBrk="1" latinLnBrk="0" hangingPunct="1">
        <a:spcBef>
          <a:spcPct val="20000"/>
        </a:spcBef>
        <a:buFont typeface="Arial" pitchFamily="34" charset="0"/>
        <a:buChar char="–"/>
        <a:defRPr sz="2775" kern="1200">
          <a:solidFill>
            <a:schemeClr val="tx1"/>
          </a:solidFill>
          <a:latin typeface="+mn-lt"/>
          <a:ea typeface="+mn-ea"/>
          <a:cs typeface="+mn-cs"/>
        </a:defRPr>
      </a:lvl2pPr>
      <a:lvl3pPr marL="1143076" indent="-228615" algn="l" defTabSz="914461"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307"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4pPr>
      <a:lvl5pPr marL="2057537"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5pPr>
      <a:lvl6pPr marL="251476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6pPr>
      <a:lvl7pPr marL="297199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7pPr>
      <a:lvl8pPr marL="3429228"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8pPr>
      <a:lvl9pPr marL="3886459" indent="-228615" algn="l" defTabSz="914461" rtl="0" eaLnBrk="1" latinLnBrk="0" hangingPunct="1">
        <a:spcBef>
          <a:spcPct val="20000"/>
        </a:spcBef>
        <a:buFont typeface="Arial" pitchFamily="34" charset="0"/>
        <a:buChar char="•"/>
        <a:defRPr sz="2025" kern="1200">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0" name="Text Box 5"/>
          <p:cNvSpPr txBox="1">
            <a:spLocks noChangeArrowheads="1"/>
          </p:cNvSpPr>
          <p:nvPr/>
        </p:nvSpPr>
        <p:spPr bwMode="auto">
          <a:xfrm>
            <a:off x="755782" y="6221267"/>
            <a:ext cx="3178509" cy="219291"/>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9145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25" dirty="0" smtClean="0">
                <a:solidFill>
                  <a:srgbClr val="000000"/>
                </a:solidFill>
                <a:latin typeface="FrutigerNext LT Bold" pitchFamily="34" charset="0"/>
                <a:ea typeface="MS PGothic" pitchFamily="34" charset="-128"/>
              </a:rPr>
              <a:t>HUAWEI TECHNOLOGIES CO., LTD.</a:t>
            </a:r>
          </a:p>
        </p:txBody>
      </p:sp>
      <p:pic>
        <p:nvPicPr>
          <p:cNvPr id="5125" name="Picture 6" descr="Log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670548" y="5686155"/>
            <a:ext cx="706559" cy="70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7" name="Rectangle 8"/>
          <p:cNvSpPr>
            <a:spLocks noGrp="1" noChangeArrowheads="1"/>
          </p:cNvSpPr>
          <p:nvPr>
            <p:ph type="title"/>
          </p:nvPr>
        </p:nvSpPr>
        <p:spPr bwMode="auto">
          <a:xfrm>
            <a:off x="755784" y="4509548"/>
            <a:ext cx="5549276" cy="619425"/>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0972" rIns="121944" bIns="60972" numCol="1" anchor="t" anchorCtr="0" compatLnSpc="1">
            <a:prstTxWarp prst="textNoShape">
              <a:avLst/>
            </a:prstTxWarp>
            <a:spAutoFit/>
          </a:bodyPr>
          <a:lstStyle/>
          <a:p>
            <a:pPr lvl="0"/>
            <a:r>
              <a:rPr lang="zh-CN" altLang="en-US" dirty="0" smtClean="0"/>
              <a:t>单击此处编辑母版标题样式</a:t>
            </a:r>
          </a:p>
        </p:txBody>
      </p:sp>
      <p:sp>
        <p:nvSpPr>
          <p:cNvPr id="5128" name="Rectangle 13"/>
          <p:cNvSpPr>
            <a:spLocks noChangeArrowheads="1"/>
          </p:cNvSpPr>
          <p:nvPr/>
        </p:nvSpPr>
        <p:spPr bwMode="auto">
          <a:xfrm>
            <a:off x="7237085" y="476362"/>
            <a:ext cx="1465518"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4277" eaLnBrk="0" hangingPunct="0"/>
            <a:r>
              <a:rPr lang="en-US" altLang="zh-CN" sz="1425" b="1" dirty="0">
                <a:solidFill>
                  <a:srgbClr val="666666"/>
                </a:solidFill>
                <a:latin typeface="FrutigerNext LT Bold" pitchFamily="34" charset="0"/>
                <a:ea typeface="MS PGothic" pitchFamily="34" charset="-128"/>
              </a:rPr>
              <a:t>Security Level: </a:t>
            </a:r>
          </a:p>
        </p:txBody>
      </p:sp>
      <p:sp>
        <p:nvSpPr>
          <p:cNvPr id="85" name="Rectangle 19"/>
          <p:cNvSpPr>
            <a:spLocks noGrp="1" noChangeArrowheads="1"/>
          </p:cNvSpPr>
          <p:nvPr>
            <p:ph type="dt" sz="quarter" idx="2"/>
          </p:nvPr>
        </p:nvSpPr>
        <p:spPr bwMode="auto">
          <a:xfrm>
            <a:off x="755782" y="479536"/>
            <a:ext cx="2133971" cy="21929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25">
                <a:latin typeface="+mn-lt"/>
                <a:ea typeface="+mj-ea"/>
              </a:defRPr>
            </a:lvl1pPr>
          </a:lstStyle>
          <a:p>
            <a:pPr>
              <a:defRPr/>
            </a:pPr>
            <a:endParaRPr lang="en-US" altLang="zh-CN"/>
          </a:p>
        </p:txBody>
      </p:sp>
      <p:sp>
        <p:nvSpPr>
          <p:cNvPr id="5130" name="Rectangle 17"/>
          <p:cNvSpPr>
            <a:spLocks noChangeArrowheads="1"/>
          </p:cNvSpPr>
          <p:nvPr/>
        </p:nvSpPr>
        <p:spPr bwMode="auto">
          <a:xfrm>
            <a:off x="-1952963" y="692312"/>
            <a:ext cx="1844995" cy="567384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marL="342923" indent="-342923" algn="r">
              <a:lnSpc>
                <a:spcPct val="125000"/>
              </a:lnSpc>
              <a:spcBef>
                <a:spcPct val="20000"/>
              </a:spcBef>
            </a:pPr>
            <a:r>
              <a:rPr lang="zh-CN" altLang="en-US" sz="1125" dirty="0">
                <a:solidFill>
                  <a:srgbClr val="FFFFFF"/>
                </a:solidFill>
                <a:latin typeface="Arial" pitchFamily="34" charset="0"/>
              </a:rPr>
              <a:t>英文标题</a:t>
            </a:r>
            <a:r>
              <a:rPr lang="en-US" altLang="zh-CN" sz="1125" dirty="0">
                <a:solidFill>
                  <a:srgbClr val="FFFFFF"/>
                </a:solidFill>
                <a:latin typeface="Arial" pitchFamily="34" charset="0"/>
              </a:rPr>
              <a:t>:32-35pt  </a:t>
            </a:r>
            <a:endParaRPr lang="zh-CN" altLang="en-US"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颜色</a:t>
            </a:r>
            <a:r>
              <a:rPr lang="en-US" altLang="zh-CN" sz="1125" dirty="0">
                <a:solidFill>
                  <a:srgbClr val="FFFFFF"/>
                </a:solidFill>
                <a:latin typeface="Arial" pitchFamily="34" charset="0"/>
              </a:rPr>
              <a:t>: R153 G0 B0</a:t>
            </a:r>
          </a:p>
          <a:p>
            <a:pPr marL="342923" indent="-342923" algn="r">
              <a:lnSpc>
                <a:spcPct val="125000"/>
              </a:lnSpc>
              <a:spcBef>
                <a:spcPct val="20000"/>
              </a:spcBef>
            </a:pPr>
            <a:r>
              <a:rPr lang="zh-CN" altLang="en-US" sz="1125" dirty="0">
                <a:solidFill>
                  <a:srgbClr val="FFFFFF"/>
                </a:solidFill>
                <a:latin typeface="Arial" pitchFamily="34" charset="0"/>
              </a:rPr>
              <a:t>内部使用字体 </a:t>
            </a:r>
            <a:r>
              <a:rPr lang="en-US" altLang="zh-CN" sz="1125" dirty="0">
                <a:solidFill>
                  <a:srgbClr val="FFFFFF"/>
                </a:solidFill>
                <a:latin typeface="Arial" pitchFamily="34" charset="0"/>
              </a:rPr>
              <a:t>:</a:t>
            </a:r>
          </a:p>
          <a:p>
            <a:pPr marL="342923" indent="-342923" algn="r">
              <a:lnSpc>
                <a:spcPct val="125000"/>
              </a:lnSpc>
              <a:spcBef>
                <a:spcPct val="20000"/>
              </a:spcBef>
            </a:pPr>
            <a:r>
              <a:rPr lang="en-US" altLang="zh-CN" sz="1125" dirty="0" err="1">
                <a:solidFill>
                  <a:srgbClr val="FFFFFF"/>
                </a:solidFill>
                <a:latin typeface="Arial" pitchFamily="34" charset="0"/>
              </a:rPr>
              <a:t>FrutigerNext</a:t>
            </a:r>
            <a:r>
              <a:rPr lang="en-US" altLang="zh-CN" sz="1125" dirty="0">
                <a:solidFill>
                  <a:srgbClr val="FFFFFF"/>
                </a:solidFill>
                <a:latin typeface="Arial" pitchFamily="34" charset="0"/>
              </a:rPr>
              <a:t> LT Medium</a:t>
            </a:r>
          </a:p>
          <a:p>
            <a:pPr marL="342923" indent="-342923" algn="r">
              <a:lnSpc>
                <a:spcPct val="125000"/>
              </a:lnSpc>
              <a:spcBef>
                <a:spcPct val="20000"/>
              </a:spcBef>
            </a:pPr>
            <a:r>
              <a:rPr lang="zh-CN" altLang="en-US" sz="1125" dirty="0">
                <a:solidFill>
                  <a:srgbClr val="FFFFFF"/>
                </a:solidFill>
                <a:latin typeface="Arial" pitchFamily="34" charset="0"/>
              </a:rPr>
              <a:t>外部使用字体 </a:t>
            </a:r>
            <a:r>
              <a:rPr lang="en-US" altLang="zh-CN" sz="1125" dirty="0">
                <a:solidFill>
                  <a:srgbClr val="FFFFFF"/>
                </a:solidFill>
                <a:latin typeface="Arial" pitchFamily="34" charset="0"/>
              </a:rPr>
              <a:t>: Arial</a:t>
            </a:r>
          </a:p>
          <a:p>
            <a:pPr marL="342923" indent="-342923" algn="r">
              <a:lnSpc>
                <a:spcPct val="75000"/>
              </a:lnSpc>
              <a:spcBef>
                <a:spcPct val="20000"/>
              </a:spcBef>
            </a:pPr>
            <a:endParaRPr lang="en-US" altLang="zh-CN"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中文标题</a:t>
            </a:r>
            <a:r>
              <a:rPr lang="en-US" altLang="zh-CN" sz="1125" dirty="0">
                <a:solidFill>
                  <a:srgbClr val="FFFFFF"/>
                </a:solidFill>
                <a:latin typeface="Arial" pitchFamily="34" charset="0"/>
              </a:rPr>
              <a:t>:30-32pt  </a:t>
            </a:r>
            <a:endParaRPr lang="zh-CN" altLang="en-US"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颜色</a:t>
            </a:r>
            <a:r>
              <a:rPr lang="en-US" altLang="zh-CN" sz="1125" dirty="0">
                <a:solidFill>
                  <a:srgbClr val="FFFFFF"/>
                </a:solidFill>
                <a:latin typeface="Arial" pitchFamily="34" charset="0"/>
              </a:rPr>
              <a:t>: R153 G0 B0</a:t>
            </a:r>
          </a:p>
          <a:p>
            <a:pPr marL="342923" indent="-342923" algn="r">
              <a:lnSpc>
                <a:spcPct val="125000"/>
              </a:lnSpc>
              <a:spcBef>
                <a:spcPct val="20000"/>
              </a:spcBef>
            </a:pPr>
            <a:r>
              <a:rPr lang="zh-CN" altLang="en-US" sz="1125" dirty="0">
                <a:solidFill>
                  <a:srgbClr val="FFFFFF"/>
                </a:solidFill>
                <a:latin typeface="Arial" pitchFamily="34" charset="0"/>
              </a:rPr>
              <a:t>字体</a:t>
            </a:r>
            <a:r>
              <a:rPr lang="en-US" altLang="zh-CN" sz="1125" dirty="0">
                <a:solidFill>
                  <a:srgbClr val="FFFFFF"/>
                </a:solidFill>
                <a:latin typeface="Arial" pitchFamily="34" charset="0"/>
              </a:rPr>
              <a:t>:</a:t>
            </a:r>
            <a:r>
              <a:rPr lang="zh-CN" altLang="en-US" sz="1125" dirty="0">
                <a:solidFill>
                  <a:srgbClr val="FFFFFF"/>
                </a:solidFill>
                <a:latin typeface="Arial" pitchFamily="34" charset="0"/>
              </a:rPr>
              <a:t>黑体</a:t>
            </a:r>
          </a:p>
          <a:p>
            <a:pPr marL="342923" indent="-342923" algn="r">
              <a:lnSpc>
                <a:spcPct val="125000"/>
              </a:lnSpc>
              <a:spcBef>
                <a:spcPct val="20000"/>
              </a:spcBef>
            </a:pPr>
            <a:endParaRPr lang="zh-CN" altLang="en-US" sz="1125" dirty="0">
              <a:solidFill>
                <a:srgbClr val="FFFFFF"/>
              </a:solidFill>
              <a:latin typeface="Arial" pitchFamily="34" charset="0"/>
            </a:endParaRPr>
          </a:p>
          <a:p>
            <a:pPr marL="342923" indent="-342923" algn="r">
              <a:lnSpc>
                <a:spcPct val="125000"/>
              </a:lnSpc>
              <a:spcBef>
                <a:spcPct val="20000"/>
              </a:spcBef>
            </a:pPr>
            <a:endParaRPr lang="zh-CN" altLang="en-US" sz="1125" dirty="0">
              <a:solidFill>
                <a:srgbClr val="FFFFFF"/>
              </a:solidFill>
              <a:latin typeface="Arial" pitchFamily="34" charset="0"/>
            </a:endParaRPr>
          </a:p>
          <a:p>
            <a:pPr marL="342923" indent="-342923" algn="r">
              <a:lnSpc>
                <a:spcPct val="125000"/>
              </a:lnSpc>
              <a:spcBef>
                <a:spcPct val="20000"/>
              </a:spcBef>
            </a:pPr>
            <a:endParaRPr lang="zh-CN" altLang="en-US"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英文正文</a:t>
            </a:r>
            <a:r>
              <a:rPr lang="en-US" altLang="zh-CN" sz="1125" dirty="0">
                <a:solidFill>
                  <a:srgbClr val="FFFFFF"/>
                </a:solidFill>
                <a:latin typeface="Arial" pitchFamily="34" charset="0"/>
              </a:rPr>
              <a:t>:20-22pt</a:t>
            </a:r>
          </a:p>
          <a:p>
            <a:pPr marL="342923" indent="-342923" algn="r">
              <a:lnSpc>
                <a:spcPct val="125000"/>
              </a:lnSpc>
              <a:spcBef>
                <a:spcPct val="20000"/>
              </a:spcBef>
            </a:pPr>
            <a:r>
              <a:rPr lang="zh-CN" altLang="en-US" sz="1125" dirty="0">
                <a:solidFill>
                  <a:srgbClr val="FFFFFF"/>
                </a:solidFill>
                <a:latin typeface="Arial" pitchFamily="34" charset="0"/>
              </a:rPr>
              <a:t>子目录 </a:t>
            </a:r>
            <a:r>
              <a:rPr lang="en-US" altLang="zh-CN" sz="1125" dirty="0">
                <a:solidFill>
                  <a:srgbClr val="FFFFFF"/>
                </a:solidFill>
                <a:latin typeface="Arial" pitchFamily="34" charset="0"/>
              </a:rPr>
              <a:t>(2-5</a:t>
            </a:r>
            <a:r>
              <a:rPr lang="zh-CN" altLang="en-US" sz="1125" dirty="0">
                <a:solidFill>
                  <a:srgbClr val="FFFFFF"/>
                </a:solidFill>
                <a:latin typeface="Arial" pitchFamily="34" charset="0"/>
              </a:rPr>
              <a:t>级</a:t>
            </a:r>
            <a:r>
              <a:rPr lang="en-US" altLang="zh-CN" sz="1125" dirty="0">
                <a:solidFill>
                  <a:srgbClr val="FFFFFF"/>
                </a:solidFill>
                <a:latin typeface="Arial" pitchFamily="34" charset="0"/>
              </a:rPr>
              <a:t>) :18pt  </a:t>
            </a:r>
          </a:p>
          <a:p>
            <a:pPr marL="342923" indent="-342923" algn="r">
              <a:lnSpc>
                <a:spcPct val="125000"/>
              </a:lnSpc>
              <a:spcBef>
                <a:spcPct val="20000"/>
              </a:spcBef>
            </a:pPr>
            <a:r>
              <a:rPr lang="zh-CN" altLang="en-US" sz="1125" dirty="0">
                <a:solidFill>
                  <a:srgbClr val="FFFFFF"/>
                </a:solidFill>
                <a:latin typeface="Arial" pitchFamily="34" charset="0"/>
              </a:rPr>
              <a:t>颜色</a:t>
            </a:r>
            <a:r>
              <a:rPr lang="en-US" altLang="zh-CN" sz="1125" dirty="0">
                <a:solidFill>
                  <a:srgbClr val="FFFFFF"/>
                </a:solidFill>
                <a:latin typeface="Arial" pitchFamily="34" charset="0"/>
              </a:rPr>
              <a:t>:</a:t>
            </a:r>
            <a:r>
              <a:rPr lang="zh-CN" altLang="en-US" sz="1125" dirty="0">
                <a:solidFill>
                  <a:srgbClr val="FFFFFF"/>
                </a:solidFill>
                <a:latin typeface="Arial" pitchFamily="34" charset="0"/>
              </a:rPr>
              <a:t>黑色</a:t>
            </a:r>
          </a:p>
          <a:p>
            <a:pPr marL="342923" indent="-342923" algn="r">
              <a:lnSpc>
                <a:spcPct val="125000"/>
              </a:lnSpc>
              <a:spcBef>
                <a:spcPct val="20000"/>
              </a:spcBef>
            </a:pPr>
            <a:r>
              <a:rPr lang="zh-CN" altLang="en-US" sz="1125" dirty="0">
                <a:solidFill>
                  <a:srgbClr val="FFFFFF"/>
                </a:solidFill>
                <a:latin typeface="Arial" pitchFamily="34" charset="0"/>
              </a:rPr>
              <a:t>内部使用字体 </a:t>
            </a:r>
            <a:r>
              <a:rPr lang="en-US" altLang="zh-CN" sz="1125" dirty="0">
                <a:solidFill>
                  <a:srgbClr val="FFFFFF"/>
                </a:solidFill>
                <a:latin typeface="Arial" pitchFamily="34" charset="0"/>
              </a:rPr>
              <a:t>:</a:t>
            </a:r>
          </a:p>
          <a:p>
            <a:pPr marL="342923" indent="-342923" algn="r">
              <a:lnSpc>
                <a:spcPct val="125000"/>
              </a:lnSpc>
              <a:spcBef>
                <a:spcPct val="20000"/>
              </a:spcBef>
            </a:pPr>
            <a:r>
              <a:rPr lang="en-US" altLang="zh-CN" sz="1125" dirty="0" err="1">
                <a:solidFill>
                  <a:srgbClr val="FFFFFF"/>
                </a:solidFill>
                <a:latin typeface="Arial" pitchFamily="34" charset="0"/>
              </a:rPr>
              <a:t>FrutigerNext</a:t>
            </a:r>
            <a:r>
              <a:rPr lang="en-US" altLang="zh-CN" sz="1125" dirty="0">
                <a:solidFill>
                  <a:srgbClr val="FFFFFF"/>
                </a:solidFill>
                <a:latin typeface="Arial" pitchFamily="34" charset="0"/>
              </a:rPr>
              <a:t> LT Regular</a:t>
            </a:r>
          </a:p>
          <a:p>
            <a:pPr marL="342923" indent="-342923" algn="r">
              <a:lnSpc>
                <a:spcPct val="125000"/>
              </a:lnSpc>
              <a:spcBef>
                <a:spcPct val="20000"/>
              </a:spcBef>
            </a:pPr>
            <a:r>
              <a:rPr lang="zh-CN" altLang="en-US" sz="1125" dirty="0">
                <a:solidFill>
                  <a:srgbClr val="FFFFFF"/>
                </a:solidFill>
                <a:latin typeface="Arial" pitchFamily="34" charset="0"/>
              </a:rPr>
              <a:t>外部使用字体 </a:t>
            </a:r>
            <a:r>
              <a:rPr lang="en-US" altLang="zh-CN" sz="1125" dirty="0">
                <a:solidFill>
                  <a:srgbClr val="FFFFFF"/>
                </a:solidFill>
                <a:latin typeface="Arial" pitchFamily="34" charset="0"/>
              </a:rPr>
              <a:t>: Arial</a:t>
            </a:r>
          </a:p>
          <a:p>
            <a:pPr marL="342923" indent="-342923" algn="r">
              <a:lnSpc>
                <a:spcPct val="75000"/>
              </a:lnSpc>
              <a:spcBef>
                <a:spcPct val="20000"/>
              </a:spcBef>
            </a:pPr>
            <a:endParaRPr lang="en-US" altLang="zh-CN"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中文正文</a:t>
            </a:r>
            <a:r>
              <a:rPr lang="en-US" altLang="zh-CN" sz="1125" dirty="0">
                <a:solidFill>
                  <a:srgbClr val="FFFFFF"/>
                </a:solidFill>
                <a:latin typeface="Arial" pitchFamily="34" charset="0"/>
              </a:rPr>
              <a:t>:18-20pt</a:t>
            </a:r>
          </a:p>
          <a:p>
            <a:pPr marL="342923" indent="-342923" algn="r">
              <a:lnSpc>
                <a:spcPct val="125000"/>
              </a:lnSpc>
              <a:spcBef>
                <a:spcPct val="20000"/>
              </a:spcBef>
            </a:pPr>
            <a:r>
              <a:rPr lang="zh-CN" altLang="en-US" sz="1125" dirty="0">
                <a:solidFill>
                  <a:srgbClr val="FFFFFF"/>
                </a:solidFill>
                <a:latin typeface="Arial" pitchFamily="34" charset="0"/>
              </a:rPr>
              <a:t>子目录</a:t>
            </a:r>
            <a:r>
              <a:rPr lang="en-US" altLang="zh-CN" sz="1125" dirty="0">
                <a:solidFill>
                  <a:srgbClr val="FFFFFF"/>
                </a:solidFill>
                <a:latin typeface="Arial" pitchFamily="34" charset="0"/>
              </a:rPr>
              <a:t>(2-5</a:t>
            </a:r>
            <a:r>
              <a:rPr lang="zh-CN" altLang="en-US" sz="1125" dirty="0">
                <a:solidFill>
                  <a:srgbClr val="FFFFFF"/>
                </a:solidFill>
                <a:latin typeface="Arial" pitchFamily="34" charset="0"/>
              </a:rPr>
              <a:t>级</a:t>
            </a:r>
            <a:r>
              <a:rPr lang="en-US" altLang="zh-CN" sz="1125" dirty="0">
                <a:solidFill>
                  <a:srgbClr val="FFFFFF"/>
                </a:solidFill>
                <a:latin typeface="Arial" pitchFamily="34" charset="0"/>
              </a:rPr>
              <a:t>):18pt </a:t>
            </a:r>
            <a:endParaRPr lang="zh-CN" altLang="en-US" sz="1125" dirty="0">
              <a:solidFill>
                <a:srgbClr val="FFFFFF"/>
              </a:solidFill>
              <a:latin typeface="Arial" pitchFamily="34" charset="0"/>
            </a:endParaRPr>
          </a:p>
          <a:p>
            <a:pPr marL="342923" indent="-342923" algn="r">
              <a:lnSpc>
                <a:spcPct val="125000"/>
              </a:lnSpc>
              <a:spcBef>
                <a:spcPct val="20000"/>
              </a:spcBef>
            </a:pPr>
            <a:r>
              <a:rPr lang="zh-CN" altLang="en-US" sz="1125" dirty="0">
                <a:solidFill>
                  <a:srgbClr val="FFFFFF"/>
                </a:solidFill>
                <a:latin typeface="Arial" pitchFamily="34" charset="0"/>
              </a:rPr>
              <a:t>颜色</a:t>
            </a:r>
            <a:r>
              <a:rPr lang="en-US" altLang="zh-CN" sz="1125" dirty="0">
                <a:solidFill>
                  <a:srgbClr val="FFFFFF"/>
                </a:solidFill>
                <a:latin typeface="Arial" pitchFamily="34" charset="0"/>
              </a:rPr>
              <a:t>:</a:t>
            </a:r>
            <a:r>
              <a:rPr lang="zh-CN" altLang="en-US" sz="1125" dirty="0">
                <a:solidFill>
                  <a:srgbClr val="FFFFFF"/>
                </a:solidFill>
                <a:latin typeface="Arial" pitchFamily="34" charset="0"/>
              </a:rPr>
              <a:t>黑色</a:t>
            </a:r>
          </a:p>
          <a:p>
            <a:pPr marL="342923" indent="-342923" algn="r">
              <a:lnSpc>
                <a:spcPct val="125000"/>
              </a:lnSpc>
              <a:spcBef>
                <a:spcPct val="20000"/>
              </a:spcBef>
            </a:pPr>
            <a:r>
              <a:rPr lang="zh-CN" altLang="en-US" sz="1125" dirty="0">
                <a:solidFill>
                  <a:srgbClr val="FFFFFF"/>
                </a:solidFill>
                <a:latin typeface="Arial" pitchFamily="34" charset="0"/>
              </a:rPr>
              <a:t>字体</a:t>
            </a:r>
            <a:r>
              <a:rPr lang="en-US" altLang="zh-CN" sz="1125" dirty="0">
                <a:solidFill>
                  <a:srgbClr val="FFFFFF"/>
                </a:solidFill>
                <a:latin typeface="Arial" pitchFamily="34" charset="0"/>
              </a:rPr>
              <a:t>:</a:t>
            </a:r>
            <a:r>
              <a:rPr lang="zh-CN" altLang="en-US" sz="1125" dirty="0">
                <a:solidFill>
                  <a:srgbClr val="FFFFFF"/>
                </a:solidFill>
                <a:latin typeface="Arial" pitchFamily="34" charset="0"/>
              </a:rPr>
              <a:t>细黑体 </a:t>
            </a:r>
            <a:endParaRPr lang="zh-CN" altLang="en-US" sz="1125" dirty="0">
              <a:solidFill>
                <a:srgbClr val="000000"/>
              </a:solidFill>
              <a:latin typeface="Arial" pitchFamily="34" charset="0"/>
            </a:endParaRPr>
          </a:p>
        </p:txBody>
      </p:sp>
      <p:grpSp>
        <p:nvGrpSpPr>
          <p:cNvPr id="5131" name="Group 85"/>
          <p:cNvGrpSpPr>
            <a:grpSpLocks/>
          </p:cNvGrpSpPr>
          <p:nvPr/>
        </p:nvGrpSpPr>
        <p:grpSpPr bwMode="auto">
          <a:xfrm>
            <a:off x="9326596" y="3512366"/>
            <a:ext cx="919323" cy="3224959"/>
            <a:chOff x="5839" y="2251"/>
            <a:chExt cx="579" cy="2031"/>
          </a:xfrm>
        </p:grpSpPr>
        <p:sp>
          <p:nvSpPr>
            <p:cNvPr id="5134" name="Rectangle 86"/>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5135" name="Group 87"/>
            <p:cNvGrpSpPr>
              <a:grpSpLocks/>
            </p:cNvGrpSpPr>
            <p:nvPr userDrawn="1"/>
          </p:nvGrpSpPr>
          <p:grpSpPr bwMode="auto">
            <a:xfrm>
              <a:off x="5893" y="2387"/>
              <a:ext cx="466" cy="115"/>
              <a:chOff x="5893" y="2387"/>
              <a:chExt cx="466" cy="115"/>
            </a:xfrm>
          </p:grpSpPr>
          <p:sp>
            <p:nvSpPr>
              <p:cNvPr id="5196" name="Rectangle 88"/>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97" name="Rectangle 89"/>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98" name="Rectangle 90"/>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99" name="Rectangle 91"/>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36" name="Group 92"/>
            <p:cNvGrpSpPr>
              <a:grpSpLocks/>
            </p:cNvGrpSpPr>
            <p:nvPr userDrawn="1"/>
          </p:nvGrpSpPr>
          <p:grpSpPr bwMode="auto">
            <a:xfrm>
              <a:off x="5893" y="2523"/>
              <a:ext cx="466" cy="115"/>
              <a:chOff x="5893" y="2523"/>
              <a:chExt cx="466" cy="115"/>
            </a:xfrm>
          </p:grpSpPr>
          <p:sp>
            <p:nvSpPr>
              <p:cNvPr id="5192" name="Rectangle 93"/>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93" name="Rectangle 94"/>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94" name="Rectangle 95"/>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95" name="Rectangle 96"/>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37" name="Group 97"/>
            <p:cNvGrpSpPr>
              <a:grpSpLocks/>
            </p:cNvGrpSpPr>
            <p:nvPr userDrawn="1"/>
          </p:nvGrpSpPr>
          <p:grpSpPr bwMode="auto">
            <a:xfrm>
              <a:off x="5893" y="2659"/>
              <a:ext cx="466" cy="115"/>
              <a:chOff x="5893" y="2659"/>
              <a:chExt cx="466" cy="115"/>
            </a:xfrm>
          </p:grpSpPr>
          <p:sp>
            <p:nvSpPr>
              <p:cNvPr id="5188" name="Rectangle 98"/>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89" name="Rectangle 99"/>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90" name="Rectangle 100"/>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91" name="Rectangle 101"/>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38" name="Group 102"/>
            <p:cNvGrpSpPr>
              <a:grpSpLocks/>
            </p:cNvGrpSpPr>
            <p:nvPr userDrawn="1"/>
          </p:nvGrpSpPr>
          <p:grpSpPr bwMode="auto">
            <a:xfrm>
              <a:off x="5893" y="2251"/>
              <a:ext cx="466" cy="119"/>
              <a:chOff x="5893" y="2251"/>
              <a:chExt cx="466" cy="119"/>
            </a:xfrm>
          </p:grpSpPr>
          <p:sp>
            <p:nvSpPr>
              <p:cNvPr id="5184" name="Rectangle 103"/>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85" name="Rectangle 104"/>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86" name="Rectangle 105"/>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87" name="Rectangle 106"/>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39" name="Group 107"/>
            <p:cNvGrpSpPr>
              <a:grpSpLocks/>
            </p:cNvGrpSpPr>
            <p:nvPr userDrawn="1"/>
          </p:nvGrpSpPr>
          <p:grpSpPr bwMode="auto">
            <a:xfrm>
              <a:off x="5893" y="2886"/>
              <a:ext cx="466" cy="115"/>
              <a:chOff x="5893" y="2886"/>
              <a:chExt cx="466" cy="115"/>
            </a:xfrm>
          </p:grpSpPr>
          <p:sp>
            <p:nvSpPr>
              <p:cNvPr id="5180" name="Rectangle 108"/>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81" name="Rectangle 109"/>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82" name="Rectangle 110"/>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83" name="Rectangle 111"/>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40" name="Group 112"/>
            <p:cNvGrpSpPr>
              <a:grpSpLocks/>
            </p:cNvGrpSpPr>
            <p:nvPr userDrawn="1"/>
          </p:nvGrpSpPr>
          <p:grpSpPr bwMode="auto">
            <a:xfrm>
              <a:off x="5893" y="3022"/>
              <a:ext cx="466" cy="115"/>
              <a:chOff x="5893" y="3022"/>
              <a:chExt cx="466" cy="115"/>
            </a:xfrm>
          </p:grpSpPr>
          <p:sp>
            <p:nvSpPr>
              <p:cNvPr id="5176" name="Rectangle 113"/>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77" name="Rectangle 114"/>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78" name="Rectangle 115"/>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79" name="Rectangle 116"/>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41" name="Group 117"/>
            <p:cNvGrpSpPr>
              <a:grpSpLocks/>
            </p:cNvGrpSpPr>
            <p:nvPr userDrawn="1"/>
          </p:nvGrpSpPr>
          <p:grpSpPr bwMode="auto">
            <a:xfrm>
              <a:off x="5893" y="3158"/>
              <a:ext cx="466" cy="115"/>
              <a:chOff x="5893" y="3158"/>
              <a:chExt cx="466" cy="115"/>
            </a:xfrm>
          </p:grpSpPr>
          <p:sp>
            <p:nvSpPr>
              <p:cNvPr id="5172" name="Rectangle 118"/>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73" name="Rectangle 119"/>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74" name="Rectangle 120"/>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75" name="Rectangle 121"/>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42" name="Group 122"/>
            <p:cNvGrpSpPr>
              <a:grpSpLocks/>
            </p:cNvGrpSpPr>
            <p:nvPr userDrawn="1"/>
          </p:nvGrpSpPr>
          <p:grpSpPr bwMode="auto">
            <a:xfrm>
              <a:off x="5893" y="3385"/>
              <a:ext cx="466" cy="115"/>
              <a:chOff x="5893" y="3385"/>
              <a:chExt cx="466" cy="115"/>
            </a:xfrm>
          </p:grpSpPr>
          <p:sp>
            <p:nvSpPr>
              <p:cNvPr id="5168" name="Rectangle 123"/>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69" name="Rectangle 124"/>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70" name="Rectangle 125"/>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71" name="Rectangle 126"/>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43" name="Group 127"/>
            <p:cNvGrpSpPr>
              <a:grpSpLocks/>
            </p:cNvGrpSpPr>
            <p:nvPr userDrawn="1"/>
          </p:nvGrpSpPr>
          <p:grpSpPr bwMode="auto">
            <a:xfrm>
              <a:off x="5893" y="3521"/>
              <a:ext cx="466" cy="115"/>
              <a:chOff x="5893" y="3521"/>
              <a:chExt cx="466" cy="115"/>
            </a:xfrm>
          </p:grpSpPr>
          <p:sp>
            <p:nvSpPr>
              <p:cNvPr id="5164" name="Rectangle 128"/>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65" name="Rectangle 129"/>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66" name="Rectangle 130"/>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67" name="Rectangle 131"/>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44" name="Group 132"/>
            <p:cNvGrpSpPr>
              <a:grpSpLocks/>
            </p:cNvGrpSpPr>
            <p:nvPr userDrawn="1"/>
          </p:nvGrpSpPr>
          <p:grpSpPr bwMode="auto">
            <a:xfrm>
              <a:off x="5893" y="3657"/>
              <a:ext cx="466" cy="115"/>
              <a:chOff x="5893" y="3657"/>
              <a:chExt cx="466" cy="115"/>
            </a:xfrm>
          </p:grpSpPr>
          <p:sp>
            <p:nvSpPr>
              <p:cNvPr id="5160" name="Rectangle 133"/>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61" name="Rectangle 134"/>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62" name="Rectangle 135"/>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63" name="Rectangle 136"/>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45" name="Group 137"/>
            <p:cNvGrpSpPr>
              <a:grpSpLocks/>
            </p:cNvGrpSpPr>
            <p:nvPr userDrawn="1"/>
          </p:nvGrpSpPr>
          <p:grpSpPr bwMode="auto">
            <a:xfrm>
              <a:off x="5893" y="3884"/>
              <a:ext cx="466" cy="115"/>
              <a:chOff x="5893" y="3884"/>
              <a:chExt cx="466" cy="115"/>
            </a:xfrm>
          </p:grpSpPr>
          <p:sp>
            <p:nvSpPr>
              <p:cNvPr id="5156" name="Rectangle 138"/>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57" name="Rectangle 139"/>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58" name="Rectangle 140"/>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59" name="Rectangle 141"/>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46" name="Group 142"/>
            <p:cNvGrpSpPr>
              <a:grpSpLocks/>
            </p:cNvGrpSpPr>
            <p:nvPr userDrawn="1"/>
          </p:nvGrpSpPr>
          <p:grpSpPr bwMode="auto">
            <a:xfrm>
              <a:off x="5893" y="4026"/>
              <a:ext cx="466" cy="115"/>
              <a:chOff x="5893" y="4026"/>
              <a:chExt cx="466" cy="115"/>
            </a:xfrm>
          </p:grpSpPr>
          <p:sp>
            <p:nvSpPr>
              <p:cNvPr id="5152" name="Rectangle 143"/>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53" name="Rectangle 144"/>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54" name="Rectangle 145"/>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55" name="Rectangle 146"/>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5147" name="Group 147"/>
            <p:cNvGrpSpPr>
              <a:grpSpLocks/>
            </p:cNvGrpSpPr>
            <p:nvPr userDrawn="1"/>
          </p:nvGrpSpPr>
          <p:grpSpPr bwMode="auto">
            <a:xfrm>
              <a:off x="5893" y="4167"/>
              <a:ext cx="466" cy="115"/>
              <a:chOff x="5893" y="4167"/>
              <a:chExt cx="466" cy="115"/>
            </a:xfrm>
          </p:grpSpPr>
          <p:sp>
            <p:nvSpPr>
              <p:cNvPr id="5148" name="Rectangle 148"/>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49" name="Rectangle 149"/>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50" name="Rectangle 150"/>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5151" name="Rectangle 151"/>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5132" name="Rectangle 152"/>
          <p:cNvSpPr>
            <a:spLocks noChangeArrowheads="1"/>
          </p:cNvSpPr>
          <p:nvPr/>
        </p:nvSpPr>
        <p:spPr bwMode="auto">
          <a:xfrm>
            <a:off x="9253560" y="1341750"/>
            <a:ext cx="1192420" cy="1569788"/>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latin typeface="Arial" pitchFamily="34" charset="0"/>
              </a:rPr>
              <a:t>配色参考方案：</a:t>
            </a:r>
          </a:p>
          <a:p>
            <a:pPr>
              <a:lnSpc>
                <a:spcPct val="120000"/>
              </a:lnSpc>
              <a:spcBef>
                <a:spcPct val="20000"/>
              </a:spcBef>
            </a:pPr>
            <a:r>
              <a:rPr lang="zh-CN" altLang="en-US" sz="1125" dirty="0">
                <a:solidFill>
                  <a:srgbClr val="FFFFFF"/>
                </a:solidFill>
                <a:latin typeface="Arial" pitchFamily="34" charset="0"/>
              </a:rPr>
              <a:t>建议同一页面内不超过四种颜色，以下是</a:t>
            </a:r>
            <a:r>
              <a:rPr lang="en-US" altLang="zh-CN" sz="1125" dirty="0">
                <a:solidFill>
                  <a:srgbClr val="FFFFFF"/>
                </a:solidFill>
                <a:latin typeface="Arial" pitchFamily="34" charset="0"/>
              </a:rPr>
              <a:t>13</a:t>
            </a:r>
            <a:r>
              <a:rPr lang="zh-CN" altLang="en-US" sz="1125" dirty="0">
                <a:solidFill>
                  <a:srgbClr val="FFFFFF"/>
                </a:solidFill>
                <a:latin typeface="Arial" pitchFamily="34" charset="0"/>
              </a:rPr>
              <a:t>组配色方案，同一页面内只选择一组使用。（仅供参考）</a:t>
            </a:r>
          </a:p>
        </p:txBody>
      </p:sp>
      <p:sp>
        <p:nvSpPr>
          <p:cNvPr id="5133" name="Rectangle 153"/>
          <p:cNvSpPr>
            <a:spLocks noChangeArrowheads="1"/>
          </p:cNvSpPr>
          <p:nvPr/>
        </p:nvSpPr>
        <p:spPr bwMode="auto">
          <a:xfrm>
            <a:off x="9253558" y="7942"/>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latin typeface="Arial" pitchFamily="34" charset="0"/>
              </a:rPr>
              <a:t>客户或者合作伙伴的标志放在右上角</a:t>
            </a:r>
            <a:r>
              <a:rPr lang="en-US" altLang="zh-CN" sz="1125" dirty="0">
                <a:solidFill>
                  <a:srgbClr val="FFFFFF"/>
                </a:solidFill>
                <a:latin typeface="Arial" pitchFamily="34" charset="0"/>
              </a:rPr>
              <a:t>.</a:t>
            </a:r>
            <a:endParaRPr lang="zh-CN" altLang="en-US" sz="1125" dirty="0">
              <a:solidFill>
                <a:srgbClr val="FFFFFF"/>
              </a:solidFill>
              <a:latin typeface="Arial" pitchFamily="34" charset="0"/>
            </a:endParaRPr>
          </a:p>
        </p:txBody>
      </p:sp>
      <p:pic>
        <p:nvPicPr>
          <p:cNvPr id="5200" name="Picture 80" descr="200016582-001副本"/>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1268707"/>
            <a:ext cx="9145588" cy="2951846"/>
          </a:xfrm>
          <a:prstGeom prst="rect">
            <a:avLst/>
          </a:prstGeom>
          <a:noFill/>
          <a:extLst>
            <a:ext uri="{909E8E84-426E-40DD-AFC4-6F175D3DCCD1}">
              <a14:hiddenFill xmlns:a14="http://schemas.microsoft.com/office/drawing/2010/main">
                <a:solidFill>
                  <a:srgbClr val="FFFFFF"/>
                </a:solidFill>
              </a14:hiddenFill>
            </a:ext>
          </a:extLst>
        </p:spPr>
      </p:pic>
      <p:pic>
        <p:nvPicPr>
          <p:cNvPr id="5201" name="Picture 81" descr="未标题-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84357" y="1268708"/>
            <a:ext cx="3061231" cy="2950258"/>
          </a:xfrm>
          <a:prstGeom prst="rect">
            <a:avLst/>
          </a:prstGeom>
          <a:noFill/>
          <a:extLst>
            <a:ext uri="{909E8E84-426E-40DD-AFC4-6F175D3DCCD1}">
              <a14:hiddenFill xmlns:a14="http://schemas.microsoft.com/office/drawing/2010/main">
                <a:solidFill>
                  <a:srgbClr val="FFFFFF"/>
                </a:solidFill>
              </a14:hiddenFill>
            </a:ext>
          </a:extLst>
        </p:spPr>
      </p:pic>
      <p:sp>
        <p:nvSpPr>
          <p:cNvPr id="82" name="Text Box 7"/>
          <p:cNvSpPr txBox="1">
            <a:spLocks noChangeArrowheads="1"/>
          </p:cNvSpPr>
          <p:nvPr/>
        </p:nvSpPr>
        <p:spPr bwMode="auto">
          <a:xfrm>
            <a:off x="7230732" y="3796594"/>
            <a:ext cx="1152900" cy="2423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50" tIns="45725" rIns="91450" bIns="45725">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975" dirty="0" smtClean="0">
                <a:solidFill>
                  <a:srgbClr val="FFFFFF"/>
                </a:solidFill>
                <a:latin typeface="FrutigerNext LT Bold" pitchFamily="34" charset="0"/>
                <a:ea typeface="MS PGothic" pitchFamily="34" charset="-128"/>
              </a:rPr>
              <a:t>www.huawei.com</a:t>
            </a:r>
          </a:p>
        </p:txBody>
      </p:sp>
    </p:spTree>
  </p:cSld>
  <p:clrMap bg1="lt1" tx1="dk1" bg2="lt2" tx2="dk2" accent1="accent1" accent2="accent2" accent3="accent3" accent4="accent4" accent5="accent5" accent6="accent6" hlink="hlink" folHlink="folHlink"/>
  <p:sldLayoutIdLst>
    <p:sldLayoutId id="2147483817"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25" b="1">
          <a:solidFill>
            <a:schemeClr val="tx1"/>
          </a:solidFill>
          <a:latin typeface="+mn-lt"/>
          <a:ea typeface="黑体" pitchFamily="49" charset="-122"/>
          <a:cs typeface="+mj-cs"/>
        </a:defRPr>
      </a:lvl1pPr>
      <a:lvl2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99" indent="-285769" algn="l" rtl="0" eaLnBrk="0" fontAlgn="base" hangingPunct="0">
        <a:spcBef>
          <a:spcPct val="20000"/>
        </a:spcBef>
        <a:spcAft>
          <a:spcPct val="0"/>
        </a:spcAft>
        <a:buFont typeface="Arial" pitchFamily="34" charset="0"/>
        <a:buChar char="›"/>
        <a:defRPr sz="2025">
          <a:solidFill>
            <a:schemeClr val="tx1"/>
          </a:solidFill>
          <a:latin typeface="+mn-lt"/>
          <a:ea typeface="+mn-ea"/>
          <a:cs typeface="+mn-cs"/>
        </a:defRPr>
      </a:lvl2pPr>
      <a:lvl3pPr marL="1143076" indent="-228615"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307" indent="-228615" algn="l" rtl="0" eaLnBrk="0" fontAlgn="base" hangingPunct="0">
        <a:spcBef>
          <a:spcPct val="20000"/>
        </a:spcBef>
        <a:spcAft>
          <a:spcPct val="0"/>
        </a:spcAft>
        <a:buChar char="–"/>
        <a:defRPr sz="1575">
          <a:solidFill>
            <a:schemeClr val="tx1"/>
          </a:solidFill>
          <a:latin typeface="+mn-lt"/>
          <a:ea typeface="+mn-ea"/>
          <a:cs typeface="+mn-cs"/>
        </a:defRPr>
      </a:lvl4pPr>
      <a:lvl5pPr marL="2057537" indent="-228615" algn="l" rtl="0" eaLnBrk="0" fontAlgn="base" hangingPunct="0">
        <a:spcBef>
          <a:spcPct val="20000"/>
        </a:spcBef>
        <a:spcAft>
          <a:spcPct val="0"/>
        </a:spcAft>
        <a:buFont typeface="Arial" pitchFamily="34" charset="0"/>
        <a:buChar char="~"/>
        <a:defRPr sz="1575">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9" name="Rectangle 8"/>
          <p:cNvSpPr>
            <a:spLocks noGrp="1" noChangeArrowheads="1"/>
          </p:cNvSpPr>
          <p:nvPr>
            <p:ph type="title"/>
          </p:nvPr>
        </p:nvSpPr>
        <p:spPr bwMode="auto">
          <a:xfrm>
            <a:off x="755784" y="4509546"/>
            <a:ext cx="5549276" cy="61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0972" rIns="121944" bIns="60972" numCol="1" anchor="t" anchorCtr="0" compatLnSpc="1">
            <a:prstTxWarp prst="textNoShape">
              <a:avLst/>
            </a:prstTxWarp>
            <a:spAutoFit/>
          </a:bodyPr>
          <a:lstStyle/>
          <a:p>
            <a:pPr lvl="0"/>
            <a:r>
              <a:rPr lang="zh-CN" altLang="en-US" dirty="0" smtClean="0"/>
              <a:t>单击此处编辑母版标题样式</a:t>
            </a:r>
          </a:p>
        </p:txBody>
      </p:sp>
      <p:sp>
        <p:nvSpPr>
          <p:cNvPr id="82" name="Text Box 5"/>
          <p:cNvSpPr txBox="1">
            <a:spLocks noChangeArrowheads="1"/>
          </p:cNvSpPr>
          <p:nvPr/>
        </p:nvSpPr>
        <p:spPr bwMode="auto">
          <a:xfrm>
            <a:off x="755782" y="6221267"/>
            <a:ext cx="3178509" cy="219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91450" bIns="0">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eaLnBrk="0" hangingPunct="0">
              <a:defRPr/>
            </a:pPr>
            <a:r>
              <a:rPr lang="en-US" altLang="zh-CN" sz="1425" dirty="0" smtClean="0">
                <a:latin typeface="FrutigerNext LT Bold" pitchFamily="34" charset="0"/>
                <a:ea typeface="MS PGothic" pitchFamily="34" charset="-128"/>
              </a:rPr>
              <a:t>HUAWEI TECHNOLOGIES CO., LTD.</a:t>
            </a:r>
          </a:p>
        </p:txBody>
      </p:sp>
      <p:pic>
        <p:nvPicPr>
          <p:cNvPr id="6151" name="Picture 6" descr="Log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670548" y="5686155"/>
            <a:ext cx="706559" cy="70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2" name="Rectangle 13"/>
          <p:cNvSpPr>
            <a:spLocks noChangeArrowheads="1"/>
          </p:cNvSpPr>
          <p:nvPr/>
        </p:nvSpPr>
        <p:spPr bwMode="auto">
          <a:xfrm>
            <a:off x="7237085" y="476362"/>
            <a:ext cx="1465518"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4277" eaLnBrk="0" hangingPunct="0"/>
            <a:r>
              <a:rPr lang="en-US" altLang="zh-CN" sz="1425" b="1" dirty="0">
                <a:solidFill>
                  <a:srgbClr val="666666"/>
                </a:solidFill>
                <a:latin typeface="FrutigerNext LT Bold" pitchFamily="34" charset="0"/>
                <a:ea typeface="MS PGothic" pitchFamily="34" charset="-128"/>
              </a:rPr>
              <a:t>Security Level: </a:t>
            </a:r>
          </a:p>
        </p:txBody>
      </p:sp>
      <p:sp>
        <p:nvSpPr>
          <p:cNvPr id="85" name="Rectangle 19"/>
          <p:cNvSpPr>
            <a:spLocks noGrp="1" noChangeArrowheads="1"/>
          </p:cNvSpPr>
          <p:nvPr>
            <p:ph type="dt" sz="quarter" idx="2"/>
          </p:nvPr>
        </p:nvSpPr>
        <p:spPr bwMode="auto">
          <a:xfrm>
            <a:off x="755782" y="476361"/>
            <a:ext cx="2133971" cy="21929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25">
                <a:latin typeface="Arial" charset="0"/>
                <a:ea typeface="黑体" pitchFamily="49" charset="-122"/>
              </a:defRPr>
            </a:lvl1pPr>
          </a:lstStyle>
          <a:p>
            <a:pPr>
              <a:defRPr/>
            </a:pPr>
            <a:endParaRPr lang="en-US" altLang="zh-CN"/>
          </a:p>
        </p:txBody>
      </p:sp>
      <p:sp>
        <p:nvSpPr>
          <p:cNvPr id="6154" name="Rectangle 14"/>
          <p:cNvSpPr>
            <a:spLocks noChangeArrowheads="1"/>
          </p:cNvSpPr>
          <p:nvPr/>
        </p:nvSpPr>
        <p:spPr bwMode="auto">
          <a:xfrm>
            <a:off x="-1952963" y="692312"/>
            <a:ext cx="1844995" cy="567384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标题</a:t>
            </a:r>
            <a:r>
              <a:rPr lang="en-US" altLang="zh-CN" sz="1125" dirty="0">
                <a:solidFill>
                  <a:srgbClr val="FFFFFF"/>
                </a:solidFill>
              </a:rPr>
              <a:t>:32-35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Medium</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标题</a:t>
            </a:r>
            <a:r>
              <a:rPr lang="en-US" altLang="zh-CN" sz="1125" dirty="0">
                <a:solidFill>
                  <a:srgbClr val="FFFFFF"/>
                </a:solidFill>
              </a:rPr>
              <a:t>:30-32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黑体</a:t>
            </a: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正文</a:t>
            </a:r>
            <a:r>
              <a:rPr lang="en-US" altLang="zh-CN" sz="1125" dirty="0">
                <a:solidFill>
                  <a:srgbClr val="FFFFFF"/>
                </a:solidFill>
              </a:rPr>
              <a:t>:20-22pt</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 </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 :18pt  </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Regular</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正文</a:t>
            </a:r>
            <a:r>
              <a:rPr lang="en-US" altLang="zh-CN" sz="1125" dirty="0">
                <a:solidFill>
                  <a:srgbClr val="FFFFFF"/>
                </a:solidFill>
              </a:rPr>
              <a:t>:18-20pt</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18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细黑体 </a:t>
            </a:r>
            <a:endParaRPr lang="zh-CN" altLang="en-US" sz="1125" dirty="0">
              <a:solidFill>
                <a:srgbClr val="000000"/>
              </a:solidFill>
            </a:endParaRPr>
          </a:p>
        </p:txBody>
      </p:sp>
      <p:grpSp>
        <p:nvGrpSpPr>
          <p:cNvPr id="6155" name="Group 149"/>
          <p:cNvGrpSpPr>
            <a:grpSpLocks/>
          </p:cNvGrpSpPr>
          <p:nvPr/>
        </p:nvGrpSpPr>
        <p:grpSpPr bwMode="auto">
          <a:xfrm>
            <a:off x="9326596" y="3512366"/>
            <a:ext cx="919323" cy="3224959"/>
            <a:chOff x="5839" y="2251"/>
            <a:chExt cx="579" cy="2031"/>
          </a:xfrm>
        </p:grpSpPr>
        <p:sp>
          <p:nvSpPr>
            <p:cNvPr id="6158" name="Rectangle 150"/>
            <p:cNvSpPr>
              <a:spLocks noChangeArrowheads="1"/>
            </p:cNvSpPr>
            <p:nvPr userDrawn="1"/>
          </p:nvSpPr>
          <p:spPr bwMode="auto">
            <a:xfrm>
              <a:off x="5839" y="3143"/>
              <a:ext cx="579" cy="233"/>
            </a:xfrm>
            <a:prstGeom prst="rect">
              <a:avLst/>
            </a:prstGeom>
            <a:solidFill>
              <a:srgbClr val="FFFFFF"/>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6159" name="Group 151"/>
            <p:cNvGrpSpPr>
              <a:grpSpLocks/>
            </p:cNvGrpSpPr>
            <p:nvPr userDrawn="1"/>
          </p:nvGrpSpPr>
          <p:grpSpPr bwMode="auto">
            <a:xfrm>
              <a:off x="5893" y="2387"/>
              <a:ext cx="466" cy="115"/>
              <a:chOff x="5893" y="2387"/>
              <a:chExt cx="466" cy="115"/>
            </a:xfrm>
          </p:grpSpPr>
          <p:sp>
            <p:nvSpPr>
              <p:cNvPr id="6220" name="Rectangle 152"/>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21" name="Rectangle 153"/>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22" name="Rectangle 154"/>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23" name="Rectangle 155"/>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0" name="Group 156"/>
            <p:cNvGrpSpPr>
              <a:grpSpLocks/>
            </p:cNvGrpSpPr>
            <p:nvPr userDrawn="1"/>
          </p:nvGrpSpPr>
          <p:grpSpPr bwMode="auto">
            <a:xfrm>
              <a:off x="5893" y="2523"/>
              <a:ext cx="466" cy="115"/>
              <a:chOff x="5893" y="2523"/>
              <a:chExt cx="466" cy="115"/>
            </a:xfrm>
          </p:grpSpPr>
          <p:sp>
            <p:nvSpPr>
              <p:cNvPr id="6216" name="Rectangle 157"/>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17" name="Rectangle 158"/>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18" name="Rectangle 159"/>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19" name="Rectangle 160"/>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1" name="Group 161"/>
            <p:cNvGrpSpPr>
              <a:grpSpLocks/>
            </p:cNvGrpSpPr>
            <p:nvPr userDrawn="1"/>
          </p:nvGrpSpPr>
          <p:grpSpPr bwMode="auto">
            <a:xfrm>
              <a:off x="5893" y="2659"/>
              <a:ext cx="466" cy="115"/>
              <a:chOff x="5893" y="2659"/>
              <a:chExt cx="466" cy="115"/>
            </a:xfrm>
          </p:grpSpPr>
          <p:sp>
            <p:nvSpPr>
              <p:cNvPr id="6212" name="Rectangle 162"/>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13" name="Rectangle 163"/>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14" name="Rectangle 164"/>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15" name="Rectangle 165"/>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2" name="Group 166"/>
            <p:cNvGrpSpPr>
              <a:grpSpLocks/>
            </p:cNvGrpSpPr>
            <p:nvPr userDrawn="1"/>
          </p:nvGrpSpPr>
          <p:grpSpPr bwMode="auto">
            <a:xfrm>
              <a:off x="5893" y="2251"/>
              <a:ext cx="466" cy="119"/>
              <a:chOff x="5893" y="2251"/>
              <a:chExt cx="466" cy="119"/>
            </a:xfrm>
          </p:grpSpPr>
          <p:sp>
            <p:nvSpPr>
              <p:cNvPr id="6208" name="Rectangle 167"/>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09" name="Rectangle 168"/>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10" name="Rectangle 169"/>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11" name="Rectangle 170"/>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3" name="Group 171"/>
            <p:cNvGrpSpPr>
              <a:grpSpLocks/>
            </p:cNvGrpSpPr>
            <p:nvPr userDrawn="1"/>
          </p:nvGrpSpPr>
          <p:grpSpPr bwMode="auto">
            <a:xfrm>
              <a:off x="5893" y="2886"/>
              <a:ext cx="466" cy="115"/>
              <a:chOff x="5893" y="2886"/>
              <a:chExt cx="466" cy="115"/>
            </a:xfrm>
          </p:grpSpPr>
          <p:sp>
            <p:nvSpPr>
              <p:cNvPr id="6204" name="Rectangle 172"/>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05" name="Rectangle 173"/>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06" name="Rectangle 174"/>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07" name="Rectangle 175"/>
              <p:cNvSpPr>
                <a:spLocks noChangeArrowheads="1"/>
              </p:cNvSpPr>
              <p:nvPr userDrawn="1"/>
            </p:nvSpPr>
            <p:spPr bwMode="auto">
              <a:xfrm flipV="1">
                <a:off x="5893" y="2886"/>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4" name="Group 176"/>
            <p:cNvGrpSpPr>
              <a:grpSpLocks/>
            </p:cNvGrpSpPr>
            <p:nvPr userDrawn="1"/>
          </p:nvGrpSpPr>
          <p:grpSpPr bwMode="auto">
            <a:xfrm>
              <a:off x="5893" y="3022"/>
              <a:ext cx="466" cy="115"/>
              <a:chOff x="5893" y="3022"/>
              <a:chExt cx="466" cy="115"/>
            </a:xfrm>
          </p:grpSpPr>
          <p:sp>
            <p:nvSpPr>
              <p:cNvPr id="6200" name="Rectangle 177"/>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01" name="Rectangle 178"/>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02" name="Rectangle 179"/>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203" name="Rectangle 180"/>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5" name="Group 181"/>
            <p:cNvGrpSpPr>
              <a:grpSpLocks/>
            </p:cNvGrpSpPr>
            <p:nvPr userDrawn="1"/>
          </p:nvGrpSpPr>
          <p:grpSpPr bwMode="auto">
            <a:xfrm>
              <a:off x="5893" y="3158"/>
              <a:ext cx="466" cy="115"/>
              <a:chOff x="5893" y="3158"/>
              <a:chExt cx="466" cy="115"/>
            </a:xfrm>
          </p:grpSpPr>
          <p:sp>
            <p:nvSpPr>
              <p:cNvPr id="6196" name="Rectangle 182"/>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97" name="Rectangle 183"/>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98" name="Rectangle 184"/>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99" name="Rectangle 185"/>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6" name="Group 186"/>
            <p:cNvGrpSpPr>
              <a:grpSpLocks/>
            </p:cNvGrpSpPr>
            <p:nvPr userDrawn="1"/>
          </p:nvGrpSpPr>
          <p:grpSpPr bwMode="auto">
            <a:xfrm>
              <a:off x="5893" y="3385"/>
              <a:ext cx="466" cy="115"/>
              <a:chOff x="5893" y="3385"/>
              <a:chExt cx="466" cy="115"/>
            </a:xfrm>
          </p:grpSpPr>
          <p:sp>
            <p:nvSpPr>
              <p:cNvPr id="6192" name="Rectangle 187"/>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93" name="Rectangle 188"/>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94" name="Rectangle 189"/>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95" name="Rectangle 190"/>
              <p:cNvSpPr>
                <a:spLocks noChangeArrowheads="1"/>
              </p:cNvSpPr>
              <p:nvPr userDrawn="1"/>
            </p:nvSpPr>
            <p:spPr bwMode="auto">
              <a:xfrm flipV="1">
                <a:off x="5893" y="3385"/>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7" name="Group 191"/>
            <p:cNvGrpSpPr>
              <a:grpSpLocks/>
            </p:cNvGrpSpPr>
            <p:nvPr userDrawn="1"/>
          </p:nvGrpSpPr>
          <p:grpSpPr bwMode="auto">
            <a:xfrm>
              <a:off x="5893" y="3521"/>
              <a:ext cx="466" cy="115"/>
              <a:chOff x="5893" y="3521"/>
              <a:chExt cx="466" cy="115"/>
            </a:xfrm>
          </p:grpSpPr>
          <p:sp>
            <p:nvSpPr>
              <p:cNvPr id="6188" name="Rectangle 192"/>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89" name="Rectangle 193"/>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90" name="Rectangle 194"/>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91" name="Rectangle 195"/>
              <p:cNvSpPr>
                <a:spLocks noChangeArrowheads="1"/>
              </p:cNvSpPr>
              <p:nvPr userDrawn="1"/>
            </p:nvSpPr>
            <p:spPr bwMode="auto">
              <a:xfrm flipV="1">
                <a:off x="5893" y="3521"/>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8" name="Group 196"/>
            <p:cNvGrpSpPr>
              <a:grpSpLocks/>
            </p:cNvGrpSpPr>
            <p:nvPr userDrawn="1"/>
          </p:nvGrpSpPr>
          <p:grpSpPr bwMode="auto">
            <a:xfrm>
              <a:off x="5893" y="3657"/>
              <a:ext cx="466" cy="115"/>
              <a:chOff x="5893" y="3657"/>
              <a:chExt cx="466" cy="115"/>
            </a:xfrm>
          </p:grpSpPr>
          <p:sp>
            <p:nvSpPr>
              <p:cNvPr id="6184" name="Rectangle 197"/>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85" name="Rectangle 198"/>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86" name="Rectangle 199"/>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87" name="Rectangle 200"/>
              <p:cNvSpPr>
                <a:spLocks noChangeArrowheads="1"/>
              </p:cNvSpPr>
              <p:nvPr userDrawn="1"/>
            </p:nvSpPr>
            <p:spPr bwMode="auto">
              <a:xfrm flipV="1">
                <a:off x="5893" y="3657"/>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69" name="Group 201"/>
            <p:cNvGrpSpPr>
              <a:grpSpLocks/>
            </p:cNvGrpSpPr>
            <p:nvPr userDrawn="1"/>
          </p:nvGrpSpPr>
          <p:grpSpPr bwMode="auto">
            <a:xfrm>
              <a:off x="5893" y="3884"/>
              <a:ext cx="466" cy="115"/>
              <a:chOff x="5893" y="3884"/>
              <a:chExt cx="466" cy="115"/>
            </a:xfrm>
          </p:grpSpPr>
          <p:sp>
            <p:nvSpPr>
              <p:cNvPr id="6180" name="Rectangle 202"/>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81" name="Rectangle 203"/>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82" name="Rectangle 204"/>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83" name="Rectangle 205"/>
              <p:cNvSpPr>
                <a:spLocks noChangeArrowheads="1"/>
              </p:cNvSpPr>
              <p:nvPr userDrawn="1"/>
            </p:nvSpPr>
            <p:spPr bwMode="auto">
              <a:xfrm flipV="1">
                <a:off x="5893" y="3884"/>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70" name="Group 206"/>
            <p:cNvGrpSpPr>
              <a:grpSpLocks/>
            </p:cNvGrpSpPr>
            <p:nvPr userDrawn="1"/>
          </p:nvGrpSpPr>
          <p:grpSpPr bwMode="auto">
            <a:xfrm>
              <a:off x="5893" y="4026"/>
              <a:ext cx="466" cy="115"/>
              <a:chOff x="5893" y="4026"/>
              <a:chExt cx="466" cy="115"/>
            </a:xfrm>
          </p:grpSpPr>
          <p:sp>
            <p:nvSpPr>
              <p:cNvPr id="6176" name="Rectangle 207"/>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77" name="Rectangle 208"/>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78" name="Rectangle 209"/>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79" name="Rectangle 210"/>
              <p:cNvSpPr>
                <a:spLocks noChangeArrowheads="1"/>
              </p:cNvSpPr>
              <p:nvPr userDrawn="1"/>
            </p:nvSpPr>
            <p:spPr bwMode="auto">
              <a:xfrm flipV="1">
                <a:off x="5893" y="4026"/>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6171" name="Group 211"/>
            <p:cNvGrpSpPr>
              <a:grpSpLocks/>
            </p:cNvGrpSpPr>
            <p:nvPr userDrawn="1"/>
          </p:nvGrpSpPr>
          <p:grpSpPr bwMode="auto">
            <a:xfrm>
              <a:off x="5893" y="4167"/>
              <a:ext cx="466" cy="115"/>
              <a:chOff x="5893" y="4167"/>
              <a:chExt cx="466" cy="115"/>
            </a:xfrm>
          </p:grpSpPr>
          <p:sp>
            <p:nvSpPr>
              <p:cNvPr id="6172" name="Rectangle 212"/>
              <p:cNvSpPr>
                <a:spLocks noChangeArrowheads="1"/>
              </p:cNvSpPr>
              <p:nvPr userDrawn="1"/>
            </p:nvSpPr>
            <p:spPr bwMode="auto">
              <a:xfrm flipV="1">
                <a:off x="6010" y="4167"/>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73" name="Rectangle 213"/>
              <p:cNvSpPr>
                <a:spLocks noChangeArrowheads="1"/>
              </p:cNvSpPr>
              <p:nvPr userDrawn="1"/>
            </p:nvSpPr>
            <p:spPr bwMode="auto">
              <a:xfrm flipV="1">
                <a:off x="6126" y="4167"/>
                <a:ext cx="116" cy="115"/>
              </a:xfrm>
              <a:prstGeom prst="rect">
                <a:avLst/>
              </a:prstGeom>
              <a:solidFill>
                <a:srgbClr val="3333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74" name="Rectangle 214"/>
              <p:cNvSpPr>
                <a:spLocks noChangeArrowheads="1"/>
              </p:cNvSpPr>
              <p:nvPr userDrawn="1"/>
            </p:nvSpPr>
            <p:spPr bwMode="auto">
              <a:xfrm flipV="1">
                <a:off x="6242" y="4167"/>
                <a:ext cx="117" cy="115"/>
              </a:xfrm>
              <a:prstGeom prst="rect">
                <a:avLst/>
              </a:prstGeom>
              <a:solidFill>
                <a:srgbClr val="BBE0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6175" name="Rectangle 215"/>
              <p:cNvSpPr>
                <a:spLocks noChangeArrowheads="1"/>
              </p:cNvSpPr>
              <p:nvPr userDrawn="1"/>
            </p:nvSpPr>
            <p:spPr bwMode="auto">
              <a:xfrm flipV="1">
                <a:off x="5893" y="4167"/>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6156" name="Rectangle 216"/>
          <p:cNvSpPr>
            <a:spLocks noChangeArrowheads="1"/>
          </p:cNvSpPr>
          <p:nvPr/>
        </p:nvSpPr>
        <p:spPr bwMode="auto">
          <a:xfrm>
            <a:off x="9253560" y="1341749"/>
            <a:ext cx="1192420" cy="177753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buFont typeface="Arial" pitchFamily="34" charset="0"/>
              <a:buNone/>
            </a:pPr>
            <a:r>
              <a:rPr lang="zh-CN" altLang="en-US" sz="1125" dirty="0">
                <a:solidFill>
                  <a:srgbClr val="FFFFFF"/>
                </a:solidFill>
              </a:rPr>
              <a:t>配色参考方案：</a:t>
            </a:r>
          </a:p>
          <a:p>
            <a:pPr eaLnBrk="0" hangingPunct="0">
              <a:lnSpc>
                <a:spcPct val="120000"/>
              </a:lnSpc>
              <a:spcBef>
                <a:spcPct val="20000"/>
              </a:spcBef>
              <a:buFont typeface="Arial" pitchFamily="34" charset="0"/>
              <a:buNone/>
            </a:pPr>
            <a:r>
              <a:rPr lang="zh-CN" altLang="en-US" sz="1125" dirty="0">
                <a:solidFill>
                  <a:srgbClr val="FFFFFF"/>
                </a:solidFill>
              </a:rPr>
              <a:t>建议同一页面内不超过四种颜色，以下是</a:t>
            </a:r>
            <a:r>
              <a:rPr lang="en-US" altLang="zh-CN" sz="1125" dirty="0">
                <a:solidFill>
                  <a:srgbClr val="FFFFFF"/>
                </a:solidFill>
              </a:rPr>
              <a:t>13</a:t>
            </a:r>
            <a:r>
              <a:rPr lang="zh-CN" altLang="en-US" sz="1125" dirty="0">
                <a:solidFill>
                  <a:srgbClr val="FFFFFF"/>
                </a:solidFill>
              </a:rPr>
              <a:t>组配色方案，同一页面内只选择一组使用。（仅供参考）</a:t>
            </a:r>
          </a:p>
        </p:txBody>
      </p:sp>
      <p:sp>
        <p:nvSpPr>
          <p:cNvPr id="6157" name="Rectangle 217"/>
          <p:cNvSpPr>
            <a:spLocks noChangeArrowheads="1"/>
          </p:cNvSpPr>
          <p:nvPr/>
        </p:nvSpPr>
        <p:spPr bwMode="auto">
          <a:xfrm>
            <a:off x="9253558" y="7942"/>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buFont typeface="Arial" pitchFamily="34" charset="0"/>
              <a:buNone/>
            </a:pPr>
            <a:r>
              <a:rPr lang="zh-CN" altLang="en-US" sz="1125" dirty="0">
                <a:solidFill>
                  <a:srgbClr val="FFFFFF"/>
                </a:solidFill>
              </a:rPr>
              <a:t>客户或者合作伙伴的标志放在右上角</a:t>
            </a:r>
            <a:r>
              <a:rPr lang="en-US" altLang="zh-CN" sz="1125" dirty="0">
                <a:solidFill>
                  <a:srgbClr val="FFFFFF"/>
                </a:solidFill>
              </a:rPr>
              <a:t>.</a:t>
            </a:r>
            <a:endParaRPr lang="zh-CN" altLang="en-US" sz="1125" dirty="0">
              <a:solidFill>
                <a:srgbClr val="FFFFFF"/>
              </a:solidFill>
            </a:endParaRPr>
          </a:p>
        </p:txBody>
      </p:sp>
      <p:pic>
        <p:nvPicPr>
          <p:cNvPr id="6224" name="Picture 80" descr="bra200912090008_M副本"/>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1268707"/>
            <a:ext cx="9145588" cy="2951846"/>
          </a:xfrm>
          <a:prstGeom prst="rect">
            <a:avLst/>
          </a:prstGeom>
          <a:noFill/>
          <a:extLst>
            <a:ext uri="{909E8E84-426E-40DD-AFC4-6F175D3DCCD1}">
              <a14:hiddenFill xmlns:a14="http://schemas.microsoft.com/office/drawing/2010/main">
                <a:solidFill>
                  <a:srgbClr val="FFFFFF"/>
                </a:solidFill>
              </a14:hiddenFill>
            </a:ext>
          </a:extLst>
        </p:spPr>
      </p:pic>
      <p:pic>
        <p:nvPicPr>
          <p:cNvPr id="6225" name="Picture 81" descr="未标题-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84357" y="1268708"/>
            <a:ext cx="3061231" cy="2950258"/>
          </a:xfrm>
          <a:prstGeom prst="rect">
            <a:avLst/>
          </a:prstGeom>
          <a:noFill/>
          <a:extLst>
            <a:ext uri="{909E8E84-426E-40DD-AFC4-6F175D3DCCD1}">
              <a14:hiddenFill xmlns:a14="http://schemas.microsoft.com/office/drawing/2010/main">
                <a:solidFill>
                  <a:srgbClr val="FFFFFF"/>
                </a:solidFill>
              </a14:hiddenFill>
            </a:ext>
          </a:extLst>
        </p:spPr>
      </p:pic>
      <p:sp>
        <p:nvSpPr>
          <p:cNvPr id="2" name="Text Box 7"/>
          <p:cNvSpPr txBox="1">
            <a:spLocks noChangeArrowheads="1"/>
          </p:cNvSpPr>
          <p:nvPr/>
        </p:nvSpPr>
        <p:spPr bwMode="auto">
          <a:xfrm>
            <a:off x="7230732" y="3796594"/>
            <a:ext cx="1152900" cy="2423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50" tIns="45725" rIns="91450" bIns="45725">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975" dirty="0" smtClean="0">
                <a:solidFill>
                  <a:srgbClr val="FFFFFF"/>
                </a:solidFill>
                <a:latin typeface="FrutigerNext LT Bold" pitchFamily="34" charset="0"/>
                <a:ea typeface="MS PGothic" pitchFamily="34" charset="-128"/>
              </a:rPr>
              <a:t>www.huawei.com</a:t>
            </a:r>
          </a:p>
        </p:txBody>
      </p:sp>
    </p:spTree>
  </p:cSld>
  <p:clrMap bg1="lt1" tx1="dk1" bg2="lt2" tx2="dk2" accent1="accent1" accent2="accent2" accent3="accent3" accent4="accent4" accent5="accent5" accent6="accent6" hlink="hlink" folHlink="folHlink"/>
  <p:sldLayoutIdLst>
    <p:sldLayoutId id="2147483818"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25" b="1">
          <a:solidFill>
            <a:schemeClr val="tx1"/>
          </a:solidFill>
          <a:latin typeface="+mn-lt"/>
          <a:ea typeface="黑体" pitchFamily="49" charset="-122"/>
          <a:cs typeface="+mj-cs"/>
        </a:defRPr>
      </a:lvl1pPr>
      <a:lvl2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99" indent="-285769" algn="l" rtl="0" eaLnBrk="0" fontAlgn="base" hangingPunct="0">
        <a:spcBef>
          <a:spcPct val="20000"/>
        </a:spcBef>
        <a:spcAft>
          <a:spcPct val="0"/>
        </a:spcAft>
        <a:buFont typeface="Arial" pitchFamily="34" charset="0"/>
        <a:buChar char="›"/>
        <a:defRPr sz="2025">
          <a:solidFill>
            <a:schemeClr val="tx1"/>
          </a:solidFill>
          <a:latin typeface="+mn-lt"/>
          <a:ea typeface="+mn-ea"/>
          <a:cs typeface="+mn-cs"/>
        </a:defRPr>
      </a:lvl2pPr>
      <a:lvl3pPr marL="1143076" indent="-228615"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307" indent="-228615" algn="l" rtl="0" eaLnBrk="0" fontAlgn="base" hangingPunct="0">
        <a:spcBef>
          <a:spcPct val="20000"/>
        </a:spcBef>
        <a:spcAft>
          <a:spcPct val="0"/>
        </a:spcAft>
        <a:buChar char="–"/>
        <a:defRPr sz="1575">
          <a:solidFill>
            <a:schemeClr val="tx1"/>
          </a:solidFill>
          <a:latin typeface="+mn-lt"/>
          <a:ea typeface="+mn-ea"/>
          <a:cs typeface="+mn-cs"/>
        </a:defRPr>
      </a:lvl4pPr>
      <a:lvl5pPr marL="2057537" indent="-228615" algn="l" rtl="0" eaLnBrk="0" fontAlgn="base" hangingPunct="0">
        <a:spcBef>
          <a:spcPct val="20000"/>
        </a:spcBef>
        <a:spcAft>
          <a:spcPct val="0"/>
        </a:spcAft>
        <a:buFont typeface="Arial" pitchFamily="34" charset="0"/>
        <a:buChar char="~"/>
        <a:defRPr sz="1575">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3" name="Rectangle 8"/>
          <p:cNvSpPr>
            <a:spLocks noGrp="1" noChangeArrowheads="1"/>
          </p:cNvSpPr>
          <p:nvPr>
            <p:ph type="title"/>
          </p:nvPr>
        </p:nvSpPr>
        <p:spPr bwMode="auto">
          <a:xfrm>
            <a:off x="755784" y="4509546"/>
            <a:ext cx="5549276" cy="61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0972" rIns="121944" bIns="60972" numCol="1" anchor="t" anchorCtr="0" compatLnSpc="1">
            <a:prstTxWarp prst="textNoShape">
              <a:avLst/>
            </a:prstTxWarp>
            <a:spAutoFit/>
          </a:bodyPr>
          <a:lstStyle/>
          <a:p>
            <a:pPr lvl="0"/>
            <a:r>
              <a:rPr lang="zh-CN" altLang="en-US" dirty="0" smtClean="0"/>
              <a:t>单击此处编辑母版标题样式</a:t>
            </a:r>
          </a:p>
        </p:txBody>
      </p:sp>
      <p:sp>
        <p:nvSpPr>
          <p:cNvPr id="82" name="Text Box 5"/>
          <p:cNvSpPr txBox="1">
            <a:spLocks noChangeArrowheads="1"/>
          </p:cNvSpPr>
          <p:nvPr/>
        </p:nvSpPr>
        <p:spPr bwMode="auto">
          <a:xfrm>
            <a:off x="755782" y="6221267"/>
            <a:ext cx="3178509" cy="219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91450" bIns="0">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eaLnBrk="0" hangingPunct="0">
              <a:defRPr/>
            </a:pPr>
            <a:r>
              <a:rPr lang="en-US" altLang="zh-CN" sz="1425" dirty="0" smtClean="0">
                <a:latin typeface="FrutigerNext LT Bold" pitchFamily="34" charset="0"/>
                <a:ea typeface="MS PGothic" pitchFamily="34" charset="-128"/>
              </a:rPr>
              <a:t>HUAWEI TECHNOLOGIES CO., LTD.</a:t>
            </a:r>
          </a:p>
        </p:txBody>
      </p:sp>
      <p:pic>
        <p:nvPicPr>
          <p:cNvPr id="7175" name="Picture 6" descr="Log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670548" y="5686155"/>
            <a:ext cx="706559" cy="70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6" name="Rectangle 13"/>
          <p:cNvSpPr>
            <a:spLocks noChangeArrowheads="1"/>
          </p:cNvSpPr>
          <p:nvPr/>
        </p:nvSpPr>
        <p:spPr bwMode="auto">
          <a:xfrm>
            <a:off x="7237085" y="476362"/>
            <a:ext cx="1465518"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4277" eaLnBrk="0" hangingPunct="0"/>
            <a:r>
              <a:rPr lang="en-US" altLang="zh-CN" sz="1425" b="1" dirty="0">
                <a:solidFill>
                  <a:srgbClr val="666666"/>
                </a:solidFill>
                <a:latin typeface="FrutigerNext LT Bold" pitchFamily="34" charset="0"/>
                <a:ea typeface="MS PGothic" pitchFamily="34" charset="-128"/>
              </a:rPr>
              <a:t>Security Level: </a:t>
            </a:r>
          </a:p>
        </p:txBody>
      </p:sp>
      <p:sp>
        <p:nvSpPr>
          <p:cNvPr id="85" name="Rectangle 19"/>
          <p:cNvSpPr>
            <a:spLocks noGrp="1" noChangeArrowheads="1"/>
          </p:cNvSpPr>
          <p:nvPr>
            <p:ph type="dt" sz="quarter" idx="2"/>
          </p:nvPr>
        </p:nvSpPr>
        <p:spPr bwMode="auto">
          <a:xfrm>
            <a:off x="755782" y="476361"/>
            <a:ext cx="2133971" cy="21929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25">
                <a:latin typeface="Arial" charset="0"/>
                <a:ea typeface="黑体" pitchFamily="49" charset="-122"/>
              </a:defRPr>
            </a:lvl1pPr>
          </a:lstStyle>
          <a:p>
            <a:pPr>
              <a:defRPr/>
            </a:pPr>
            <a:endParaRPr lang="en-US" altLang="zh-CN"/>
          </a:p>
        </p:txBody>
      </p:sp>
      <p:sp>
        <p:nvSpPr>
          <p:cNvPr id="7178" name="Rectangle 13"/>
          <p:cNvSpPr>
            <a:spLocks noChangeArrowheads="1"/>
          </p:cNvSpPr>
          <p:nvPr/>
        </p:nvSpPr>
        <p:spPr bwMode="auto">
          <a:xfrm>
            <a:off x="-1952963" y="692312"/>
            <a:ext cx="1844995" cy="567384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标题</a:t>
            </a:r>
            <a:r>
              <a:rPr lang="en-US" altLang="zh-CN" sz="1125" dirty="0">
                <a:solidFill>
                  <a:srgbClr val="FFFFFF"/>
                </a:solidFill>
              </a:rPr>
              <a:t>:32-35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Medium</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标题</a:t>
            </a:r>
            <a:r>
              <a:rPr lang="en-US" altLang="zh-CN" sz="1125" dirty="0">
                <a:solidFill>
                  <a:srgbClr val="FFFFFF"/>
                </a:solidFill>
              </a:rPr>
              <a:t>:30-32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黑体</a:t>
            </a: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正文</a:t>
            </a:r>
            <a:r>
              <a:rPr lang="en-US" altLang="zh-CN" sz="1125" dirty="0">
                <a:solidFill>
                  <a:srgbClr val="FFFFFF"/>
                </a:solidFill>
              </a:rPr>
              <a:t>:20-22pt</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 </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 :18pt  </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Regular</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正文</a:t>
            </a:r>
            <a:r>
              <a:rPr lang="en-US" altLang="zh-CN" sz="1125" dirty="0">
                <a:solidFill>
                  <a:srgbClr val="FFFFFF"/>
                </a:solidFill>
              </a:rPr>
              <a:t>:18-20pt</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18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细黑体 </a:t>
            </a:r>
            <a:endParaRPr lang="zh-CN" altLang="en-US" sz="1125" dirty="0">
              <a:solidFill>
                <a:srgbClr val="000000"/>
              </a:solidFill>
            </a:endParaRPr>
          </a:p>
        </p:txBody>
      </p:sp>
      <p:grpSp>
        <p:nvGrpSpPr>
          <p:cNvPr id="7179" name="Group 148"/>
          <p:cNvGrpSpPr>
            <a:grpSpLocks/>
          </p:cNvGrpSpPr>
          <p:nvPr/>
        </p:nvGrpSpPr>
        <p:grpSpPr bwMode="auto">
          <a:xfrm>
            <a:off x="9326596" y="3512366"/>
            <a:ext cx="919323" cy="3224959"/>
            <a:chOff x="5839" y="2251"/>
            <a:chExt cx="579" cy="2031"/>
          </a:xfrm>
        </p:grpSpPr>
        <p:sp>
          <p:nvSpPr>
            <p:cNvPr id="7182" name="Rectangle 149"/>
            <p:cNvSpPr>
              <a:spLocks noChangeArrowheads="1"/>
            </p:cNvSpPr>
            <p:nvPr userDrawn="1"/>
          </p:nvSpPr>
          <p:spPr bwMode="auto">
            <a:xfrm>
              <a:off x="5839" y="3143"/>
              <a:ext cx="579" cy="233"/>
            </a:xfrm>
            <a:prstGeom prst="rect">
              <a:avLst/>
            </a:prstGeom>
            <a:solidFill>
              <a:srgbClr val="FFFFFF"/>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7183" name="Group 150"/>
            <p:cNvGrpSpPr>
              <a:grpSpLocks/>
            </p:cNvGrpSpPr>
            <p:nvPr userDrawn="1"/>
          </p:nvGrpSpPr>
          <p:grpSpPr bwMode="auto">
            <a:xfrm>
              <a:off x="5893" y="2387"/>
              <a:ext cx="466" cy="115"/>
              <a:chOff x="5893" y="2387"/>
              <a:chExt cx="466" cy="115"/>
            </a:xfrm>
          </p:grpSpPr>
          <p:sp>
            <p:nvSpPr>
              <p:cNvPr id="7244" name="Rectangle 151"/>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45" name="Rectangle 152"/>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46" name="Rectangle 153"/>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47" name="Rectangle 154"/>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84" name="Group 155"/>
            <p:cNvGrpSpPr>
              <a:grpSpLocks/>
            </p:cNvGrpSpPr>
            <p:nvPr userDrawn="1"/>
          </p:nvGrpSpPr>
          <p:grpSpPr bwMode="auto">
            <a:xfrm>
              <a:off x="5893" y="2523"/>
              <a:ext cx="466" cy="115"/>
              <a:chOff x="5893" y="2523"/>
              <a:chExt cx="466" cy="115"/>
            </a:xfrm>
          </p:grpSpPr>
          <p:sp>
            <p:nvSpPr>
              <p:cNvPr id="7240" name="Rectangle 156"/>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41" name="Rectangle 157"/>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42" name="Rectangle 158"/>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43" name="Rectangle 159"/>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85" name="Group 160"/>
            <p:cNvGrpSpPr>
              <a:grpSpLocks/>
            </p:cNvGrpSpPr>
            <p:nvPr userDrawn="1"/>
          </p:nvGrpSpPr>
          <p:grpSpPr bwMode="auto">
            <a:xfrm>
              <a:off x="5893" y="2659"/>
              <a:ext cx="466" cy="115"/>
              <a:chOff x="5893" y="2659"/>
              <a:chExt cx="466" cy="115"/>
            </a:xfrm>
          </p:grpSpPr>
          <p:sp>
            <p:nvSpPr>
              <p:cNvPr id="7236" name="Rectangle 161"/>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37" name="Rectangle 162"/>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38" name="Rectangle 163"/>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39" name="Rectangle 164"/>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86" name="Group 165"/>
            <p:cNvGrpSpPr>
              <a:grpSpLocks/>
            </p:cNvGrpSpPr>
            <p:nvPr userDrawn="1"/>
          </p:nvGrpSpPr>
          <p:grpSpPr bwMode="auto">
            <a:xfrm>
              <a:off x="5893" y="2251"/>
              <a:ext cx="466" cy="119"/>
              <a:chOff x="5893" y="2251"/>
              <a:chExt cx="466" cy="119"/>
            </a:xfrm>
          </p:grpSpPr>
          <p:sp>
            <p:nvSpPr>
              <p:cNvPr id="7232" name="Rectangle 166"/>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33" name="Rectangle 167"/>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34" name="Rectangle 168"/>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35" name="Rectangle 169"/>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87" name="Group 170"/>
            <p:cNvGrpSpPr>
              <a:grpSpLocks/>
            </p:cNvGrpSpPr>
            <p:nvPr userDrawn="1"/>
          </p:nvGrpSpPr>
          <p:grpSpPr bwMode="auto">
            <a:xfrm>
              <a:off x="5893" y="2886"/>
              <a:ext cx="466" cy="115"/>
              <a:chOff x="5893" y="2886"/>
              <a:chExt cx="466" cy="115"/>
            </a:xfrm>
          </p:grpSpPr>
          <p:sp>
            <p:nvSpPr>
              <p:cNvPr id="7228" name="Rectangle 171"/>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29" name="Rectangle 172"/>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30" name="Rectangle 173"/>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31" name="Rectangle 174"/>
              <p:cNvSpPr>
                <a:spLocks noChangeArrowheads="1"/>
              </p:cNvSpPr>
              <p:nvPr userDrawn="1"/>
            </p:nvSpPr>
            <p:spPr bwMode="auto">
              <a:xfrm flipV="1">
                <a:off x="5893" y="2886"/>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88" name="Group 175"/>
            <p:cNvGrpSpPr>
              <a:grpSpLocks/>
            </p:cNvGrpSpPr>
            <p:nvPr userDrawn="1"/>
          </p:nvGrpSpPr>
          <p:grpSpPr bwMode="auto">
            <a:xfrm>
              <a:off x="5893" y="3022"/>
              <a:ext cx="466" cy="115"/>
              <a:chOff x="5893" y="3022"/>
              <a:chExt cx="466" cy="115"/>
            </a:xfrm>
          </p:grpSpPr>
          <p:sp>
            <p:nvSpPr>
              <p:cNvPr id="7224" name="Rectangle 176"/>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25" name="Rectangle 177"/>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26" name="Rectangle 178"/>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27" name="Rectangle 179"/>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89" name="Group 180"/>
            <p:cNvGrpSpPr>
              <a:grpSpLocks/>
            </p:cNvGrpSpPr>
            <p:nvPr userDrawn="1"/>
          </p:nvGrpSpPr>
          <p:grpSpPr bwMode="auto">
            <a:xfrm>
              <a:off x="5893" y="3158"/>
              <a:ext cx="466" cy="115"/>
              <a:chOff x="5893" y="3158"/>
              <a:chExt cx="466" cy="115"/>
            </a:xfrm>
          </p:grpSpPr>
          <p:sp>
            <p:nvSpPr>
              <p:cNvPr id="7220" name="Rectangle 181"/>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21" name="Rectangle 182"/>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22" name="Rectangle 183"/>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23" name="Rectangle 184"/>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90" name="Group 185"/>
            <p:cNvGrpSpPr>
              <a:grpSpLocks/>
            </p:cNvGrpSpPr>
            <p:nvPr userDrawn="1"/>
          </p:nvGrpSpPr>
          <p:grpSpPr bwMode="auto">
            <a:xfrm>
              <a:off x="5893" y="3385"/>
              <a:ext cx="466" cy="115"/>
              <a:chOff x="5893" y="3385"/>
              <a:chExt cx="466" cy="115"/>
            </a:xfrm>
          </p:grpSpPr>
          <p:sp>
            <p:nvSpPr>
              <p:cNvPr id="7216" name="Rectangle 186"/>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17" name="Rectangle 187"/>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18" name="Rectangle 188"/>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19" name="Rectangle 189"/>
              <p:cNvSpPr>
                <a:spLocks noChangeArrowheads="1"/>
              </p:cNvSpPr>
              <p:nvPr userDrawn="1"/>
            </p:nvSpPr>
            <p:spPr bwMode="auto">
              <a:xfrm flipV="1">
                <a:off x="5893" y="3385"/>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91" name="Group 190"/>
            <p:cNvGrpSpPr>
              <a:grpSpLocks/>
            </p:cNvGrpSpPr>
            <p:nvPr userDrawn="1"/>
          </p:nvGrpSpPr>
          <p:grpSpPr bwMode="auto">
            <a:xfrm>
              <a:off x="5893" y="3521"/>
              <a:ext cx="466" cy="115"/>
              <a:chOff x="5893" y="3521"/>
              <a:chExt cx="466" cy="115"/>
            </a:xfrm>
          </p:grpSpPr>
          <p:sp>
            <p:nvSpPr>
              <p:cNvPr id="7212" name="Rectangle 191"/>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13" name="Rectangle 192"/>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14" name="Rectangle 193"/>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15" name="Rectangle 194"/>
              <p:cNvSpPr>
                <a:spLocks noChangeArrowheads="1"/>
              </p:cNvSpPr>
              <p:nvPr userDrawn="1"/>
            </p:nvSpPr>
            <p:spPr bwMode="auto">
              <a:xfrm flipV="1">
                <a:off x="5893" y="3521"/>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92" name="Group 195"/>
            <p:cNvGrpSpPr>
              <a:grpSpLocks/>
            </p:cNvGrpSpPr>
            <p:nvPr userDrawn="1"/>
          </p:nvGrpSpPr>
          <p:grpSpPr bwMode="auto">
            <a:xfrm>
              <a:off x="5893" y="3657"/>
              <a:ext cx="466" cy="115"/>
              <a:chOff x="5893" y="3657"/>
              <a:chExt cx="466" cy="115"/>
            </a:xfrm>
          </p:grpSpPr>
          <p:sp>
            <p:nvSpPr>
              <p:cNvPr id="7208" name="Rectangle 196"/>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09" name="Rectangle 197"/>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10" name="Rectangle 198"/>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11" name="Rectangle 199"/>
              <p:cNvSpPr>
                <a:spLocks noChangeArrowheads="1"/>
              </p:cNvSpPr>
              <p:nvPr userDrawn="1"/>
            </p:nvSpPr>
            <p:spPr bwMode="auto">
              <a:xfrm flipV="1">
                <a:off x="5893" y="3657"/>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93" name="Group 200"/>
            <p:cNvGrpSpPr>
              <a:grpSpLocks/>
            </p:cNvGrpSpPr>
            <p:nvPr userDrawn="1"/>
          </p:nvGrpSpPr>
          <p:grpSpPr bwMode="auto">
            <a:xfrm>
              <a:off x="5893" y="3884"/>
              <a:ext cx="466" cy="115"/>
              <a:chOff x="5893" y="3884"/>
              <a:chExt cx="466" cy="115"/>
            </a:xfrm>
          </p:grpSpPr>
          <p:sp>
            <p:nvSpPr>
              <p:cNvPr id="7204" name="Rectangle 201"/>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05" name="Rectangle 202"/>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06" name="Rectangle 203"/>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07" name="Rectangle 204"/>
              <p:cNvSpPr>
                <a:spLocks noChangeArrowheads="1"/>
              </p:cNvSpPr>
              <p:nvPr userDrawn="1"/>
            </p:nvSpPr>
            <p:spPr bwMode="auto">
              <a:xfrm flipV="1">
                <a:off x="5893" y="3884"/>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94" name="Group 205"/>
            <p:cNvGrpSpPr>
              <a:grpSpLocks/>
            </p:cNvGrpSpPr>
            <p:nvPr userDrawn="1"/>
          </p:nvGrpSpPr>
          <p:grpSpPr bwMode="auto">
            <a:xfrm>
              <a:off x="5893" y="4026"/>
              <a:ext cx="466" cy="115"/>
              <a:chOff x="5893" y="4026"/>
              <a:chExt cx="466" cy="115"/>
            </a:xfrm>
          </p:grpSpPr>
          <p:sp>
            <p:nvSpPr>
              <p:cNvPr id="7200" name="Rectangle 206"/>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01" name="Rectangle 207"/>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02" name="Rectangle 208"/>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203" name="Rectangle 209"/>
              <p:cNvSpPr>
                <a:spLocks noChangeArrowheads="1"/>
              </p:cNvSpPr>
              <p:nvPr userDrawn="1"/>
            </p:nvSpPr>
            <p:spPr bwMode="auto">
              <a:xfrm flipV="1">
                <a:off x="5893" y="4026"/>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7195" name="Group 210"/>
            <p:cNvGrpSpPr>
              <a:grpSpLocks/>
            </p:cNvGrpSpPr>
            <p:nvPr userDrawn="1"/>
          </p:nvGrpSpPr>
          <p:grpSpPr bwMode="auto">
            <a:xfrm>
              <a:off x="5893" y="4167"/>
              <a:ext cx="466" cy="115"/>
              <a:chOff x="5893" y="4167"/>
              <a:chExt cx="466" cy="115"/>
            </a:xfrm>
          </p:grpSpPr>
          <p:sp>
            <p:nvSpPr>
              <p:cNvPr id="7196" name="Rectangle 211"/>
              <p:cNvSpPr>
                <a:spLocks noChangeArrowheads="1"/>
              </p:cNvSpPr>
              <p:nvPr userDrawn="1"/>
            </p:nvSpPr>
            <p:spPr bwMode="auto">
              <a:xfrm flipV="1">
                <a:off x="6010" y="4167"/>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197" name="Rectangle 212"/>
              <p:cNvSpPr>
                <a:spLocks noChangeArrowheads="1"/>
              </p:cNvSpPr>
              <p:nvPr userDrawn="1"/>
            </p:nvSpPr>
            <p:spPr bwMode="auto">
              <a:xfrm flipV="1">
                <a:off x="6126" y="4167"/>
                <a:ext cx="116" cy="115"/>
              </a:xfrm>
              <a:prstGeom prst="rect">
                <a:avLst/>
              </a:prstGeom>
              <a:solidFill>
                <a:srgbClr val="3333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198" name="Rectangle 213"/>
              <p:cNvSpPr>
                <a:spLocks noChangeArrowheads="1"/>
              </p:cNvSpPr>
              <p:nvPr userDrawn="1"/>
            </p:nvSpPr>
            <p:spPr bwMode="auto">
              <a:xfrm flipV="1">
                <a:off x="6242" y="4167"/>
                <a:ext cx="117" cy="115"/>
              </a:xfrm>
              <a:prstGeom prst="rect">
                <a:avLst/>
              </a:prstGeom>
              <a:solidFill>
                <a:srgbClr val="BBE0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7199" name="Rectangle 214"/>
              <p:cNvSpPr>
                <a:spLocks noChangeArrowheads="1"/>
              </p:cNvSpPr>
              <p:nvPr userDrawn="1"/>
            </p:nvSpPr>
            <p:spPr bwMode="auto">
              <a:xfrm flipV="1">
                <a:off x="5893" y="4167"/>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7180" name="Rectangle 215"/>
          <p:cNvSpPr>
            <a:spLocks noChangeArrowheads="1"/>
          </p:cNvSpPr>
          <p:nvPr/>
        </p:nvSpPr>
        <p:spPr bwMode="auto">
          <a:xfrm>
            <a:off x="9253560" y="1341749"/>
            <a:ext cx="1192420" cy="177753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buFont typeface="Arial" pitchFamily="34" charset="0"/>
              <a:buNone/>
            </a:pPr>
            <a:r>
              <a:rPr lang="zh-CN" altLang="en-US" sz="1125" dirty="0">
                <a:solidFill>
                  <a:srgbClr val="FFFFFF"/>
                </a:solidFill>
              </a:rPr>
              <a:t>配色参考方案：</a:t>
            </a:r>
          </a:p>
          <a:p>
            <a:pPr eaLnBrk="0" hangingPunct="0">
              <a:lnSpc>
                <a:spcPct val="120000"/>
              </a:lnSpc>
              <a:spcBef>
                <a:spcPct val="20000"/>
              </a:spcBef>
              <a:buFont typeface="Arial" pitchFamily="34" charset="0"/>
              <a:buNone/>
            </a:pPr>
            <a:r>
              <a:rPr lang="zh-CN" altLang="en-US" sz="1125" dirty="0">
                <a:solidFill>
                  <a:srgbClr val="FFFFFF"/>
                </a:solidFill>
              </a:rPr>
              <a:t>建议同一页面内不超过四种颜色，以下是</a:t>
            </a:r>
            <a:r>
              <a:rPr lang="en-US" altLang="zh-CN" sz="1125" dirty="0">
                <a:solidFill>
                  <a:srgbClr val="FFFFFF"/>
                </a:solidFill>
              </a:rPr>
              <a:t>13</a:t>
            </a:r>
            <a:r>
              <a:rPr lang="zh-CN" altLang="en-US" sz="1125" dirty="0">
                <a:solidFill>
                  <a:srgbClr val="FFFFFF"/>
                </a:solidFill>
              </a:rPr>
              <a:t>组配色方案，同一页面内只选择一组使用。（仅供参考）</a:t>
            </a:r>
          </a:p>
        </p:txBody>
      </p:sp>
      <p:sp>
        <p:nvSpPr>
          <p:cNvPr id="7181" name="Rectangle 216"/>
          <p:cNvSpPr>
            <a:spLocks noChangeArrowheads="1"/>
          </p:cNvSpPr>
          <p:nvPr/>
        </p:nvSpPr>
        <p:spPr bwMode="auto">
          <a:xfrm>
            <a:off x="9253558" y="7942"/>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buFont typeface="Arial" pitchFamily="34" charset="0"/>
              <a:buNone/>
            </a:pPr>
            <a:r>
              <a:rPr lang="zh-CN" altLang="en-US" sz="1125" dirty="0">
                <a:solidFill>
                  <a:srgbClr val="FFFFFF"/>
                </a:solidFill>
              </a:rPr>
              <a:t>客户或者合作伙伴的标志放在右上角</a:t>
            </a:r>
            <a:r>
              <a:rPr lang="en-US" altLang="zh-CN" sz="1125" dirty="0">
                <a:solidFill>
                  <a:srgbClr val="FFFFFF"/>
                </a:solidFill>
              </a:rPr>
              <a:t>.</a:t>
            </a:r>
            <a:endParaRPr lang="zh-CN" altLang="en-US" sz="1125" dirty="0">
              <a:solidFill>
                <a:srgbClr val="FFFFFF"/>
              </a:solidFill>
            </a:endParaRPr>
          </a:p>
        </p:txBody>
      </p:sp>
      <p:pic>
        <p:nvPicPr>
          <p:cNvPr id="7248" name="Picture 80" descr="sb10064568n-001副本"/>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1268707"/>
            <a:ext cx="9145588" cy="2951846"/>
          </a:xfrm>
          <a:prstGeom prst="rect">
            <a:avLst/>
          </a:prstGeom>
          <a:noFill/>
          <a:extLst>
            <a:ext uri="{909E8E84-426E-40DD-AFC4-6F175D3DCCD1}">
              <a14:hiddenFill xmlns:a14="http://schemas.microsoft.com/office/drawing/2010/main">
                <a:solidFill>
                  <a:srgbClr val="FFFFFF"/>
                </a:solidFill>
              </a14:hiddenFill>
            </a:ext>
          </a:extLst>
        </p:spPr>
      </p:pic>
      <p:pic>
        <p:nvPicPr>
          <p:cNvPr id="7249" name="Picture 81" descr="未标题-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84357" y="1268708"/>
            <a:ext cx="3061231" cy="2950258"/>
          </a:xfrm>
          <a:prstGeom prst="rect">
            <a:avLst/>
          </a:prstGeom>
          <a:noFill/>
          <a:extLst>
            <a:ext uri="{909E8E84-426E-40DD-AFC4-6F175D3DCCD1}">
              <a14:hiddenFill xmlns:a14="http://schemas.microsoft.com/office/drawing/2010/main">
                <a:solidFill>
                  <a:srgbClr val="FFFFFF"/>
                </a:solidFill>
              </a14:hiddenFill>
            </a:ext>
          </a:extLst>
        </p:spPr>
      </p:pic>
      <p:sp>
        <p:nvSpPr>
          <p:cNvPr id="2" name="Text Box 7"/>
          <p:cNvSpPr txBox="1">
            <a:spLocks noChangeArrowheads="1"/>
          </p:cNvSpPr>
          <p:nvPr/>
        </p:nvSpPr>
        <p:spPr bwMode="auto">
          <a:xfrm>
            <a:off x="7230732" y="3796594"/>
            <a:ext cx="1152900" cy="2423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50" tIns="45725" rIns="91450" bIns="45725">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975" dirty="0" smtClean="0">
                <a:solidFill>
                  <a:srgbClr val="FFFFFF"/>
                </a:solidFill>
                <a:latin typeface="FrutigerNext LT Bold" pitchFamily="34" charset="0"/>
                <a:ea typeface="MS PGothic" pitchFamily="34" charset="-128"/>
              </a:rPr>
              <a:t>www.huawei.com</a:t>
            </a:r>
          </a:p>
        </p:txBody>
      </p:sp>
    </p:spTree>
  </p:cSld>
  <p:clrMap bg1="lt1" tx1="dk1" bg2="lt2" tx2="dk2" accent1="accent1" accent2="accent2" accent3="accent3" accent4="accent4" accent5="accent5" accent6="accent6" hlink="hlink" folHlink="folHlink"/>
  <p:sldLayoutIdLst>
    <p:sldLayoutId id="2147483819"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25" b="1">
          <a:solidFill>
            <a:schemeClr val="tx1"/>
          </a:solidFill>
          <a:latin typeface="+mn-lt"/>
          <a:ea typeface="黑体" pitchFamily="49" charset="-122"/>
          <a:cs typeface="+mj-cs"/>
        </a:defRPr>
      </a:lvl1pPr>
      <a:lvl2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99" indent="-285769" algn="l" rtl="0" eaLnBrk="0" fontAlgn="base" hangingPunct="0">
        <a:spcBef>
          <a:spcPct val="20000"/>
        </a:spcBef>
        <a:spcAft>
          <a:spcPct val="0"/>
        </a:spcAft>
        <a:buFont typeface="Arial" pitchFamily="34" charset="0"/>
        <a:buChar char="›"/>
        <a:defRPr sz="2025">
          <a:solidFill>
            <a:schemeClr val="tx1"/>
          </a:solidFill>
          <a:latin typeface="+mn-lt"/>
          <a:ea typeface="+mn-ea"/>
          <a:cs typeface="+mn-cs"/>
        </a:defRPr>
      </a:lvl2pPr>
      <a:lvl3pPr marL="1143076" indent="-228615"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307" indent="-228615" algn="l" rtl="0" eaLnBrk="0" fontAlgn="base" hangingPunct="0">
        <a:spcBef>
          <a:spcPct val="20000"/>
        </a:spcBef>
        <a:spcAft>
          <a:spcPct val="0"/>
        </a:spcAft>
        <a:buChar char="–"/>
        <a:defRPr sz="1575">
          <a:solidFill>
            <a:schemeClr val="tx1"/>
          </a:solidFill>
          <a:latin typeface="+mn-lt"/>
          <a:ea typeface="+mn-ea"/>
          <a:cs typeface="+mn-cs"/>
        </a:defRPr>
      </a:lvl4pPr>
      <a:lvl5pPr marL="2057537" indent="-228615" algn="l" rtl="0" eaLnBrk="0" fontAlgn="base" hangingPunct="0">
        <a:spcBef>
          <a:spcPct val="20000"/>
        </a:spcBef>
        <a:spcAft>
          <a:spcPct val="0"/>
        </a:spcAft>
        <a:buFont typeface="Arial" pitchFamily="34" charset="0"/>
        <a:buChar char="~"/>
        <a:defRPr sz="1575">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7" name="Rectangle 8"/>
          <p:cNvSpPr>
            <a:spLocks noGrp="1" noChangeArrowheads="1"/>
          </p:cNvSpPr>
          <p:nvPr>
            <p:ph type="title"/>
          </p:nvPr>
        </p:nvSpPr>
        <p:spPr bwMode="auto">
          <a:xfrm>
            <a:off x="755784" y="4509546"/>
            <a:ext cx="5549276" cy="61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60972" rIns="121944" bIns="60972" numCol="1" anchor="t" anchorCtr="0" compatLnSpc="1">
            <a:prstTxWarp prst="textNoShape">
              <a:avLst/>
            </a:prstTxWarp>
            <a:spAutoFit/>
          </a:bodyPr>
          <a:lstStyle/>
          <a:p>
            <a:pPr lvl="0"/>
            <a:r>
              <a:rPr lang="zh-CN" altLang="en-US" dirty="0" smtClean="0"/>
              <a:t>单击此处编辑母版标题样式</a:t>
            </a:r>
          </a:p>
        </p:txBody>
      </p:sp>
      <p:sp>
        <p:nvSpPr>
          <p:cNvPr id="82" name="Text Box 5"/>
          <p:cNvSpPr txBox="1">
            <a:spLocks noChangeArrowheads="1"/>
          </p:cNvSpPr>
          <p:nvPr/>
        </p:nvSpPr>
        <p:spPr bwMode="auto">
          <a:xfrm>
            <a:off x="755782" y="6221267"/>
            <a:ext cx="3178509" cy="219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91450" bIns="0">
            <a:spAutoFit/>
          </a:bodyP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fontAlgn="base">
              <a:spcBef>
                <a:spcPct val="0"/>
              </a:spcBef>
              <a:spcAft>
                <a:spcPct val="0"/>
              </a:spcAft>
              <a:defRPr>
                <a:solidFill>
                  <a:schemeClr val="tx1"/>
                </a:solidFill>
                <a:latin typeface="Calibri" pitchFamily="34" charset="0"/>
                <a:ea typeface="宋体" pitchFamily="2" charset="-122"/>
              </a:defRPr>
            </a:lvl6pPr>
            <a:lvl7pPr marL="2971800" indent="-228600" fontAlgn="base">
              <a:spcBef>
                <a:spcPct val="0"/>
              </a:spcBef>
              <a:spcAft>
                <a:spcPct val="0"/>
              </a:spcAft>
              <a:defRPr>
                <a:solidFill>
                  <a:schemeClr val="tx1"/>
                </a:solidFill>
                <a:latin typeface="Calibri" pitchFamily="34" charset="0"/>
                <a:ea typeface="宋体" pitchFamily="2" charset="-122"/>
              </a:defRPr>
            </a:lvl7pPr>
            <a:lvl8pPr marL="3429000" indent="-228600" fontAlgn="base">
              <a:spcBef>
                <a:spcPct val="0"/>
              </a:spcBef>
              <a:spcAft>
                <a:spcPct val="0"/>
              </a:spcAft>
              <a:defRPr>
                <a:solidFill>
                  <a:schemeClr val="tx1"/>
                </a:solidFill>
                <a:latin typeface="Calibri" pitchFamily="34" charset="0"/>
                <a:ea typeface="宋体" pitchFamily="2" charset="-122"/>
              </a:defRPr>
            </a:lvl8pPr>
            <a:lvl9pPr marL="3886200" indent="-228600" fontAlgn="base">
              <a:spcBef>
                <a:spcPct val="0"/>
              </a:spcBef>
              <a:spcAft>
                <a:spcPct val="0"/>
              </a:spcAft>
              <a:defRPr>
                <a:solidFill>
                  <a:schemeClr val="tx1"/>
                </a:solidFill>
                <a:latin typeface="Calibri" pitchFamily="34" charset="0"/>
                <a:ea typeface="宋体" pitchFamily="2" charset="-122"/>
              </a:defRPr>
            </a:lvl9pPr>
          </a:lstStyle>
          <a:p>
            <a:pPr eaLnBrk="0" hangingPunct="0">
              <a:defRPr/>
            </a:pPr>
            <a:r>
              <a:rPr lang="en-US" altLang="zh-CN" sz="1425" dirty="0" smtClean="0">
                <a:latin typeface="FrutigerNext LT Bold" pitchFamily="34" charset="0"/>
                <a:ea typeface="MS PGothic" pitchFamily="34" charset="-128"/>
              </a:rPr>
              <a:t>HUAWEI TECHNOLOGIES CO., LTD.</a:t>
            </a:r>
          </a:p>
        </p:txBody>
      </p:sp>
      <p:pic>
        <p:nvPicPr>
          <p:cNvPr id="8199" name="Picture 6" descr="Log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670548" y="5686155"/>
            <a:ext cx="706559" cy="70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0" name="Rectangle 13"/>
          <p:cNvSpPr>
            <a:spLocks noChangeArrowheads="1"/>
          </p:cNvSpPr>
          <p:nvPr/>
        </p:nvSpPr>
        <p:spPr bwMode="auto">
          <a:xfrm>
            <a:off x="7237085" y="476362"/>
            <a:ext cx="1465518" cy="21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defTabSz="784277" eaLnBrk="0" hangingPunct="0"/>
            <a:r>
              <a:rPr lang="en-US" altLang="zh-CN" sz="1425" b="1" dirty="0">
                <a:solidFill>
                  <a:srgbClr val="666666"/>
                </a:solidFill>
                <a:latin typeface="FrutigerNext LT Bold" pitchFamily="34" charset="0"/>
                <a:ea typeface="MS PGothic" pitchFamily="34" charset="-128"/>
              </a:rPr>
              <a:t>Security Level: </a:t>
            </a:r>
          </a:p>
        </p:txBody>
      </p:sp>
      <p:sp>
        <p:nvSpPr>
          <p:cNvPr id="85" name="Rectangle 19"/>
          <p:cNvSpPr>
            <a:spLocks noGrp="1" noChangeArrowheads="1"/>
          </p:cNvSpPr>
          <p:nvPr>
            <p:ph type="dt" sz="quarter" idx="2"/>
          </p:nvPr>
        </p:nvSpPr>
        <p:spPr bwMode="auto">
          <a:xfrm>
            <a:off x="755782" y="476361"/>
            <a:ext cx="2133971" cy="219291"/>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B2B2B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1425">
                <a:latin typeface="Arial" charset="0"/>
                <a:ea typeface="黑体" pitchFamily="49" charset="-122"/>
              </a:defRPr>
            </a:lvl1pPr>
          </a:lstStyle>
          <a:p>
            <a:pPr>
              <a:defRPr/>
            </a:pPr>
            <a:endParaRPr lang="en-US" altLang="zh-CN"/>
          </a:p>
        </p:txBody>
      </p:sp>
      <p:sp>
        <p:nvSpPr>
          <p:cNvPr id="8202" name="Rectangle 15"/>
          <p:cNvSpPr>
            <a:spLocks noChangeArrowheads="1"/>
          </p:cNvSpPr>
          <p:nvPr/>
        </p:nvSpPr>
        <p:spPr bwMode="auto">
          <a:xfrm>
            <a:off x="-1952963" y="692312"/>
            <a:ext cx="1844995" cy="567384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标题</a:t>
            </a:r>
            <a:r>
              <a:rPr lang="en-US" altLang="zh-CN" sz="1125" dirty="0">
                <a:solidFill>
                  <a:srgbClr val="FFFFFF"/>
                </a:solidFill>
              </a:rPr>
              <a:t>:32-35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Medium</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标题</a:t>
            </a:r>
            <a:r>
              <a:rPr lang="en-US" altLang="zh-CN" sz="1125" dirty="0">
                <a:solidFill>
                  <a:srgbClr val="FFFFFF"/>
                </a:solidFill>
              </a:rPr>
              <a:t>:30-32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黑体</a:t>
            </a: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正文</a:t>
            </a:r>
            <a:r>
              <a:rPr lang="en-US" altLang="zh-CN" sz="1125" dirty="0">
                <a:solidFill>
                  <a:srgbClr val="FFFFFF"/>
                </a:solidFill>
              </a:rPr>
              <a:t>:20-22pt</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 </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 :18pt  </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Regular</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正文</a:t>
            </a:r>
            <a:r>
              <a:rPr lang="en-US" altLang="zh-CN" sz="1125" dirty="0">
                <a:solidFill>
                  <a:srgbClr val="FFFFFF"/>
                </a:solidFill>
              </a:rPr>
              <a:t>:18-20pt</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18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细黑体 </a:t>
            </a:r>
            <a:endParaRPr lang="zh-CN" altLang="en-US" sz="1125" dirty="0">
              <a:solidFill>
                <a:srgbClr val="000000"/>
              </a:solidFill>
            </a:endParaRPr>
          </a:p>
        </p:txBody>
      </p:sp>
      <p:grpSp>
        <p:nvGrpSpPr>
          <p:cNvPr id="8203" name="Group 83"/>
          <p:cNvGrpSpPr>
            <a:grpSpLocks/>
          </p:cNvGrpSpPr>
          <p:nvPr/>
        </p:nvGrpSpPr>
        <p:grpSpPr bwMode="auto">
          <a:xfrm>
            <a:off x="9326596" y="3512366"/>
            <a:ext cx="919323" cy="3224959"/>
            <a:chOff x="5839" y="2251"/>
            <a:chExt cx="579" cy="2031"/>
          </a:xfrm>
        </p:grpSpPr>
        <p:sp>
          <p:nvSpPr>
            <p:cNvPr id="8206" name="Rectangle 84"/>
            <p:cNvSpPr>
              <a:spLocks noChangeArrowheads="1"/>
            </p:cNvSpPr>
            <p:nvPr userDrawn="1"/>
          </p:nvSpPr>
          <p:spPr bwMode="auto">
            <a:xfrm>
              <a:off x="5839" y="3143"/>
              <a:ext cx="579" cy="233"/>
            </a:xfrm>
            <a:prstGeom prst="rect">
              <a:avLst/>
            </a:prstGeom>
            <a:solidFill>
              <a:srgbClr val="FFFFFF"/>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8207" name="Group 85"/>
            <p:cNvGrpSpPr>
              <a:grpSpLocks/>
            </p:cNvGrpSpPr>
            <p:nvPr userDrawn="1"/>
          </p:nvGrpSpPr>
          <p:grpSpPr bwMode="auto">
            <a:xfrm>
              <a:off x="5893" y="2387"/>
              <a:ext cx="466" cy="115"/>
              <a:chOff x="5893" y="2387"/>
              <a:chExt cx="466" cy="115"/>
            </a:xfrm>
          </p:grpSpPr>
          <p:sp>
            <p:nvSpPr>
              <p:cNvPr id="8268" name="Rectangle 86"/>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69" name="Rectangle 87"/>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70" name="Rectangle 88"/>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71" name="Rectangle 89"/>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08" name="Group 90"/>
            <p:cNvGrpSpPr>
              <a:grpSpLocks/>
            </p:cNvGrpSpPr>
            <p:nvPr userDrawn="1"/>
          </p:nvGrpSpPr>
          <p:grpSpPr bwMode="auto">
            <a:xfrm>
              <a:off x="5893" y="2523"/>
              <a:ext cx="466" cy="115"/>
              <a:chOff x="5893" y="2523"/>
              <a:chExt cx="466" cy="115"/>
            </a:xfrm>
          </p:grpSpPr>
          <p:sp>
            <p:nvSpPr>
              <p:cNvPr id="8264" name="Rectangle 91"/>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65" name="Rectangle 92"/>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66" name="Rectangle 93"/>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67" name="Rectangle 94"/>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09" name="Group 95"/>
            <p:cNvGrpSpPr>
              <a:grpSpLocks/>
            </p:cNvGrpSpPr>
            <p:nvPr userDrawn="1"/>
          </p:nvGrpSpPr>
          <p:grpSpPr bwMode="auto">
            <a:xfrm>
              <a:off x="5893" y="2659"/>
              <a:ext cx="466" cy="115"/>
              <a:chOff x="5893" y="2659"/>
              <a:chExt cx="466" cy="115"/>
            </a:xfrm>
          </p:grpSpPr>
          <p:sp>
            <p:nvSpPr>
              <p:cNvPr id="8260" name="Rectangle 96"/>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61" name="Rectangle 97"/>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62" name="Rectangle 98"/>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63" name="Rectangle 99"/>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0" name="Group 100"/>
            <p:cNvGrpSpPr>
              <a:grpSpLocks/>
            </p:cNvGrpSpPr>
            <p:nvPr userDrawn="1"/>
          </p:nvGrpSpPr>
          <p:grpSpPr bwMode="auto">
            <a:xfrm>
              <a:off x="5893" y="2251"/>
              <a:ext cx="466" cy="119"/>
              <a:chOff x="5893" y="2251"/>
              <a:chExt cx="466" cy="119"/>
            </a:xfrm>
          </p:grpSpPr>
          <p:sp>
            <p:nvSpPr>
              <p:cNvPr id="8256" name="Rectangle 101"/>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57" name="Rectangle 102"/>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58" name="Rectangle 103"/>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59" name="Rectangle 104"/>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1" name="Group 105"/>
            <p:cNvGrpSpPr>
              <a:grpSpLocks/>
            </p:cNvGrpSpPr>
            <p:nvPr userDrawn="1"/>
          </p:nvGrpSpPr>
          <p:grpSpPr bwMode="auto">
            <a:xfrm>
              <a:off x="5893" y="2886"/>
              <a:ext cx="466" cy="115"/>
              <a:chOff x="5893" y="2886"/>
              <a:chExt cx="466" cy="115"/>
            </a:xfrm>
          </p:grpSpPr>
          <p:sp>
            <p:nvSpPr>
              <p:cNvPr id="8252" name="Rectangle 106"/>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53" name="Rectangle 107"/>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54" name="Rectangle 108"/>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55" name="Rectangle 109"/>
              <p:cNvSpPr>
                <a:spLocks noChangeArrowheads="1"/>
              </p:cNvSpPr>
              <p:nvPr userDrawn="1"/>
            </p:nvSpPr>
            <p:spPr bwMode="auto">
              <a:xfrm flipV="1">
                <a:off x="5893" y="2886"/>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2" name="Group 110"/>
            <p:cNvGrpSpPr>
              <a:grpSpLocks/>
            </p:cNvGrpSpPr>
            <p:nvPr userDrawn="1"/>
          </p:nvGrpSpPr>
          <p:grpSpPr bwMode="auto">
            <a:xfrm>
              <a:off x="5893" y="3022"/>
              <a:ext cx="466" cy="115"/>
              <a:chOff x="5893" y="3022"/>
              <a:chExt cx="466" cy="115"/>
            </a:xfrm>
          </p:grpSpPr>
          <p:sp>
            <p:nvSpPr>
              <p:cNvPr id="8248" name="Rectangle 111"/>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49" name="Rectangle 112"/>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50" name="Rectangle 113"/>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51" name="Rectangle 114"/>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3" name="Group 115"/>
            <p:cNvGrpSpPr>
              <a:grpSpLocks/>
            </p:cNvGrpSpPr>
            <p:nvPr userDrawn="1"/>
          </p:nvGrpSpPr>
          <p:grpSpPr bwMode="auto">
            <a:xfrm>
              <a:off x="5893" y="3158"/>
              <a:ext cx="466" cy="115"/>
              <a:chOff x="5893" y="3158"/>
              <a:chExt cx="466" cy="115"/>
            </a:xfrm>
          </p:grpSpPr>
          <p:sp>
            <p:nvSpPr>
              <p:cNvPr id="8244" name="Rectangle 116"/>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45" name="Rectangle 117"/>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46" name="Rectangle 118"/>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47" name="Rectangle 119"/>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4" name="Group 120"/>
            <p:cNvGrpSpPr>
              <a:grpSpLocks/>
            </p:cNvGrpSpPr>
            <p:nvPr userDrawn="1"/>
          </p:nvGrpSpPr>
          <p:grpSpPr bwMode="auto">
            <a:xfrm>
              <a:off x="5893" y="3385"/>
              <a:ext cx="466" cy="115"/>
              <a:chOff x="5893" y="3385"/>
              <a:chExt cx="466" cy="115"/>
            </a:xfrm>
          </p:grpSpPr>
          <p:sp>
            <p:nvSpPr>
              <p:cNvPr id="8240" name="Rectangle 121"/>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41" name="Rectangle 122"/>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42" name="Rectangle 123"/>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43" name="Rectangle 124"/>
              <p:cNvSpPr>
                <a:spLocks noChangeArrowheads="1"/>
              </p:cNvSpPr>
              <p:nvPr userDrawn="1"/>
            </p:nvSpPr>
            <p:spPr bwMode="auto">
              <a:xfrm flipV="1">
                <a:off x="5893" y="3385"/>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5" name="Group 125"/>
            <p:cNvGrpSpPr>
              <a:grpSpLocks/>
            </p:cNvGrpSpPr>
            <p:nvPr userDrawn="1"/>
          </p:nvGrpSpPr>
          <p:grpSpPr bwMode="auto">
            <a:xfrm>
              <a:off x="5893" y="3521"/>
              <a:ext cx="466" cy="115"/>
              <a:chOff x="5893" y="3521"/>
              <a:chExt cx="466" cy="115"/>
            </a:xfrm>
          </p:grpSpPr>
          <p:sp>
            <p:nvSpPr>
              <p:cNvPr id="8236" name="Rectangle 126"/>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37" name="Rectangle 127"/>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38" name="Rectangle 128"/>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39" name="Rectangle 129"/>
              <p:cNvSpPr>
                <a:spLocks noChangeArrowheads="1"/>
              </p:cNvSpPr>
              <p:nvPr userDrawn="1"/>
            </p:nvSpPr>
            <p:spPr bwMode="auto">
              <a:xfrm flipV="1">
                <a:off x="5893" y="3521"/>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6" name="Group 130"/>
            <p:cNvGrpSpPr>
              <a:grpSpLocks/>
            </p:cNvGrpSpPr>
            <p:nvPr userDrawn="1"/>
          </p:nvGrpSpPr>
          <p:grpSpPr bwMode="auto">
            <a:xfrm>
              <a:off x="5893" y="3657"/>
              <a:ext cx="466" cy="115"/>
              <a:chOff x="5893" y="3657"/>
              <a:chExt cx="466" cy="115"/>
            </a:xfrm>
          </p:grpSpPr>
          <p:sp>
            <p:nvSpPr>
              <p:cNvPr id="8232" name="Rectangle 131"/>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33" name="Rectangle 132"/>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34" name="Rectangle 133"/>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35" name="Rectangle 134"/>
              <p:cNvSpPr>
                <a:spLocks noChangeArrowheads="1"/>
              </p:cNvSpPr>
              <p:nvPr userDrawn="1"/>
            </p:nvSpPr>
            <p:spPr bwMode="auto">
              <a:xfrm flipV="1">
                <a:off x="5893" y="3657"/>
                <a:ext cx="117" cy="115"/>
              </a:xfrm>
              <a:prstGeom prst="rect">
                <a:avLst/>
              </a:prstGeom>
              <a:solidFill>
                <a:srgbClr val="0000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7" name="Group 135"/>
            <p:cNvGrpSpPr>
              <a:grpSpLocks/>
            </p:cNvGrpSpPr>
            <p:nvPr userDrawn="1"/>
          </p:nvGrpSpPr>
          <p:grpSpPr bwMode="auto">
            <a:xfrm>
              <a:off x="5893" y="3884"/>
              <a:ext cx="466" cy="115"/>
              <a:chOff x="5893" y="3884"/>
              <a:chExt cx="466" cy="115"/>
            </a:xfrm>
          </p:grpSpPr>
          <p:sp>
            <p:nvSpPr>
              <p:cNvPr id="8228" name="Rectangle 136"/>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29" name="Rectangle 137"/>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30" name="Rectangle 138"/>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31" name="Rectangle 139"/>
              <p:cNvSpPr>
                <a:spLocks noChangeArrowheads="1"/>
              </p:cNvSpPr>
              <p:nvPr userDrawn="1"/>
            </p:nvSpPr>
            <p:spPr bwMode="auto">
              <a:xfrm flipV="1">
                <a:off x="5893" y="3884"/>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8" name="Group 140"/>
            <p:cNvGrpSpPr>
              <a:grpSpLocks/>
            </p:cNvGrpSpPr>
            <p:nvPr userDrawn="1"/>
          </p:nvGrpSpPr>
          <p:grpSpPr bwMode="auto">
            <a:xfrm>
              <a:off x="5893" y="4026"/>
              <a:ext cx="466" cy="115"/>
              <a:chOff x="5893" y="4026"/>
              <a:chExt cx="466" cy="115"/>
            </a:xfrm>
          </p:grpSpPr>
          <p:sp>
            <p:nvSpPr>
              <p:cNvPr id="8224" name="Rectangle 141"/>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25" name="Rectangle 142"/>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26" name="Rectangle 143"/>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27" name="Rectangle 144"/>
              <p:cNvSpPr>
                <a:spLocks noChangeArrowheads="1"/>
              </p:cNvSpPr>
              <p:nvPr userDrawn="1"/>
            </p:nvSpPr>
            <p:spPr bwMode="auto">
              <a:xfrm flipV="1">
                <a:off x="5893" y="4026"/>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8219" name="Group 145"/>
            <p:cNvGrpSpPr>
              <a:grpSpLocks/>
            </p:cNvGrpSpPr>
            <p:nvPr userDrawn="1"/>
          </p:nvGrpSpPr>
          <p:grpSpPr bwMode="auto">
            <a:xfrm>
              <a:off x="5893" y="4167"/>
              <a:ext cx="466" cy="115"/>
              <a:chOff x="5893" y="4167"/>
              <a:chExt cx="466" cy="115"/>
            </a:xfrm>
          </p:grpSpPr>
          <p:sp>
            <p:nvSpPr>
              <p:cNvPr id="8220" name="Rectangle 146"/>
              <p:cNvSpPr>
                <a:spLocks noChangeArrowheads="1"/>
              </p:cNvSpPr>
              <p:nvPr userDrawn="1"/>
            </p:nvSpPr>
            <p:spPr bwMode="auto">
              <a:xfrm flipV="1">
                <a:off x="6010" y="4167"/>
                <a:ext cx="116" cy="115"/>
              </a:xfrm>
              <a:prstGeom prst="rect">
                <a:avLst/>
              </a:prstGeom>
              <a:solidFill>
                <a:srgbClr val="0099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21" name="Rectangle 147"/>
              <p:cNvSpPr>
                <a:spLocks noChangeArrowheads="1"/>
              </p:cNvSpPr>
              <p:nvPr userDrawn="1"/>
            </p:nvSpPr>
            <p:spPr bwMode="auto">
              <a:xfrm flipV="1">
                <a:off x="6126" y="4167"/>
                <a:ext cx="116" cy="115"/>
              </a:xfrm>
              <a:prstGeom prst="rect">
                <a:avLst/>
              </a:prstGeom>
              <a:solidFill>
                <a:srgbClr val="333399"/>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22" name="Rectangle 148"/>
              <p:cNvSpPr>
                <a:spLocks noChangeArrowheads="1"/>
              </p:cNvSpPr>
              <p:nvPr userDrawn="1"/>
            </p:nvSpPr>
            <p:spPr bwMode="auto">
              <a:xfrm flipV="1">
                <a:off x="6242" y="4167"/>
                <a:ext cx="117" cy="115"/>
              </a:xfrm>
              <a:prstGeom prst="rect">
                <a:avLst/>
              </a:prstGeom>
              <a:solidFill>
                <a:srgbClr val="BBE0E3"/>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8223" name="Rectangle 149"/>
              <p:cNvSpPr>
                <a:spLocks noChangeArrowheads="1"/>
              </p:cNvSpPr>
              <p:nvPr userDrawn="1"/>
            </p:nvSpPr>
            <p:spPr bwMode="auto">
              <a:xfrm flipV="1">
                <a:off x="5893" y="4167"/>
                <a:ext cx="117" cy="115"/>
              </a:xfrm>
              <a:prstGeom prst="rect">
                <a:avLst/>
              </a:prstGeom>
              <a:solidFill>
                <a:srgbClr val="80808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8204" name="Rectangle 150"/>
          <p:cNvSpPr>
            <a:spLocks noChangeArrowheads="1"/>
          </p:cNvSpPr>
          <p:nvPr/>
        </p:nvSpPr>
        <p:spPr bwMode="auto">
          <a:xfrm>
            <a:off x="9253560" y="1341749"/>
            <a:ext cx="1192420" cy="177753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buFont typeface="Arial" pitchFamily="34" charset="0"/>
              <a:buNone/>
            </a:pPr>
            <a:r>
              <a:rPr lang="zh-CN" altLang="en-US" sz="1125" dirty="0">
                <a:solidFill>
                  <a:srgbClr val="FFFFFF"/>
                </a:solidFill>
              </a:rPr>
              <a:t>配色参考方案：</a:t>
            </a:r>
          </a:p>
          <a:p>
            <a:pPr eaLnBrk="0" hangingPunct="0">
              <a:lnSpc>
                <a:spcPct val="120000"/>
              </a:lnSpc>
              <a:spcBef>
                <a:spcPct val="20000"/>
              </a:spcBef>
              <a:buFont typeface="Arial" pitchFamily="34" charset="0"/>
              <a:buNone/>
            </a:pPr>
            <a:r>
              <a:rPr lang="zh-CN" altLang="en-US" sz="1125" dirty="0">
                <a:solidFill>
                  <a:srgbClr val="FFFFFF"/>
                </a:solidFill>
              </a:rPr>
              <a:t>建议同一页面内不超过四种颜色，以下是</a:t>
            </a:r>
            <a:r>
              <a:rPr lang="en-US" altLang="zh-CN" sz="1125" dirty="0">
                <a:solidFill>
                  <a:srgbClr val="FFFFFF"/>
                </a:solidFill>
              </a:rPr>
              <a:t>13</a:t>
            </a:r>
            <a:r>
              <a:rPr lang="zh-CN" altLang="en-US" sz="1125" dirty="0">
                <a:solidFill>
                  <a:srgbClr val="FFFFFF"/>
                </a:solidFill>
              </a:rPr>
              <a:t>组配色方案，同一页面内只选择一组使用。（仅供参考）</a:t>
            </a:r>
          </a:p>
        </p:txBody>
      </p:sp>
      <p:sp>
        <p:nvSpPr>
          <p:cNvPr id="8205" name="Rectangle 151"/>
          <p:cNvSpPr>
            <a:spLocks noChangeArrowheads="1"/>
          </p:cNvSpPr>
          <p:nvPr/>
        </p:nvSpPr>
        <p:spPr bwMode="auto">
          <a:xfrm>
            <a:off x="9253558" y="7942"/>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buFont typeface="Arial" pitchFamily="34" charset="0"/>
              <a:buNone/>
            </a:pPr>
            <a:r>
              <a:rPr lang="zh-CN" altLang="en-US" sz="1125" dirty="0">
                <a:solidFill>
                  <a:srgbClr val="FFFFFF"/>
                </a:solidFill>
              </a:rPr>
              <a:t>客户或者合作伙伴的标志放在右上角</a:t>
            </a:r>
            <a:r>
              <a:rPr lang="en-US" altLang="zh-CN" sz="1125" dirty="0">
                <a:solidFill>
                  <a:srgbClr val="FFFFFF"/>
                </a:solidFill>
              </a:rPr>
              <a:t>.</a:t>
            </a:r>
            <a:endParaRPr lang="zh-CN" altLang="en-US" sz="1125" dirty="0">
              <a:solidFill>
                <a:srgbClr val="FFFFFF"/>
              </a:solidFill>
            </a:endParaRPr>
          </a:p>
        </p:txBody>
      </p:sp>
      <p:pic>
        <p:nvPicPr>
          <p:cNvPr id="8272" name="Picture 80" descr="89738649副本"/>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1268707"/>
            <a:ext cx="9145588" cy="2951846"/>
          </a:xfrm>
          <a:prstGeom prst="rect">
            <a:avLst/>
          </a:prstGeom>
          <a:noFill/>
          <a:extLst>
            <a:ext uri="{909E8E84-426E-40DD-AFC4-6F175D3DCCD1}">
              <a14:hiddenFill xmlns:a14="http://schemas.microsoft.com/office/drawing/2010/main">
                <a:solidFill>
                  <a:srgbClr val="FFFFFF"/>
                </a:solidFill>
              </a14:hiddenFill>
            </a:ext>
          </a:extLst>
        </p:spPr>
      </p:pic>
      <p:pic>
        <p:nvPicPr>
          <p:cNvPr id="8273" name="Picture 81" descr="未标题-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84357" y="1268708"/>
            <a:ext cx="3061231" cy="2950258"/>
          </a:xfrm>
          <a:prstGeom prst="rect">
            <a:avLst/>
          </a:prstGeom>
          <a:noFill/>
          <a:extLst>
            <a:ext uri="{909E8E84-426E-40DD-AFC4-6F175D3DCCD1}">
              <a14:hiddenFill xmlns:a14="http://schemas.microsoft.com/office/drawing/2010/main">
                <a:solidFill>
                  <a:srgbClr val="FFFFFF"/>
                </a:solidFill>
              </a14:hiddenFill>
            </a:ext>
          </a:extLst>
        </p:spPr>
      </p:pic>
      <p:sp>
        <p:nvSpPr>
          <p:cNvPr id="2" name="Text Box 7"/>
          <p:cNvSpPr txBox="1">
            <a:spLocks noChangeArrowheads="1"/>
          </p:cNvSpPr>
          <p:nvPr/>
        </p:nvSpPr>
        <p:spPr bwMode="auto">
          <a:xfrm>
            <a:off x="7230732" y="3796594"/>
            <a:ext cx="1152900" cy="242384"/>
          </a:xfrm>
          <a:prstGeom prst="rect">
            <a:avLst/>
          </a:prstGeom>
          <a:noFill/>
          <a:ln>
            <a:noFill/>
          </a:ln>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50" tIns="45725" rIns="91450" bIns="45725">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975" dirty="0" smtClean="0">
                <a:solidFill>
                  <a:srgbClr val="FFFFFF"/>
                </a:solidFill>
                <a:latin typeface="FrutigerNext LT Bold" pitchFamily="34" charset="0"/>
                <a:ea typeface="MS PGothic" pitchFamily="34" charset="-128"/>
              </a:rPr>
              <a:t>www.huawei.com</a:t>
            </a:r>
          </a:p>
        </p:txBody>
      </p:sp>
    </p:spTree>
  </p:cSld>
  <p:clrMap bg1="lt1" tx1="dk1" bg2="lt2" tx2="dk2" accent1="accent1" accent2="accent2" accent3="accent3" accent4="accent4" accent5="accent5" accent6="accent6" hlink="hlink" folHlink="folHlink"/>
  <p:sldLayoutIdLst>
    <p:sldLayoutId id="2147483820"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25" b="1">
          <a:solidFill>
            <a:schemeClr val="tx1"/>
          </a:solidFill>
          <a:latin typeface="黑体" pitchFamily="49" charset="-122"/>
          <a:ea typeface="黑体" pitchFamily="49" charset="-122"/>
          <a:cs typeface="+mj-cs"/>
        </a:defRPr>
      </a:lvl1pPr>
      <a:lvl2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25" b="1">
          <a:solidFill>
            <a:schemeClr val="tx1"/>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99" indent="-285769" algn="l" rtl="0" eaLnBrk="0" fontAlgn="base" hangingPunct="0">
        <a:spcBef>
          <a:spcPct val="20000"/>
        </a:spcBef>
        <a:spcAft>
          <a:spcPct val="0"/>
        </a:spcAft>
        <a:buFont typeface="Arial" pitchFamily="34" charset="0"/>
        <a:buChar char="›"/>
        <a:defRPr sz="2025">
          <a:solidFill>
            <a:schemeClr val="tx1"/>
          </a:solidFill>
          <a:latin typeface="+mn-lt"/>
          <a:ea typeface="+mn-ea"/>
          <a:cs typeface="+mn-cs"/>
        </a:defRPr>
      </a:lvl2pPr>
      <a:lvl3pPr marL="1143076" indent="-228615"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307" indent="-228615" algn="l" rtl="0" eaLnBrk="0" fontAlgn="base" hangingPunct="0">
        <a:spcBef>
          <a:spcPct val="20000"/>
        </a:spcBef>
        <a:spcAft>
          <a:spcPct val="0"/>
        </a:spcAft>
        <a:buChar char="–"/>
        <a:defRPr sz="1575">
          <a:solidFill>
            <a:schemeClr val="tx1"/>
          </a:solidFill>
          <a:latin typeface="+mn-lt"/>
          <a:ea typeface="+mn-ea"/>
          <a:cs typeface="+mn-cs"/>
        </a:defRPr>
      </a:lvl4pPr>
      <a:lvl5pPr marL="2057537" indent="-228615" algn="l" rtl="0" eaLnBrk="0" fontAlgn="base" hangingPunct="0">
        <a:spcBef>
          <a:spcPct val="20000"/>
        </a:spcBef>
        <a:spcAft>
          <a:spcPct val="0"/>
        </a:spcAft>
        <a:buFont typeface="Arial" pitchFamily="34" charset="0"/>
        <a:buChar char="~"/>
        <a:defRPr sz="1575">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ChangeArrowheads="1"/>
          </p:cNvSpPr>
          <p:nvPr/>
        </p:nvSpPr>
        <p:spPr bwMode="auto">
          <a:xfrm>
            <a:off x="0" y="3230127"/>
            <a:ext cx="9145588" cy="399336"/>
          </a:xfrm>
          <a:prstGeom prst="rect">
            <a:avLst/>
          </a:prstGeom>
          <a:solidFill>
            <a:srgbClr val="EAEAE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35" tIns="45718" rIns="91435" bIns="45718" anchor="ctr">
            <a:spAutoFit/>
          </a:bodyPr>
          <a:lstStyle/>
          <a:p>
            <a:pPr>
              <a:lnSpc>
                <a:spcPct val="140000"/>
              </a:lnSpc>
              <a:buClr>
                <a:srgbClr val="FF0000"/>
              </a:buClr>
              <a:buSzPct val="90000"/>
              <a:buFont typeface="Wingdings" pitchFamily="2" charset="2"/>
              <a:buChar char="l"/>
            </a:pPr>
            <a:endParaRPr lang="zh-CN" altLang="en-US" sz="1425" b="1" dirty="0">
              <a:solidFill>
                <a:srgbClr val="000000"/>
              </a:solidFill>
              <a:latin typeface="Arial" pitchFamily="34" charset="0"/>
              <a:ea typeface="华文细黑" pitchFamily="2" charset="-122"/>
            </a:endParaRPr>
          </a:p>
        </p:txBody>
      </p:sp>
      <p:sp>
        <p:nvSpPr>
          <p:cNvPr id="9219" name="Rectangle 13"/>
          <p:cNvSpPr>
            <a:spLocks noGrp="1" noChangeArrowheads="1"/>
          </p:cNvSpPr>
          <p:nvPr>
            <p:ph type="title"/>
          </p:nvPr>
        </p:nvSpPr>
        <p:spPr bwMode="auto">
          <a:xfrm>
            <a:off x="755781" y="325517"/>
            <a:ext cx="7634026" cy="871739"/>
          </a:xfrm>
          <a:prstGeom prst="rect">
            <a:avLst/>
          </a:prstGeom>
          <a:noFill/>
          <a:ln>
            <a:noFill/>
          </a:ln>
          <a:effectLst/>
          <a:extLst>
            <a:ext uri="{909E8E84-426E-40DD-AFC4-6F175D3DCCD1}">
              <a14:hiddenFill xmlns:a14="http://schemas.microsoft.com/office/drawing/2010/main">
                <a:solidFill>
                  <a:srgbClr val="FFCC6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3429" rIns="106860" bIns="53429" numCol="1" anchor="ctr" anchorCtr="0" compatLnSpc="1">
            <a:prstTxWarp prst="textNoShape">
              <a:avLst/>
            </a:prstTxWarp>
          </a:bodyPr>
          <a:lstStyle/>
          <a:p>
            <a:pPr lvl="0"/>
            <a:r>
              <a:rPr lang="zh-CN" altLang="en-US" dirty="0" smtClean="0"/>
              <a:t>单击此处编辑母版标题样式</a:t>
            </a:r>
          </a:p>
        </p:txBody>
      </p:sp>
      <p:sp>
        <p:nvSpPr>
          <p:cNvPr id="9220" name="Rectangle 68"/>
          <p:cNvSpPr>
            <a:spLocks noGrp="1" noChangeArrowheads="1"/>
          </p:cNvSpPr>
          <p:nvPr>
            <p:ph type="body" idx="1"/>
          </p:nvPr>
        </p:nvSpPr>
        <p:spPr bwMode="auto">
          <a:xfrm>
            <a:off x="755781" y="1629155"/>
            <a:ext cx="7634026" cy="4195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6877" tIns="53437" rIns="106877" bIns="53437"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9221" name="Rectangle 13"/>
          <p:cNvSpPr>
            <a:spLocks noChangeArrowheads="1"/>
          </p:cNvSpPr>
          <p:nvPr/>
        </p:nvSpPr>
        <p:spPr bwMode="auto">
          <a:xfrm>
            <a:off x="-1952963" y="692312"/>
            <a:ext cx="1844995" cy="567384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标题</a:t>
            </a:r>
            <a:r>
              <a:rPr lang="en-US" altLang="zh-CN" sz="1125" dirty="0">
                <a:solidFill>
                  <a:srgbClr val="FFFFFF"/>
                </a:solidFill>
              </a:rPr>
              <a:t>:32-</a:t>
            </a:r>
            <a:r>
              <a:rPr lang="en-US" altLang="zh-CN" sz="1125" dirty="0" err="1">
                <a:solidFill>
                  <a:srgbClr val="FFFFFF"/>
                </a:solidFill>
              </a:rPr>
              <a:t>35pt</a:t>
            </a:r>
            <a:r>
              <a:rPr lang="en-US" altLang="zh-CN" sz="1125" dirty="0">
                <a:solidFill>
                  <a:srgbClr val="FFFFFF"/>
                </a:solidFill>
              </a:rPr>
              <a: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a:t>
            </a:r>
            <a:r>
              <a:rPr lang="en-US" altLang="zh-CN" sz="1125" dirty="0" err="1">
                <a:solidFill>
                  <a:srgbClr val="FFFFFF"/>
                </a:solidFill>
              </a:rPr>
              <a:t>R153</a:t>
            </a:r>
            <a:r>
              <a:rPr lang="en-US" altLang="zh-CN" sz="1125" dirty="0">
                <a:solidFill>
                  <a:srgbClr val="FFFFFF"/>
                </a:solidFill>
              </a:rPr>
              <a:t> </a:t>
            </a:r>
            <a:r>
              <a:rPr lang="en-US" altLang="zh-CN" sz="1125" dirty="0" err="1">
                <a:solidFill>
                  <a:srgbClr val="FFFFFF"/>
                </a:solidFill>
              </a:rPr>
              <a:t>G0</a:t>
            </a:r>
            <a:r>
              <a:rPr lang="en-US" altLang="zh-CN" sz="1125" dirty="0">
                <a:solidFill>
                  <a:srgbClr val="FFFFFF"/>
                </a:solidFill>
              </a:rPr>
              <a:t> </a:t>
            </a:r>
            <a:r>
              <a:rPr lang="en-US" altLang="zh-CN" sz="1125" dirty="0" err="1">
                <a:solidFill>
                  <a:srgbClr val="FFFFFF"/>
                </a:solidFill>
              </a:rPr>
              <a:t>B0</a:t>
            </a: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Medium</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标题</a:t>
            </a:r>
            <a:r>
              <a:rPr lang="en-US" altLang="zh-CN" sz="1125" dirty="0">
                <a:solidFill>
                  <a:srgbClr val="FFFFFF"/>
                </a:solidFill>
              </a:rPr>
              <a:t>:30-</a:t>
            </a:r>
            <a:r>
              <a:rPr lang="en-US" altLang="zh-CN" sz="1125" dirty="0" err="1">
                <a:solidFill>
                  <a:srgbClr val="FFFFFF"/>
                </a:solidFill>
              </a:rPr>
              <a:t>32pt</a:t>
            </a:r>
            <a:r>
              <a:rPr lang="en-US" altLang="zh-CN" sz="1125" dirty="0">
                <a:solidFill>
                  <a:srgbClr val="FFFFFF"/>
                </a:solidFill>
              </a:rPr>
              <a: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a:t>
            </a:r>
            <a:r>
              <a:rPr lang="en-US" altLang="zh-CN" sz="1125" dirty="0" err="1">
                <a:solidFill>
                  <a:srgbClr val="FFFFFF"/>
                </a:solidFill>
              </a:rPr>
              <a:t>R153</a:t>
            </a:r>
            <a:r>
              <a:rPr lang="en-US" altLang="zh-CN" sz="1125" dirty="0">
                <a:solidFill>
                  <a:srgbClr val="FFFFFF"/>
                </a:solidFill>
              </a:rPr>
              <a:t> </a:t>
            </a:r>
            <a:r>
              <a:rPr lang="en-US" altLang="zh-CN" sz="1125" dirty="0" err="1">
                <a:solidFill>
                  <a:srgbClr val="FFFFFF"/>
                </a:solidFill>
              </a:rPr>
              <a:t>G0</a:t>
            </a:r>
            <a:r>
              <a:rPr lang="en-US" altLang="zh-CN" sz="1125" dirty="0">
                <a:solidFill>
                  <a:srgbClr val="FFFFFF"/>
                </a:solidFill>
              </a:rPr>
              <a:t> </a:t>
            </a:r>
            <a:r>
              <a:rPr lang="en-US" altLang="zh-CN" sz="1125" dirty="0" err="1">
                <a:solidFill>
                  <a:srgbClr val="FFFFFF"/>
                </a:solidFill>
              </a:rPr>
              <a:t>B0</a:t>
            </a: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黑体</a:t>
            </a: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正文</a:t>
            </a:r>
            <a:r>
              <a:rPr lang="en-US" altLang="zh-CN" sz="1125" dirty="0">
                <a:solidFill>
                  <a:srgbClr val="FFFFFF"/>
                </a:solidFill>
              </a:rPr>
              <a:t>:20-</a:t>
            </a:r>
            <a:r>
              <a:rPr lang="en-US" altLang="zh-CN" sz="1125" dirty="0" err="1">
                <a:solidFill>
                  <a:srgbClr val="FFFFFF"/>
                </a:solidFill>
              </a:rPr>
              <a:t>22pt</a:t>
            </a: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 </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 :</a:t>
            </a:r>
            <a:r>
              <a:rPr lang="en-US" altLang="zh-CN" sz="1125" dirty="0" err="1">
                <a:solidFill>
                  <a:srgbClr val="FFFFFF"/>
                </a:solidFill>
              </a:rPr>
              <a:t>18pt</a:t>
            </a:r>
            <a:r>
              <a:rPr lang="en-US" altLang="zh-CN" sz="1125" dirty="0">
                <a:solidFill>
                  <a:srgbClr val="FFFFFF"/>
                </a:solidFill>
              </a:rPr>
              <a:t>  </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Regular</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正文</a:t>
            </a:r>
            <a:r>
              <a:rPr lang="en-US" altLang="zh-CN" sz="1125" dirty="0">
                <a:solidFill>
                  <a:srgbClr val="FFFFFF"/>
                </a:solidFill>
              </a:rPr>
              <a:t>:18-</a:t>
            </a:r>
            <a:r>
              <a:rPr lang="en-US" altLang="zh-CN" sz="1125" dirty="0" err="1">
                <a:solidFill>
                  <a:srgbClr val="FFFFFF"/>
                </a:solidFill>
              </a:rPr>
              <a:t>20pt</a:t>
            </a: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a:t>
            </a:r>
            <a:r>
              <a:rPr lang="en-US" altLang="zh-CN" sz="1125" dirty="0" err="1">
                <a:solidFill>
                  <a:srgbClr val="FFFFFF"/>
                </a:solidFill>
              </a:rPr>
              <a:t>18pt</a:t>
            </a:r>
            <a:r>
              <a:rPr lang="en-US" altLang="zh-CN" sz="1125" dirty="0">
                <a:solidFill>
                  <a:srgbClr val="FFFFFF"/>
                </a:solidFill>
              </a:rPr>
              <a: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细黑体</a:t>
            </a:r>
            <a:r>
              <a:rPr lang="zh-CN" altLang="en-US" sz="1125" dirty="0">
                <a:solidFill>
                  <a:srgbClr val="FFFFFF"/>
                </a:solidFill>
                <a:latin typeface="Arial" pitchFamily="34" charset="0"/>
                <a:ea typeface="黑体" pitchFamily="49" charset="-122"/>
              </a:rPr>
              <a:t> </a:t>
            </a:r>
          </a:p>
        </p:txBody>
      </p:sp>
      <p:grpSp>
        <p:nvGrpSpPr>
          <p:cNvPr id="9222" name="Group 14"/>
          <p:cNvGrpSpPr>
            <a:grpSpLocks/>
          </p:cNvGrpSpPr>
          <p:nvPr/>
        </p:nvGrpSpPr>
        <p:grpSpPr bwMode="auto">
          <a:xfrm>
            <a:off x="9326596" y="3512366"/>
            <a:ext cx="919323" cy="3224959"/>
            <a:chOff x="5839" y="2251"/>
            <a:chExt cx="579" cy="2031"/>
          </a:xfrm>
        </p:grpSpPr>
        <p:sp>
          <p:nvSpPr>
            <p:cNvPr id="9225" name="Rectangle 15"/>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9226" name="Group 16"/>
            <p:cNvGrpSpPr>
              <a:grpSpLocks/>
            </p:cNvGrpSpPr>
            <p:nvPr userDrawn="1"/>
          </p:nvGrpSpPr>
          <p:grpSpPr bwMode="auto">
            <a:xfrm>
              <a:off x="5893" y="2387"/>
              <a:ext cx="466" cy="115"/>
              <a:chOff x="5893" y="2387"/>
              <a:chExt cx="466" cy="115"/>
            </a:xfrm>
          </p:grpSpPr>
          <p:sp>
            <p:nvSpPr>
              <p:cNvPr id="9287" name="Rectangle 17"/>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88" name="Rectangle 18"/>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89" name="Rectangle 19"/>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90" name="Rectangle 20"/>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27" name="Group 21"/>
            <p:cNvGrpSpPr>
              <a:grpSpLocks/>
            </p:cNvGrpSpPr>
            <p:nvPr userDrawn="1"/>
          </p:nvGrpSpPr>
          <p:grpSpPr bwMode="auto">
            <a:xfrm>
              <a:off x="5893" y="2523"/>
              <a:ext cx="466" cy="115"/>
              <a:chOff x="5893" y="2523"/>
              <a:chExt cx="466" cy="115"/>
            </a:xfrm>
          </p:grpSpPr>
          <p:sp>
            <p:nvSpPr>
              <p:cNvPr id="9283" name="Rectangle 22"/>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84" name="Rectangle 23"/>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85" name="Rectangle 24"/>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86" name="Rectangle 25"/>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28" name="Group 26"/>
            <p:cNvGrpSpPr>
              <a:grpSpLocks/>
            </p:cNvGrpSpPr>
            <p:nvPr userDrawn="1"/>
          </p:nvGrpSpPr>
          <p:grpSpPr bwMode="auto">
            <a:xfrm>
              <a:off x="5893" y="2659"/>
              <a:ext cx="466" cy="115"/>
              <a:chOff x="5893" y="2659"/>
              <a:chExt cx="466" cy="115"/>
            </a:xfrm>
          </p:grpSpPr>
          <p:sp>
            <p:nvSpPr>
              <p:cNvPr id="9279" name="Rectangle 27"/>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80" name="Rectangle 28"/>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81" name="Rectangle 29"/>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82" name="Rectangle 30"/>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29" name="Group 31"/>
            <p:cNvGrpSpPr>
              <a:grpSpLocks/>
            </p:cNvGrpSpPr>
            <p:nvPr userDrawn="1"/>
          </p:nvGrpSpPr>
          <p:grpSpPr bwMode="auto">
            <a:xfrm>
              <a:off x="5893" y="2251"/>
              <a:ext cx="466" cy="119"/>
              <a:chOff x="5893" y="2251"/>
              <a:chExt cx="466" cy="119"/>
            </a:xfrm>
          </p:grpSpPr>
          <p:sp>
            <p:nvSpPr>
              <p:cNvPr id="9275" name="Rectangle 32"/>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76" name="Rectangle 33"/>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77" name="Rectangle 34"/>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78" name="Rectangle 35"/>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0" name="Group 36"/>
            <p:cNvGrpSpPr>
              <a:grpSpLocks/>
            </p:cNvGrpSpPr>
            <p:nvPr userDrawn="1"/>
          </p:nvGrpSpPr>
          <p:grpSpPr bwMode="auto">
            <a:xfrm>
              <a:off x="5893" y="2886"/>
              <a:ext cx="466" cy="115"/>
              <a:chOff x="5893" y="2886"/>
              <a:chExt cx="466" cy="115"/>
            </a:xfrm>
          </p:grpSpPr>
          <p:sp>
            <p:nvSpPr>
              <p:cNvPr id="9271" name="Rectangle 37"/>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72" name="Rectangle 38"/>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73" name="Rectangle 39"/>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74" name="Rectangle 40"/>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1" name="Group 41"/>
            <p:cNvGrpSpPr>
              <a:grpSpLocks/>
            </p:cNvGrpSpPr>
            <p:nvPr userDrawn="1"/>
          </p:nvGrpSpPr>
          <p:grpSpPr bwMode="auto">
            <a:xfrm>
              <a:off x="5893" y="3022"/>
              <a:ext cx="466" cy="115"/>
              <a:chOff x="5893" y="3022"/>
              <a:chExt cx="466" cy="115"/>
            </a:xfrm>
          </p:grpSpPr>
          <p:sp>
            <p:nvSpPr>
              <p:cNvPr id="9267" name="Rectangle 42"/>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68" name="Rectangle 43"/>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69" name="Rectangle 44"/>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70" name="Rectangle 45"/>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2" name="Group 46"/>
            <p:cNvGrpSpPr>
              <a:grpSpLocks/>
            </p:cNvGrpSpPr>
            <p:nvPr userDrawn="1"/>
          </p:nvGrpSpPr>
          <p:grpSpPr bwMode="auto">
            <a:xfrm>
              <a:off x="5893" y="3158"/>
              <a:ext cx="466" cy="115"/>
              <a:chOff x="5893" y="3158"/>
              <a:chExt cx="466" cy="115"/>
            </a:xfrm>
          </p:grpSpPr>
          <p:sp>
            <p:nvSpPr>
              <p:cNvPr id="9263" name="Rectangle 47"/>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64" name="Rectangle 48"/>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65" name="Rectangle 49"/>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66" name="Rectangle 50"/>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3" name="Group 51"/>
            <p:cNvGrpSpPr>
              <a:grpSpLocks/>
            </p:cNvGrpSpPr>
            <p:nvPr userDrawn="1"/>
          </p:nvGrpSpPr>
          <p:grpSpPr bwMode="auto">
            <a:xfrm>
              <a:off x="5893" y="3385"/>
              <a:ext cx="466" cy="115"/>
              <a:chOff x="5893" y="3385"/>
              <a:chExt cx="466" cy="115"/>
            </a:xfrm>
          </p:grpSpPr>
          <p:sp>
            <p:nvSpPr>
              <p:cNvPr id="9259" name="Rectangle 52"/>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60" name="Rectangle 53"/>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61" name="Rectangle 54"/>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62" name="Rectangle 55"/>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4" name="Group 56"/>
            <p:cNvGrpSpPr>
              <a:grpSpLocks/>
            </p:cNvGrpSpPr>
            <p:nvPr userDrawn="1"/>
          </p:nvGrpSpPr>
          <p:grpSpPr bwMode="auto">
            <a:xfrm>
              <a:off x="5893" y="3521"/>
              <a:ext cx="466" cy="115"/>
              <a:chOff x="5893" y="3521"/>
              <a:chExt cx="466" cy="115"/>
            </a:xfrm>
          </p:grpSpPr>
          <p:sp>
            <p:nvSpPr>
              <p:cNvPr id="9255" name="Rectangle 57"/>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56" name="Rectangle 58"/>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57" name="Rectangle 59"/>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58" name="Rectangle 60"/>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5" name="Group 61"/>
            <p:cNvGrpSpPr>
              <a:grpSpLocks/>
            </p:cNvGrpSpPr>
            <p:nvPr userDrawn="1"/>
          </p:nvGrpSpPr>
          <p:grpSpPr bwMode="auto">
            <a:xfrm>
              <a:off x="5893" y="3657"/>
              <a:ext cx="466" cy="115"/>
              <a:chOff x="5893" y="3657"/>
              <a:chExt cx="466" cy="115"/>
            </a:xfrm>
          </p:grpSpPr>
          <p:sp>
            <p:nvSpPr>
              <p:cNvPr id="9251" name="Rectangle 62"/>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52" name="Rectangle 63"/>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53" name="Rectangle 64"/>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54" name="Rectangle 65"/>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6" name="Group 66"/>
            <p:cNvGrpSpPr>
              <a:grpSpLocks/>
            </p:cNvGrpSpPr>
            <p:nvPr userDrawn="1"/>
          </p:nvGrpSpPr>
          <p:grpSpPr bwMode="auto">
            <a:xfrm>
              <a:off x="5893" y="3884"/>
              <a:ext cx="466" cy="115"/>
              <a:chOff x="5893" y="3884"/>
              <a:chExt cx="466" cy="115"/>
            </a:xfrm>
          </p:grpSpPr>
          <p:sp>
            <p:nvSpPr>
              <p:cNvPr id="9247" name="Rectangle 67"/>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48" name="Rectangle 68"/>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49" name="Rectangle 69"/>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50" name="Rectangle 70"/>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7" name="Group 71"/>
            <p:cNvGrpSpPr>
              <a:grpSpLocks/>
            </p:cNvGrpSpPr>
            <p:nvPr userDrawn="1"/>
          </p:nvGrpSpPr>
          <p:grpSpPr bwMode="auto">
            <a:xfrm>
              <a:off x="5893" y="4026"/>
              <a:ext cx="466" cy="115"/>
              <a:chOff x="5893" y="4026"/>
              <a:chExt cx="466" cy="115"/>
            </a:xfrm>
          </p:grpSpPr>
          <p:sp>
            <p:nvSpPr>
              <p:cNvPr id="9243" name="Rectangle 72"/>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44" name="Rectangle 73"/>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45" name="Rectangle 74"/>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46" name="Rectangle 75"/>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9238" name="Group 76"/>
            <p:cNvGrpSpPr>
              <a:grpSpLocks/>
            </p:cNvGrpSpPr>
            <p:nvPr userDrawn="1"/>
          </p:nvGrpSpPr>
          <p:grpSpPr bwMode="auto">
            <a:xfrm>
              <a:off x="5893" y="4167"/>
              <a:ext cx="466" cy="115"/>
              <a:chOff x="5893" y="4167"/>
              <a:chExt cx="466" cy="115"/>
            </a:xfrm>
          </p:grpSpPr>
          <p:sp>
            <p:nvSpPr>
              <p:cNvPr id="9239" name="Rectangle 77"/>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40" name="Rectangle 78"/>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41" name="Rectangle 79"/>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9242" name="Rectangle 80"/>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9223" name="Rectangle 81"/>
          <p:cNvSpPr>
            <a:spLocks noChangeArrowheads="1"/>
          </p:cNvSpPr>
          <p:nvPr/>
        </p:nvSpPr>
        <p:spPr bwMode="auto">
          <a:xfrm>
            <a:off x="9253560" y="1341749"/>
            <a:ext cx="1192420" cy="177753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buFont typeface="Arial" pitchFamily="34" charset="0"/>
              <a:buNone/>
            </a:pPr>
            <a:r>
              <a:rPr lang="zh-CN" altLang="en-US" sz="1125" dirty="0">
                <a:solidFill>
                  <a:srgbClr val="FFFFFF"/>
                </a:solidFill>
              </a:rPr>
              <a:t>配色参考方案：</a:t>
            </a:r>
          </a:p>
          <a:p>
            <a:pPr eaLnBrk="0" hangingPunct="0">
              <a:lnSpc>
                <a:spcPct val="120000"/>
              </a:lnSpc>
              <a:spcBef>
                <a:spcPct val="20000"/>
              </a:spcBef>
              <a:buFont typeface="Arial" pitchFamily="34" charset="0"/>
              <a:buNone/>
            </a:pPr>
            <a:r>
              <a:rPr lang="zh-CN" altLang="en-US" sz="1125" dirty="0">
                <a:solidFill>
                  <a:srgbClr val="FFFFFF"/>
                </a:solidFill>
              </a:rPr>
              <a:t>建议同一页面内不超过四种颜色，以下是</a:t>
            </a:r>
            <a:r>
              <a:rPr lang="en-US" altLang="zh-CN" sz="1125" dirty="0">
                <a:solidFill>
                  <a:srgbClr val="FFFFFF"/>
                </a:solidFill>
              </a:rPr>
              <a:t>13</a:t>
            </a:r>
            <a:r>
              <a:rPr lang="zh-CN" altLang="en-US" sz="1125" dirty="0">
                <a:solidFill>
                  <a:srgbClr val="FFFFFF"/>
                </a:solidFill>
              </a:rPr>
              <a:t>组配色方案，同一页面内只选择一组使用。（仅供参考）</a:t>
            </a:r>
          </a:p>
        </p:txBody>
      </p:sp>
      <p:sp>
        <p:nvSpPr>
          <p:cNvPr id="9224" name="Rectangle 82"/>
          <p:cNvSpPr>
            <a:spLocks noChangeArrowheads="1"/>
          </p:cNvSpPr>
          <p:nvPr/>
        </p:nvSpPr>
        <p:spPr bwMode="auto">
          <a:xfrm>
            <a:off x="9253558" y="7942"/>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buClr>
                <a:schemeClr val="bg2"/>
              </a:buClr>
              <a:buSzPct val="60000"/>
              <a:buFont typeface="Wingdings" pitchFamily="2" charset="2"/>
              <a:buNone/>
            </a:pPr>
            <a:r>
              <a:rPr lang="zh-CN" altLang="en-US" sz="1125" dirty="0">
                <a:solidFill>
                  <a:srgbClr val="FFFFFF"/>
                </a:solidFill>
              </a:rPr>
              <a:t>客户或者合作伙伴的标志放在右上角</a:t>
            </a:r>
            <a:r>
              <a:rPr lang="en-US" altLang="zh-CN" sz="1125" dirty="0">
                <a:solidFill>
                  <a:srgbClr val="FFFFFF"/>
                </a:solidFill>
              </a:rPr>
              <a:t>.</a:t>
            </a:r>
            <a:endParaRPr lang="zh-CN" altLang="en-US" sz="1125" dirty="0">
              <a:solidFill>
                <a:srgbClr val="FFFFFF"/>
              </a:solidFill>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25"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25"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25"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25"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25" b="1">
          <a:solidFill>
            <a:srgbClr val="990000"/>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0" fontAlgn="base" hangingPunct="0">
        <a:lnSpc>
          <a:spcPct val="140000"/>
        </a:lnSpc>
        <a:spcBef>
          <a:spcPct val="0"/>
        </a:spcBef>
        <a:spcAft>
          <a:spcPct val="0"/>
        </a:spcAft>
        <a:buClr>
          <a:srgbClr val="808080"/>
        </a:buClr>
        <a:buSzPct val="60000"/>
        <a:buFont typeface="Wingdings" pitchFamily="2" charset="2"/>
        <a:buChar char="l"/>
        <a:defRPr sz="2025">
          <a:solidFill>
            <a:schemeClr val="tx1"/>
          </a:solidFill>
          <a:latin typeface="+mn-lt"/>
          <a:ea typeface="黑体" pitchFamily="49" charset="-122"/>
          <a:cs typeface="Arial" pitchFamily="34" charset="0"/>
        </a:defRPr>
      </a:lvl1pPr>
      <a:lvl2pPr marL="742999" indent="-285769"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76" indent="-228615" algn="l" rtl="0" eaLnBrk="0" fontAlgn="base" hangingPunct="0">
        <a:lnSpc>
          <a:spcPct val="140000"/>
        </a:lnSpc>
        <a:spcBef>
          <a:spcPct val="0"/>
        </a:spcBef>
        <a:spcAft>
          <a:spcPct val="0"/>
        </a:spcAft>
        <a:buSzPct val="50000"/>
        <a:buFont typeface="Wingdings" pitchFamily="2" charset="2"/>
        <a:buChar char="n"/>
        <a:defRPr sz="1575">
          <a:solidFill>
            <a:schemeClr val="tx1"/>
          </a:solidFill>
          <a:latin typeface="+mn-lt"/>
          <a:ea typeface="+mn-ea"/>
          <a:cs typeface="+mn-cs"/>
        </a:defRPr>
      </a:lvl3pPr>
      <a:lvl4pPr marL="1600307" indent="-228615" algn="l" rtl="0" eaLnBrk="0" fontAlgn="base" hangingPunct="0">
        <a:lnSpc>
          <a:spcPct val="140000"/>
        </a:lnSpc>
        <a:spcBef>
          <a:spcPct val="0"/>
        </a:spcBef>
        <a:spcAft>
          <a:spcPct val="0"/>
        </a:spcAft>
        <a:buChar char="–"/>
        <a:defRPr sz="1425">
          <a:solidFill>
            <a:schemeClr val="tx1"/>
          </a:solidFill>
          <a:latin typeface="+mn-lt"/>
          <a:ea typeface="+mn-ea"/>
          <a:cs typeface="+mn-cs"/>
        </a:defRPr>
      </a:lvl4pPr>
      <a:lvl5pPr marL="2057537" indent="-228615"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6226031"/>
            <a:ext cx="9151939" cy="63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755782" y="6453095"/>
            <a:ext cx="2680335"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80123"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dirty="0" smtClean="0">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510181" y="6387993"/>
            <a:ext cx="1311503" cy="312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755781" y="325517"/>
            <a:ext cx="7634026" cy="871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3429" rIns="106860" bIns="53429"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755781" y="1629155"/>
            <a:ext cx="7634026" cy="4195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6877" tIns="53437" rIns="106877" bIns="53437"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1952963" y="692312"/>
            <a:ext cx="1844995" cy="567384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标题</a:t>
            </a:r>
            <a:r>
              <a:rPr lang="en-US" altLang="zh-CN" sz="1125" dirty="0">
                <a:solidFill>
                  <a:srgbClr val="FFFFFF"/>
                </a:solidFill>
              </a:rPr>
              <a:t>:32-35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Medium</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标题</a:t>
            </a:r>
            <a:r>
              <a:rPr lang="en-US" altLang="zh-CN" sz="1125" dirty="0">
                <a:solidFill>
                  <a:srgbClr val="FFFFFF"/>
                </a:solidFill>
              </a:rPr>
              <a:t>:30-32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黑体</a:t>
            </a: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英文正文</a:t>
            </a:r>
            <a:r>
              <a:rPr lang="en-US" altLang="zh-CN" sz="1125" dirty="0">
                <a:solidFill>
                  <a:srgbClr val="FFFFFF"/>
                </a:solidFill>
              </a:rPr>
              <a:t>:20-22pt</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 </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 :18pt  </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buFont typeface="Arial" pitchFamily="34" charset="0"/>
              <a:buNone/>
            </a:pPr>
            <a:r>
              <a:rPr lang="en-US" altLang="zh-CN" sz="1125" dirty="0" err="1">
                <a:solidFill>
                  <a:srgbClr val="FFFFFF"/>
                </a:solidFill>
              </a:rPr>
              <a:t>FrutigerNext</a:t>
            </a:r>
            <a:r>
              <a:rPr lang="en-US" altLang="zh-CN" sz="1125" dirty="0">
                <a:solidFill>
                  <a:srgbClr val="FFFFFF"/>
                </a:solidFill>
              </a:rPr>
              <a:t> LT Regular</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buFont typeface="Arial" pitchFamily="34" charset="0"/>
              <a:buNone/>
            </a:pPr>
            <a:endParaRPr lang="en-US" altLang="zh-CN"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中文正文</a:t>
            </a:r>
            <a:r>
              <a:rPr lang="en-US" altLang="zh-CN" sz="1125" dirty="0">
                <a:solidFill>
                  <a:srgbClr val="FFFFFF"/>
                </a:solidFill>
              </a:rPr>
              <a:t>:18-20pt</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子目录</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18pt </a:t>
            </a:r>
            <a:endParaRPr lang="zh-CN" altLang="en-US" sz="1125" dirty="0">
              <a:solidFill>
                <a:srgbClr val="FFFFFF"/>
              </a:solidFill>
            </a:endParaRP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buFont typeface="Arial" pitchFamily="34" charset="0"/>
              <a:buNone/>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细黑体</a:t>
            </a:r>
            <a:r>
              <a:rPr lang="zh-CN" altLang="en-US" sz="1125" b="1" dirty="0">
                <a:solidFill>
                  <a:srgbClr val="FFFFFF"/>
                </a:solidFill>
                <a:latin typeface="Arial" pitchFamily="34" charset="0"/>
                <a:ea typeface="华文细黑" pitchFamily="2" charset="-122"/>
              </a:rPr>
              <a:t> </a:t>
            </a:r>
          </a:p>
        </p:txBody>
      </p:sp>
      <p:grpSp>
        <p:nvGrpSpPr>
          <p:cNvPr id="10250" name="Group 16"/>
          <p:cNvGrpSpPr>
            <a:grpSpLocks/>
          </p:cNvGrpSpPr>
          <p:nvPr/>
        </p:nvGrpSpPr>
        <p:grpSpPr bwMode="auto">
          <a:xfrm>
            <a:off x="9326596" y="3512366"/>
            <a:ext cx="919323" cy="3224959"/>
            <a:chOff x="5839" y="2251"/>
            <a:chExt cx="579" cy="2031"/>
          </a:xfrm>
        </p:grpSpPr>
        <p:sp>
          <p:nvSpPr>
            <p:cNvPr id="10253" name="Rectangle 17"/>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10254"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55"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56"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57"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58"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59"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60"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61"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62"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63"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64"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65"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0266"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10251" name="Rectangle 83"/>
          <p:cNvSpPr>
            <a:spLocks noChangeArrowheads="1"/>
          </p:cNvSpPr>
          <p:nvPr/>
        </p:nvSpPr>
        <p:spPr bwMode="auto">
          <a:xfrm>
            <a:off x="9253560" y="1341749"/>
            <a:ext cx="1192420" cy="177753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buFont typeface="Arial" pitchFamily="34" charset="0"/>
              <a:buNone/>
            </a:pPr>
            <a:r>
              <a:rPr lang="zh-CN" altLang="en-US" sz="1125" dirty="0">
                <a:solidFill>
                  <a:srgbClr val="FFFFFF"/>
                </a:solidFill>
              </a:rPr>
              <a:t>配色参考方案：</a:t>
            </a:r>
          </a:p>
          <a:p>
            <a:pPr eaLnBrk="0" hangingPunct="0">
              <a:lnSpc>
                <a:spcPct val="120000"/>
              </a:lnSpc>
              <a:spcBef>
                <a:spcPct val="20000"/>
              </a:spcBef>
              <a:buFont typeface="Arial" pitchFamily="34" charset="0"/>
              <a:buNone/>
            </a:pPr>
            <a:r>
              <a:rPr lang="zh-CN" altLang="en-US" sz="1125" dirty="0">
                <a:solidFill>
                  <a:srgbClr val="FFFFFF"/>
                </a:solidFill>
              </a:rPr>
              <a:t>建议同一页面内不超过四种颜色，以下是</a:t>
            </a:r>
            <a:r>
              <a:rPr lang="en-US" altLang="zh-CN" sz="1125" dirty="0">
                <a:solidFill>
                  <a:srgbClr val="FFFFFF"/>
                </a:solidFill>
              </a:rPr>
              <a:t>13</a:t>
            </a:r>
            <a:r>
              <a:rPr lang="zh-CN" altLang="en-US" sz="1125" dirty="0">
                <a:solidFill>
                  <a:srgbClr val="FFFFFF"/>
                </a:solidFill>
              </a:rPr>
              <a:t>组配色方案，同一页面内只选择一组使用。（仅供参考）</a:t>
            </a:r>
          </a:p>
        </p:txBody>
      </p:sp>
      <p:sp>
        <p:nvSpPr>
          <p:cNvPr id="10252" name="Rectangle 84"/>
          <p:cNvSpPr>
            <a:spLocks noChangeArrowheads="1"/>
          </p:cNvSpPr>
          <p:nvPr/>
        </p:nvSpPr>
        <p:spPr bwMode="auto">
          <a:xfrm>
            <a:off x="9253558" y="7942"/>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buClr>
                <a:srgbClr val="777777"/>
              </a:buClr>
              <a:buSzPct val="60000"/>
              <a:buFont typeface="Wingdings" pitchFamily="2" charset="2"/>
              <a:buNone/>
            </a:pPr>
            <a:r>
              <a:rPr lang="zh-CN" altLang="en-US" sz="1125" dirty="0">
                <a:solidFill>
                  <a:srgbClr val="FFFFFF"/>
                </a:solidFill>
              </a:rPr>
              <a:t>客户或者合作伙伴的标志放在右上角</a:t>
            </a:r>
            <a:r>
              <a:rPr lang="en-US" altLang="zh-CN" sz="1125" dirty="0">
                <a:solidFill>
                  <a:srgbClr val="FFFFFF"/>
                </a:solidFill>
              </a:rPr>
              <a:t>.</a:t>
            </a:r>
            <a:endParaRPr lang="zh-CN" altLang="en-US" sz="1125" dirty="0">
              <a:solidFill>
                <a:srgbClr val="FFFFFF"/>
              </a:solidFill>
            </a:endParaRPr>
          </a:p>
        </p:txBody>
      </p:sp>
      <p:sp>
        <p:nvSpPr>
          <p:cNvPr id="79" name="Rectangle 21"/>
          <p:cNvSpPr>
            <a:spLocks noChangeArrowheads="1"/>
          </p:cNvSpPr>
          <p:nvPr userDrawn="1"/>
        </p:nvSpPr>
        <p:spPr bwMode="auto">
          <a:xfrm>
            <a:off x="3786375" y="6467436"/>
            <a:ext cx="1522696" cy="184666"/>
          </a:xfrm>
          <a:prstGeom prst="rect">
            <a:avLst/>
          </a:prstGeom>
          <a:noFill/>
          <a:ln w="9525" algn="ctr">
            <a:noFill/>
            <a:miter lim="800000"/>
            <a:headEnd/>
            <a:tailEnd/>
          </a:ln>
          <a:effectLst/>
        </p:spPr>
        <p:txBody>
          <a:bodyPr wrap="none" lIns="80091" tIns="0" rIns="80091" bIns="0">
            <a:spAutoFit/>
          </a:bodyPr>
          <a:lstStyle/>
          <a:p>
            <a:pPr defTabSz="801741" eaLnBrk="0" hangingPunct="0">
              <a:defRPr/>
            </a:pPr>
            <a:r>
              <a:rPr lang="en-US" altLang="zh-CN" sz="1200" baseline="0" dirty="0" smtClean="0">
                <a:solidFill>
                  <a:srgbClr val="000000"/>
                </a:solidFill>
                <a:latin typeface="+mn-lt"/>
                <a:ea typeface="+mn-ea"/>
              </a:rPr>
              <a:t>Huawei Confidential</a:t>
            </a:r>
            <a:endParaRPr lang="en-US" altLang="zh-CN" sz="1200" dirty="0">
              <a:latin typeface="+mn-lt"/>
              <a:ea typeface="+mn-ea"/>
            </a:endParaRPr>
          </a:p>
        </p:txBody>
      </p:sp>
      <p:sp>
        <p:nvSpPr>
          <p:cNvPr id="81" name="Rectangle 5"/>
          <p:cNvSpPr>
            <a:spLocks noChangeArrowheads="1"/>
          </p:cNvSpPr>
          <p:nvPr userDrawn="1"/>
        </p:nvSpPr>
        <p:spPr bwMode="auto">
          <a:xfrm>
            <a:off x="6346977" y="6491207"/>
            <a:ext cx="1803712" cy="36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solidFill>
                <a:latin typeface="FrutigerNext LT Bold" pitchFamily="34" charset="0"/>
                <a:ea typeface="MS PGothic" pitchFamily="34" charset="-128"/>
              </a:rPr>
              <a:t> </a:t>
            </a:r>
            <a:fld id="{A4C34F22-587E-473D-9099-376F4F013A30}" type="slidenum">
              <a:rPr lang="de-DE" altLang="zh-CN" sz="1200">
                <a:solidFill>
                  <a:srgbClr val="000000"/>
                </a:solidFill>
                <a:latin typeface="FrutigerNext LT Bold" pitchFamily="34" charset="0"/>
                <a:ea typeface="MS PGothic" pitchFamily="34" charset="-128"/>
              </a:rPr>
              <a:pPr eaLnBrk="0" hangingPunct="0">
                <a:lnSpc>
                  <a:spcPct val="85000"/>
                </a:lnSpc>
              </a:pPr>
              <a:t>‹Nº›</a:t>
            </a:fld>
            <a:endParaRPr lang="en-GB" altLang="zh-CN" sz="1200" dirty="0">
              <a:solidFill>
                <a:srgbClr val="000000"/>
              </a:solidFill>
              <a:latin typeface="FrutigerNext LT Bold" pitchFamily="34" charset="0"/>
              <a:ea typeface="MS PGothic" pitchFamily="34" charset="-128"/>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25"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3225"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25"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25"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25" b="1">
          <a:solidFill>
            <a:srgbClr val="990000"/>
          </a:solidFill>
          <a:latin typeface="黑体" pitchFamily="49" charset="-122"/>
          <a:ea typeface="黑体" pitchFamily="49"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0" fontAlgn="base" hangingPunct="0">
        <a:lnSpc>
          <a:spcPct val="140000"/>
        </a:lnSpc>
        <a:spcBef>
          <a:spcPct val="0"/>
        </a:spcBef>
        <a:spcAft>
          <a:spcPct val="0"/>
        </a:spcAft>
        <a:buClr>
          <a:srgbClr val="777777"/>
        </a:buClr>
        <a:buSzPct val="60000"/>
        <a:buFont typeface="Wingdings" pitchFamily="2" charset="2"/>
        <a:buChar char="l"/>
        <a:defRPr sz="2025">
          <a:solidFill>
            <a:schemeClr val="tx1"/>
          </a:solidFill>
          <a:latin typeface="+mn-lt"/>
          <a:ea typeface="黑体" pitchFamily="49" charset="-122"/>
          <a:cs typeface="+mn-cs"/>
        </a:defRPr>
      </a:lvl1pPr>
      <a:lvl2pPr marL="742999" indent="-285769"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76" indent="-228615" algn="l" rtl="0" eaLnBrk="0" fontAlgn="base" hangingPunct="0">
        <a:lnSpc>
          <a:spcPct val="140000"/>
        </a:lnSpc>
        <a:spcBef>
          <a:spcPct val="0"/>
        </a:spcBef>
        <a:spcAft>
          <a:spcPct val="0"/>
        </a:spcAft>
        <a:buSzPct val="50000"/>
        <a:buFont typeface="Wingdings" pitchFamily="2" charset="2"/>
        <a:buChar char="n"/>
        <a:defRPr sz="1575">
          <a:solidFill>
            <a:schemeClr val="tx1"/>
          </a:solidFill>
          <a:latin typeface="+mn-lt"/>
          <a:ea typeface="+mn-ea"/>
          <a:cs typeface="+mn-cs"/>
        </a:defRPr>
      </a:lvl3pPr>
      <a:lvl4pPr marL="1600307" indent="-228615" algn="l" rtl="0" eaLnBrk="0" fontAlgn="base" hangingPunct="0">
        <a:lnSpc>
          <a:spcPct val="140000"/>
        </a:lnSpc>
        <a:spcBef>
          <a:spcPct val="0"/>
        </a:spcBef>
        <a:spcAft>
          <a:spcPct val="0"/>
        </a:spcAft>
        <a:buChar char="–"/>
        <a:defRPr sz="1425">
          <a:solidFill>
            <a:schemeClr val="tx1"/>
          </a:solidFill>
          <a:latin typeface="+mn-lt"/>
          <a:ea typeface="+mn-ea"/>
          <a:cs typeface="+mn-cs"/>
        </a:defRPr>
      </a:lvl4pPr>
      <a:lvl5pPr marL="2057537" indent="-228615" algn="l" rtl="0" eaLnBrk="0" fontAlgn="base" hangingPunct="0">
        <a:lnSpc>
          <a:spcPct val="140000"/>
        </a:lnSpc>
        <a:spcBef>
          <a:spcPct val="0"/>
        </a:spcBef>
        <a:spcAft>
          <a:spcPct val="0"/>
        </a:spcAft>
        <a:buFont typeface="Arial" pitchFamily="34" charset="0"/>
        <a:buChar char="~"/>
        <a:defRPr sz="1200">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266" name="Picture 6" descr="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5898929"/>
            <a:ext cx="9145588" cy="960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9" name="Rectangle 10"/>
          <p:cNvSpPr>
            <a:spLocks noChangeArrowheads="1"/>
          </p:cNvSpPr>
          <p:nvPr/>
        </p:nvSpPr>
        <p:spPr bwMode="auto">
          <a:xfrm>
            <a:off x="-1952963" y="692312"/>
            <a:ext cx="1844995" cy="567384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marL="342923" indent="-342923" algn="r" eaLnBrk="0" hangingPunct="0">
              <a:lnSpc>
                <a:spcPct val="125000"/>
              </a:lnSpc>
              <a:spcBef>
                <a:spcPct val="20000"/>
              </a:spcBef>
            </a:pPr>
            <a:r>
              <a:rPr lang="zh-CN" altLang="en-US" sz="1125" dirty="0">
                <a:solidFill>
                  <a:srgbClr val="FFFFFF"/>
                </a:solidFill>
              </a:rPr>
              <a:t>英文标题</a:t>
            </a:r>
            <a:r>
              <a:rPr lang="en-US" altLang="zh-CN" sz="1125" dirty="0">
                <a:solidFill>
                  <a:srgbClr val="FFFFFF"/>
                </a:solidFill>
              </a:rPr>
              <a:t>:32-35pt  </a:t>
            </a:r>
            <a:endParaRPr lang="zh-CN" altLang="en-US" sz="1125" dirty="0">
              <a:solidFill>
                <a:srgbClr val="FFFFFF"/>
              </a:solidFill>
            </a:endParaRPr>
          </a:p>
          <a:p>
            <a:pPr marL="342923" indent="-342923" algn="r" eaLnBrk="0" hangingPunct="0">
              <a:lnSpc>
                <a:spcPct val="125000"/>
              </a:lnSpc>
              <a:spcBef>
                <a:spcPct val="20000"/>
              </a:spcBef>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pPr>
            <a:r>
              <a:rPr lang="en-US" altLang="zh-CN" sz="1125" dirty="0" err="1">
                <a:solidFill>
                  <a:srgbClr val="FFFFFF"/>
                </a:solidFill>
              </a:rPr>
              <a:t>FrutigerNext</a:t>
            </a:r>
            <a:r>
              <a:rPr lang="en-US" altLang="zh-CN" sz="1125" dirty="0">
                <a:solidFill>
                  <a:srgbClr val="FFFFFF"/>
                </a:solidFill>
              </a:rPr>
              <a:t> LT Medium</a:t>
            </a:r>
          </a:p>
          <a:p>
            <a:pPr marL="342923" indent="-342923" algn="r" eaLnBrk="0" hangingPunct="0">
              <a:lnSpc>
                <a:spcPct val="125000"/>
              </a:lnSpc>
              <a:spcBef>
                <a:spcPct val="20000"/>
              </a:spcBef>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pPr>
            <a:endParaRPr lang="en-US" altLang="zh-CN" sz="1125" dirty="0">
              <a:solidFill>
                <a:srgbClr val="FFFFFF"/>
              </a:solidFill>
            </a:endParaRPr>
          </a:p>
          <a:p>
            <a:pPr marL="342923" indent="-342923" algn="r" eaLnBrk="0" hangingPunct="0">
              <a:lnSpc>
                <a:spcPct val="125000"/>
              </a:lnSpc>
              <a:spcBef>
                <a:spcPct val="20000"/>
              </a:spcBef>
            </a:pPr>
            <a:r>
              <a:rPr lang="zh-CN" altLang="en-US" sz="1125" dirty="0">
                <a:solidFill>
                  <a:srgbClr val="FFFFFF"/>
                </a:solidFill>
              </a:rPr>
              <a:t>中文标题</a:t>
            </a:r>
            <a:r>
              <a:rPr lang="en-US" altLang="zh-CN" sz="1125" dirty="0">
                <a:solidFill>
                  <a:srgbClr val="FFFFFF"/>
                </a:solidFill>
              </a:rPr>
              <a:t>:30-32pt  </a:t>
            </a:r>
            <a:endParaRPr lang="zh-CN" altLang="en-US" sz="1125" dirty="0">
              <a:solidFill>
                <a:srgbClr val="FFFFFF"/>
              </a:solidFill>
            </a:endParaRPr>
          </a:p>
          <a:p>
            <a:pPr marL="342923" indent="-342923" algn="r" eaLnBrk="0" hangingPunct="0">
              <a:lnSpc>
                <a:spcPct val="125000"/>
              </a:lnSpc>
              <a:spcBef>
                <a:spcPct val="20000"/>
              </a:spcBef>
            </a:pPr>
            <a:r>
              <a:rPr lang="zh-CN" altLang="en-US" sz="1125" dirty="0">
                <a:solidFill>
                  <a:srgbClr val="FFFFFF"/>
                </a:solidFill>
              </a:rPr>
              <a:t>颜色</a:t>
            </a:r>
            <a:r>
              <a:rPr lang="en-US" altLang="zh-CN" sz="1125" dirty="0">
                <a:solidFill>
                  <a:srgbClr val="FFFFFF"/>
                </a:solidFill>
              </a:rPr>
              <a:t>: R153 G0 B0</a:t>
            </a:r>
          </a:p>
          <a:p>
            <a:pPr marL="342923" indent="-342923" algn="r" eaLnBrk="0" hangingPunct="0">
              <a:lnSpc>
                <a:spcPct val="125000"/>
              </a:lnSpc>
              <a:spcBef>
                <a:spcPct val="20000"/>
              </a:spcBef>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黑体</a:t>
            </a:r>
          </a:p>
          <a:p>
            <a:pPr marL="342923" indent="-342923" algn="r" eaLnBrk="0" hangingPunct="0">
              <a:lnSpc>
                <a:spcPct val="125000"/>
              </a:lnSpc>
              <a:spcBef>
                <a:spcPct val="20000"/>
              </a:spcBef>
            </a:pPr>
            <a:endParaRPr lang="zh-CN" altLang="en-US" sz="1125" dirty="0">
              <a:solidFill>
                <a:srgbClr val="FFFFFF"/>
              </a:solidFill>
            </a:endParaRPr>
          </a:p>
          <a:p>
            <a:pPr marL="342923" indent="-342923" algn="r" eaLnBrk="0" hangingPunct="0">
              <a:lnSpc>
                <a:spcPct val="125000"/>
              </a:lnSpc>
              <a:spcBef>
                <a:spcPct val="20000"/>
              </a:spcBef>
            </a:pPr>
            <a:endParaRPr lang="zh-CN" altLang="en-US" sz="1125" dirty="0">
              <a:solidFill>
                <a:srgbClr val="FFFFFF"/>
              </a:solidFill>
            </a:endParaRPr>
          </a:p>
          <a:p>
            <a:pPr marL="342923" indent="-342923" algn="r" eaLnBrk="0" hangingPunct="0">
              <a:lnSpc>
                <a:spcPct val="125000"/>
              </a:lnSpc>
              <a:spcBef>
                <a:spcPct val="20000"/>
              </a:spcBef>
            </a:pPr>
            <a:endParaRPr lang="zh-CN" altLang="en-US" sz="1125" dirty="0">
              <a:solidFill>
                <a:srgbClr val="FFFFFF"/>
              </a:solidFill>
            </a:endParaRPr>
          </a:p>
          <a:p>
            <a:pPr marL="342923" indent="-342923" algn="r" eaLnBrk="0" hangingPunct="0">
              <a:lnSpc>
                <a:spcPct val="125000"/>
              </a:lnSpc>
              <a:spcBef>
                <a:spcPct val="20000"/>
              </a:spcBef>
            </a:pPr>
            <a:r>
              <a:rPr lang="zh-CN" altLang="en-US" sz="1125" dirty="0">
                <a:solidFill>
                  <a:srgbClr val="FFFFFF"/>
                </a:solidFill>
              </a:rPr>
              <a:t>英文正文</a:t>
            </a:r>
            <a:r>
              <a:rPr lang="en-US" altLang="zh-CN" sz="1125" dirty="0">
                <a:solidFill>
                  <a:srgbClr val="FFFFFF"/>
                </a:solidFill>
              </a:rPr>
              <a:t>:20-22pt</a:t>
            </a:r>
          </a:p>
          <a:p>
            <a:pPr marL="342923" indent="-342923" algn="r" eaLnBrk="0" hangingPunct="0">
              <a:lnSpc>
                <a:spcPct val="125000"/>
              </a:lnSpc>
              <a:spcBef>
                <a:spcPct val="20000"/>
              </a:spcBef>
            </a:pPr>
            <a:r>
              <a:rPr lang="zh-CN" altLang="en-US" sz="1125" dirty="0">
                <a:solidFill>
                  <a:srgbClr val="FFFFFF"/>
                </a:solidFill>
              </a:rPr>
              <a:t>子目录 </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 :18pt  </a:t>
            </a:r>
          </a:p>
          <a:p>
            <a:pPr marL="342923" indent="-342923" algn="r" eaLnBrk="0" hangingPunct="0">
              <a:lnSpc>
                <a:spcPct val="125000"/>
              </a:lnSpc>
              <a:spcBef>
                <a:spcPct val="20000"/>
              </a:spcBef>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pPr>
            <a:r>
              <a:rPr lang="zh-CN" altLang="en-US" sz="1125" dirty="0">
                <a:solidFill>
                  <a:srgbClr val="FFFFFF"/>
                </a:solidFill>
              </a:rPr>
              <a:t>内部使用字体 </a:t>
            </a:r>
            <a:r>
              <a:rPr lang="en-US" altLang="zh-CN" sz="1125" dirty="0">
                <a:solidFill>
                  <a:srgbClr val="FFFFFF"/>
                </a:solidFill>
              </a:rPr>
              <a:t>:</a:t>
            </a:r>
          </a:p>
          <a:p>
            <a:pPr marL="342923" indent="-342923" algn="r" eaLnBrk="0" hangingPunct="0">
              <a:lnSpc>
                <a:spcPct val="125000"/>
              </a:lnSpc>
              <a:spcBef>
                <a:spcPct val="20000"/>
              </a:spcBef>
            </a:pPr>
            <a:r>
              <a:rPr lang="en-US" altLang="zh-CN" sz="1125" dirty="0" err="1">
                <a:solidFill>
                  <a:srgbClr val="FFFFFF"/>
                </a:solidFill>
              </a:rPr>
              <a:t>FrutigerNext</a:t>
            </a:r>
            <a:r>
              <a:rPr lang="en-US" altLang="zh-CN" sz="1125" dirty="0">
                <a:solidFill>
                  <a:srgbClr val="FFFFFF"/>
                </a:solidFill>
              </a:rPr>
              <a:t> LT Regular</a:t>
            </a:r>
          </a:p>
          <a:p>
            <a:pPr marL="342923" indent="-342923" algn="r" eaLnBrk="0" hangingPunct="0">
              <a:lnSpc>
                <a:spcPct val="125000"/>
              </a:lnSpc>
              <a:spcBef>
                <a:spcPct val="20000"/>
              </a:spcBef>
            </a:pPr>
            <a:r>
              <a:rPr lang="zh-CN" altLang="en-US" sz="1125" dirty="0">
                <a:solidFill>
                  <a:srgbClr val="FFFFFF"/>
                </a:solidFill>
              </a:rPr>
              <a:t>外部使用字体 </a:t>
            </a:r>
            <a:r>
              <a:rPr lang="en-US" altLang="zh-CN" sz="1125" dirty="0">
                <a:solidFill>
                  <a:srgbClr val="FFFFFF"/>
                </a:solidFill>
              </a:rPr>
              <a:t>: Arial</a:t>
            </a:r>
          </a:p>
          <a:p>
            <a:pPr marL="342923" indent="-342923" algn="r" eaLnBrk="0" hangingPunct="0">
              <a:lnSpc>
                <a:spcPct val="75000"/>
              </a:lnSpc>
              <a:spcBef>
                <a:spcPct val="20000"/>
              </a:spcBef>
            </a:pPr>
            <a:endParaRPr lang="en-US" altLang="zh-CN" sz="1125" dirty="0">
              <a:solidFill>
                <a:srgbClr val="FFFFFF"/>
              </a:solidFill>
            </a:endParaRPr>
          </a:p>
          <a:p>
            <a:pPr marL="342923" indent="-342923" algn="r" eaLnBrk="0" hangingPunct="0">
              <a:lnSpc>
                <a:spcPct val="125000"/>
              </a:lnSpc>
              <a:spcBef>
                <a:spcPct val="20000"/>
              </a:spcBef>
            </a:pPr>
            <a:r>
              <a:rPr lang="zh-CN" altLang="en-US" sz="1125" dirty="0">
                <a:solidFill>
                  <a:srgbClr val="FFFFFF"/>
                </a:solidFill>
              </a:rPr>
              <a:t>中文正文</a:t>
            </a:r>
            <a:r>
              <a:rPr lang="en-US" altLang="zh-CN" sz="1125" dirty="0">
                <a:solidFill>
                  <a:srgbClr val="FFFFFF"/>
                </a:solidFill>
              </a:rPr>
              <a:t>:18-20pt</a:t>
            </a:r>
          </a:p>
          <a:p>
            <a:pPr marL="342923" indent="-342923" algn="r" eaLnBrk="0" hangingPunct="0">
              <a:lnSpc>
                <a:spcPct val="125000"/>
              </a:lnSpc>
              <a:spcBef>
                <a:spcPct val="20000"/>
              </a:spcBef>
            </a:pPr>
            <a:r>
              <a:rPr lang="zh-CN" altLang="en-US" sz="1125" dirty="0">
                <a:solidFill>
                  <a:srgbClr val="FFFFFF"/>
                </a:solidFill>
              </a:rPr>
              <a:t>子目录</a:t>
            </a:r>
            <a:r>
              <a:rPr lang="en-US" altLang="zh-CN" sz="1125" dirty="0">
                <a:solidFill>
                  <a:srgbClr val="FFFFFF"/>
                </a:solidFill>
              </a:rPr>
              <a:t>(2-5</a:t>
            </a:r>
            <a:r>
              <a:rPr lang="zh-CN" altLang="en-US" sz="1125" dirty="0">
                <a:solidFill>
                  <a:srgbClr val="FFFFFF"/>
                </a:solidFill>
              </a:rPr>
              <a:t>级</a:t>
            </a:r>
            <a:r>
              <a:rPr lang="en-US" altLang="zh-CN" sz="1125" dirty="0">
                <a:solidFill>
                  <a:srgbClr val="FFFFFF"/>
                </a:solidFill>
              </a:rPr>
              <a:t>):18pt </a:t>
            </a:r>
            <a:endParaRPr lang="zh-CN" altLang="en-US" sz="1125" dirty="0">
              <a:solidFill>
                <a:srgbClr val="FFFFFF"/>
              </a:solidFill>
            </a:endParaRPr>
          </a:p>
          <a:p>
            <a:pPr marL="342923" indent="-342923" algn="r" eaLnBrk="0" hangingPunct="0">
              <a:lnSpc>
                <a:spcPct val="125000"/>
              </a:lnSpc>
              <a:spcBef>
                <a:spcPct val="20000"/>
              </a:spcBef>
            </a:pPr>
            <a:r>
              <a:rPr lang="zh-CN" altLang="en-US" sz="1125" dirty="0">
                <a:solidFill>
                  <a:srgbClr val="FFFFFF"/>
                </a:solidFill>
              </a:rPr>
              <a:t>颜色</a:t>
            </a:r>
            <a:r>
              <a:rPr lang="en-US" altLang="zh-CN" sz="1125" dirty="0">
                <a:solidFill>
                  <a:srgbClr val="FFFFFF"/>
                </a:solidFill>
              </a:rPr>
              <a:t>:</a:t>
            </a:r>
            <a:r>
              <a:rPr lang="zh-CN" altLang="en-US" sz="1125" dirty="0">
                <a:solidFill>
                  <a:srgbClr val="FFFFFF"/>
                </a:solidFill>
              </a:rPr>
              <a:t>黑色</a:t>
            </a:r>
          </a:p>
          <a:p>
            <a:pPr marL="342923" indent="-342923" algn="r" eaLnBrk="0" hangingPunct="0">
              <a:lnSpc>
                <a:spcPct val="125000"/>
              </a:lnSpc>
              <a:spcBef>
                <a:spcPct val="20000"/>
              </a:spcBef>
            </a:pPr>
            <a:r>
              <a:rPr lang="zh-CN" altLang="en-US" sz="1125" dirty="0">
                <a:solidFill>
                  <a:srgbClr val="FFFFFF"/>
                </a:solidFill>
              </a:rPr>
              <a:t>字体</a:t>
            </a:r>
            <a:r>
              <a:rPr lang="en-US" altLang="zh-CN" sz="1125" dirty="0">
                <a:solidFill>
                  <a:srgbClr val="FFFFFF"/>
                </a:solidFill>
              </a:rPr>
              <a:t>:</a:t>
            </a:r>
            <a:r>
              <a:rPr lang="zh-CN" altLang="en-US" sz="1125" dirty="0">
                <a:solidFill>
                  <a:srgbClr val="FFFFFF"/>
                </a:solidFill>
              </a:rPr>
              <a:t>细黑体</a:t>
            </a:r>
            <a:r>
              <a:rPr lang="zh-CN" altLang="en-US" sz="1125" dirty="0">
                <a:solidFill>
                  <a:srgbClr val="FFFFFF"/>
                </a:solidFill>
                <a:latin typeface="Arial" pitchFamily="34" charset="0"/>
              </a:rPr>
              <a:t> </a:t>
            </a:r>
          </a:p>
        </p:txBody>
      </p:sp>
      <p:grpSp>
        <p:nvGrpSpPr>
          <p:cNvPr id="11270" name="Group 11"/>
          <p:cNvGrpSpPr>
            <a:grpSpLocks/>
          </p:cNvGrpSpPr>
          <p:nvPr/>
        </p:nvGrpSpPr>
        <p:grpSpPr bwMode="auto">
          <a:xfrm>
            <a:off x="9326596" y="3512366"/>
            <a:ext cx="919323" cy="3224959"/>
            <a:chOff x="5839" y="2251"/>
            <a:chExt cx="579" cy="2031"/>
          </a:xfrm>
        </p:grpSpPr>
        <p:sp>
          <p:nvSpPr>
            <p:cNvPr id="11273" name="Rectangle 12"/>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p>
          </p:txBody>
        </p:sp>
        <p:grpSp>
          <p:nvGrpSpPr>
            <p:cNvPr id="11274" name="Group 13"/>
            <p:cNvGrpSpPr>
              <a:grpSpLocks/>
            </p:cNvGrpSpPr>
            <p:nvPr userDrawn="1"/>
          </p:nvGrpSpPr>
          <p:grpSpPr bwMode="auto">
            <a:xfrm>
              <a:off x="5893" y="2387"/>
              <a:ext cx="466" cy="115"/>
              <a:chOff x="5893" y="2387"/>
              <a:chExt cx="466" cy="115"/>
            </a:xfrm>
          </p:grpSpPr>
          <p:sp>
            <p:nvSpPr>
              <p:cNvPr id="11335" name="Rectangle 14"/>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36" name="Rectangle 15"/>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37" name="Rectangle 16"/>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38" name="Rectangle 17"/>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75" name="Group 18"/>
            <p:cNvGrpSpPr>
              <a:grpSpLocks/>
            </p:cNvGrpSpPr>
            <p:nvPr userDrawn="1"/>
          </p:nvGrpSpPr>
          <p:grpSpPr bwMode="auto">
            <a:xfrm>
              <a:off x="5893" y="2523"/>
              <a:ext cx="466" cy="115"/>
              <a:chOff x="5893" y="2523"/>
              <a:chExt cx="466" cy="115"/>
            </a:xfrm>
          </p:grpSpPr>
          <p:sp>
            <p:nvSpPr>
              <p:cNvPr id="11331" name="Rectangle 19"/>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32" name="Rectangle 20"/>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33" name="Rectangle 21"/>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34" name="Rectangle 22"/>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76" name="Group 23"/>
            <p:cNvGrpSpPr>
              <a:grpSpLocks/>
            </p:cNvGrpSpPr>
            <p:nvPr userDrawn="1"/>
          </p:nvGrpSpPr>
          <p:grpSpPr bwMode="auto">
            <a:xfrm>
              <a:off x="5893" y="2659"/>
              <a:ext cx="466" cy="115"/>
              <a:chOff x="5893" y="2659"/>
              <a:chExt cx="466" cy="115"/>
            </a:xfrm>
          </p:grpSpPr>
          <p:sp>
            <p:nvSpPr>
              <p:cNvPr id="11327" name="Rectangle 24"/>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28" name="Rectangle 25"/>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29" name="Rectangle 26"/>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30" name="Rectangle 27"/>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77" name="Group 28"/>
            <p:cNvGrpSpPr>
              <a:grpSpLocks/>
            </p:cNvGrpSpPr>
            <p:nvPr userDrawn="1"/>
          </p:nvGrpSpPr>
          <p:grpSpPr bwMode="auto">
            <a:xfrm>
              <a:off x="5893" y="2251"/>
              <a:ext cx="466" cy="119"/>
              <a:chOff x="5893" y="2251"/>
              <a:chExt cx="466" cy="119"/>
            </a:xfrm>
          </p:grpSpPr>
          <p:sp>
            <p:nvSpPr>
              <p:cNvPr id="11323" name="Rectangle 29"/>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24" name="Rectangle 30"/>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25" name="Rectangle 31"/>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26" name="Rectangle 32"/>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78" name="Group 33"/>
            <p:cNvGrpSpPr>
              <a:grpSpLocks/>
            </p:cNvGrpSpPr>
            <p:nvPr userDrawn="1"/>
          </p:nvGrpSpPr>
          <p:grpSpPr bwMode="auto">
            <a:xfrm>
              <a:off x="5893" y="2886"/>
              <a:ext cx="466" cy="115"/>
              <a:chOff x="5893" y="2886"/>
              <a:chExt cx="466" cy="115"/>
            </a:xfrm>
          </p:grpSpPr>
          <p:sp>
            <p:nvSpPr>
              <p:cNvPr id="11319" name="Rectangle 34"/>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20" name="Rectangle 35"/>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21" name="Rectangle 36"/>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22" name="Rectangle 37"/>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79" name="Group 38"/>
            <p:cNvGrpSpPr>
              <a:grpSpLocks/>
            </p:cNvGrpSpPr>
            <p:nvPr userDrawn="1"/>
          </p:nvGrpSpPr>
          <p:grpSpPr bwMode="auto">
            <a:xfrm>
              <a:off x="5893" y="3022"/>
              <a:ext cx="466" cy="115"/>
              <a:chOff x="5893" y="3022"/>
              <a:chExt cx="466" cy="115"/>
            </a:xfrm>
          </p:grpSpPr>
          <p:sp>
            <p:nvSpPr>
              <p:cNvPr id="11315" name="Rectangle 39"/>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16" name="Rectangle 40"/>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17" name="Rectangle 41"/>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18" name="Rectangle 42"/>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80" name="Group 43"/>
            <p:cNvGrpSpPr>
              <a:grpSpLocks/>
            </p:cNvGrpSpPr>
            <p:nvPr userDrawn="1"/>
          </p:nvGrpSpPr>
          <p:grpSpPr bwMode="auto">
            <a:xfrm>
              <a:off x="5893" y="3158"/>
              <a:ext cx="466" cy="115"/>
              <a:chOff x="5893" y="3158"/>
              <a:chExt cx="466" cy="115"/>
            </a:xfrm>
          </p:grpSpPr>
          <p:sp>
            <p:nvSpPr>
              <p:cNvPr id="11311" name="Rectangle 44"/>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12" name="Rectangle 45"/>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13" name="Rectangle 46"/>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14" name="Rectangle 47"/>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81" name="Group 48"/>
            <p:cNvGrpSpPr>
              <a:grpSpLocks/>
            </p:cNvGrpSpPr>
            <p:nvPr userDrawn="1"/>
          </p:nvGrpSpPr>
          <p:grpSpPr bwMode="auto">
            <a:xfrm>
              <a:off x="5893" y="3385"/>
              <a:ext cx="466" cy="115"/>
              <a:chOff x="5893" y="3385"/>
              <a:chExt cx="466" cy="115"/>
            </a:xfrm>
          </p:grpSpPr>
          <p:sp>
            <p:nvSpPr>
              <p:cNvPr id="11307" name="Rectangle 49"/>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08" name="Rectangle 50"/>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09" name="Rectangle 51"/>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10" name="Rectangle 52"/>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82" name="Group 53"/>
            <p:cNvGrpSpPr>
              <a:grpSpLocks/>
            </p:cNvGrpSpPr>
            <p:nvPr userDrawn="1"/>
          </p:nvGrpSpPr>
          <p:grpSpPr bwMode="auto">
            <a:xfrm>
              <a:off x="5893" y="3521"/>
              <a:ext cx="466" cy="115"/>
              <a:chOff x="5893" y="3521"/>
              <a:chExt cx="466" cy="115"/>
            </a:xfrm>
          </p:grpSpPr>
          <p:sp>
            <p:nvSpPr>
              <p:cNvPr id="11303" name="Rectangle 54"/>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04" name="Rectangle 55"/>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05" name="Rectangle 56"/>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06" name="Rectangle 57"/>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83" name="Group 58"/>
            <p:cNvGrpSpPr>
              <a:grpSpLocks/>
            </p:cNvGrpSpPr>
            <p:nvPr userDrawn="1"/>
          </p:nvGrpSpPr>
          <p:grpSpPr bwMode="auto">
            <a:xfrm>
              <a:off x="5893" y="3657"/>
              <a:ext cx="466" cy="115"/>
              <a:chOff x="5893" y="3657"/>
              <a:chExt cx="466" cy="115"/>
            </a:xfrm>
          </p:grpSpPr>
          <p:sp>
            <p:nvSpPr>
              <p:cNvPr id="11299" name="Rectangle 59"/>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00" name="Rectangle 60"/>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01" name="Rectangle 61"/>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302" name="Rectangle 62"/>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84" name="Group 63"/>
            <p:cNvGrpSpPr>
              <a:grpSpLocks/>
            </p:cNvGrpSpPr>
            <p:nvPr userDrawn="1"/>
          </p:nvGrpSpPr>
          <p:grpSpPr bwMode="auto">
            <a:xfrm>
              <a:off x="5893" y="3884"/>
              <a:ext cx="466" cy="115"/>
              <a:chOff x="5893" y="3884"/>
              <a:chExt cx="466" cy="115"/>
            </a:xfrm>
          </p:grpSpPr>
          <p:sp>
            <p:nvSpPr>
              <p:cNvPr id="11295" name="Rectangle 64"/>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96" name="Rectangle 65"/>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97" name="Rectangle 66"/>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98" name="Rectangle 67"/>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85" name="Group 68"/>
            <p:cNvGrpSpPr>
              <a:grpSpLocks/>
            </p:cNvGrpSpPr>
            <p:nvPr userDrawn="1"/>
          </p:nvGrpSpPr>
          <p:grpSpPr bwMode="auto">
            <a:xfrm>
              <a:off x="5893" y="4026"/>
              <a:ext cx="466" cy="115"/>
              <a:chOff x="5893" y="4026"/>
              <a:chExt cx="466" cy="115"/>
            </a:xfrm>
          </p:grpSpPr>
          <p:sp>
            <p:nvSpPr>
              <p:cNvPr id="11291" name="Rectangle 69"/>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92" name="Rectangle 70"/>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93" name="Rectangle 71"/>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94" name="Rectangle 72"/>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nvGrpSpPr>
            <p:cNvPr id="11286" name="Group 73"/>
            <p:cNvGrpSpPr>
              <a:grpSpLocks/>
            </p:cNvGrpSpPr>
            <p:nvPr userDrawn="1"/>
          </p:nvGrpSpPr>
          <p:grpSpPr bwMode="auto">
            <a:xfrm>
              <a:off x="5893" y="4167"/>
              <a:ext cx="466" cy="115"/>
              <a:chOff x="5893" y="4167"/>
              <a:chExt cx="466" cy="115"/>
            </a:xfrm>
          </p:grpSpPr>
          <p:sp>
            <p:nvSpPr>
              <p:cNvPr id="11287" name="Rectangle 74"/>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88" name="Rectangle 75"/>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89" name="Rectangle 76"/>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11290" name="Rectangle 77"/>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grpSp>
      </p:grpSp>
      <p:sp>
        <p:nvSpPr>
          <p:cNvPr id="11271" name="Rectangle 78"/>
          <p:cNvSpPr>
            <a:spLocks noChangeArrowheads="1"/>
          </p:cNvSpPr>
          <p:nvPr/>
        </p:nvSpPr>
        <p:spPr bwMode="auto">
          <a:xfrm>
            <a:off x="9253560" y="1341749"/>
            <a:ext cx="1192420" cy="1777537"/>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eaLnBrk="0" hangingPunct="0">
              <a:lnSpc>
                <a:spcPct val="120000"/>
              </a:lnSpc>
              <a:spcBef>
                <a:spcPct val="20000"/>
              </a:spcBef>
            </a:pPr>
            <a:r>
              <a:rPr lang="zh-CN" altLang="en-US" sz="1125" dirty="0">
                <a:solidFill>
                  <a:srgbClr val="FFFFFF"/>
                </a:solidFill>
              </a:rPr>
              <a:t>配色参考方案：</a:t>
            </a:r>
          </a:p>
          <a:p>
            <a:pPr eaLnBrk="0" hangingPunct="0">
              <a:lnSpc>
                <a:spcPct val="120000"/>
              </a:lnSpc>
              <a:spcBef>
                <a:spcPct val="20000"/>
              </a:spcBef>
            </a:pPr>
            <a:r>
              <a:rPr lang="zh-CN" altLang="en-US" sz="1125" dirty="0">
                <a:solidFill>
                  <a:srgbClr val="FFFFFF"/>
                </a:solidFill>
              </a:rPr>
              <a:t>建议同一页面内不超过四种颜色，以下是</a:t>
            </a:r>
            <a:r>
              <a:rPr lang="en-US" altLang="zh-CN" sz="1125" dirty="0">
                <a:solidFill>
                  <a:srgbClr val="FFFFFF"/>
                </a:solidFill>
              </a:rPr>
              <a:t>13</a:t>
            </a:r>
            <a:r>
              <a:rPr lang="zh-CN" altLang="en-US" sz="1125" dirty="0">
                <a:solidFill>
                  <a:srgbClr val="FFFFFF"/>
                </a:solidFill>
              </a:rPr>
              <a:t>组配色方案，同一页面内只选择一组使用。（仅供参考）</a:t>
            </a:r>
          </a:p>
        </p:txBody>
      </p:sp>
      <p:sp>
        <p:nvSpPr>
          <p:cNvPr id="11272" name="Rectangle 79"/>
          <p:cNvSpPr>
            <a:spLocks noChangeArrowheads="1"/>
          </p:cNvSpPr>
          <p:nvPr/>
        </p:nvSpPr>
        <p:spPr bwMode="auto">
          <a:xfrm>
            <a:off x="9253558" y="7942"/>
            <a:ext cx="1120970" cy="704166"/>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133" tIns="40068" rIns="80133" bIns="40068">
            <a:spAutoFit/>
          </a:bodyPr>
          <a:lstStyle/>
          <a:p>
            <a:pPr>
              <a:lnSpc>
                <a:spcPct val="120000"/>
              </a:lnSpc>
              <a:spcBef>
                <a:spcPct val="20000"/>
              </a:spcBef>
            </a:pPr>
            <a:r>
              <a:rPr lang="zh-CN" altLang="en-US" sz="1125" dirty="0">
                <a:solidFill>
                  <a:srgbClr val="FFFFFF"/>
                </a:solidFill>
              </a:rPr>
              <a:t>客户或者合作伙伴的标志放在右上角</a:t>
            </a:r>
            <a:r>
              <a:rPr lang="en-US" altLang="zh-CN" sz="1125" dirty="0">
                <a:solidFill>
                  <a:srgbClr val="FFFFFF"/>
                </a:solidFill>
              </a:rPr>
              <a:t>.</a:t>
            </a:r>
            <a:endParaRPr lang="zh-CN" altLang="en-US" sz="1125" dirty="0">
              <a:solidFill>
                <a:srgbClr val="FFFFFF"/>
              </a:solidFill>
            </a:endParaRPr>
          </a:p>
        </p:txBody>
      </p:sp>
      <p:sp>
        <p:nvSpPr>
          <p:cNvPr id="75" name="TextBox 74"/>
          <p:cNvSpPr txBox="1"/>
          <p:nvPr/>
        </p:nvSpPr>
        <p:spPr>
          <a:xfrm>
            <a:off x="755781" y="4509548"/>
            <a:ext cx="7634026" cy="1465796"/>
          </a:xfrm>
          <a:prstGeom prst="rect">
            <a:avLst/>
          </a:prstGeom>
          <a:noFill/>
        </p:spPr>
        <p:txBody>
          <a:bodyPr wrap="square" lIns="91450" tIns="45725" rIns="91450" bIns="45725" rtlCol="0">
            <a:spAutoFit/>
          </a:bodyPr>
          <a:lstStyle/>
          <a:p>
            <a:pPr algn="just">
              <a:lnSpc>
                <a:spcPct val="100000"/>
              </a:lnSpc>
            </a:pPr>
            <a:r>
              <a:rPr lang="en-US" altLang="zh-CN" sz="1275" b="1" kern="1200" dirty="0" smtClean="0">
                <a:solidFill>
                  <a:schemeClr val="tx1"/>
                </a:solidFill>
                <a:effectLst/>
                <a:latin typeface="FrutigerNext LT Regular" pitchFamily="34" charset="0"/>
                <a:ea typeface="宋体" charset="-122"/>
                <a:cs typeface="+mn-cs"/>
              </a:rPr>
              <a:t>Copyright©2011 Huawei Technologies Co., Ltd. All Rights Reserved.</a:t>
            </a:r>
            <a:endParaRPr lang="zh-CN" altLang="zh-CN" sz="1275" kern="1200" dirty="0" smtClean="0">
              <a:solidFill>
                <a:schemeClr val="tx1"/>
              </a:solidFill>
              <a:effectLst/>
              <a:latin typeface="FrutigerNext LT Regular" pitchFamily="34" charset="0"/>
              <a:ea typeface="宋体" charset="-122"/>
              <a:cs typeface="+mn-cs"/>
            </a:endParaRPr>
          </a:p>
          <a:p>
            <a:pPr algn="just">
              <a:lnSpc>
                <a:spcPct val="100000"/>
              </a:lnSpc>
            </a:pPr>
            <a:r>
              <a:rPr lang="en-US" altLang="zh-CN" sz="1275" kern="1200" dirty="0" smtClean="0">
                <a:solidFill>
                  <a:schemeClr val="tx1"/>
                </a:solidFill>
                <a:effectLst/>
                <a:latin typeface="FrutigerNext LT Regular" pitchFamily="34" charset="0"/>
                <a:ea typeface="宋体" charset="-122"/>
                <a:cs typeface="+mn-cs"/>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275" kern="1200" dirty="0">
              <a:solidFill>
                <a:schemeClr val="tx1"/>
              </a:solidFill>
              <a:effectLst/>
              <a:latin typeface="FrutigerNext LT Regular" pitchFamily="34" charset="0"/>
              <a:ea typeface="宋体" charset="-122"/>
              <a:cs typeface="+mn-cs"/>
            </a:endParaRPr>
          </a:p>
        </p:txBody>
      </p:sp>
      <p:sp>
        <p:nvSpPr>
          <p:cNvPr id="78" name="Text Box 7"/>
          <p:cNvSpPr txBox="1">
            <a:spLocks noChangeArrowheads="1"/>
          </p:cNvSpPr>
          <p:nvPr/>
        </p:nvSpPr>
        <p:spPr bwMode="auto">
          <a:xfrm>
            <a:off x="3163642" y="2669208"/>
            <a:ext cx="2818308" cy="765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83457" tIns="41729" rIns="83457" bIns="41729">
            <a:spAutoFit/>
          </a:bodyPr>
          <a:lstStyle>
            <a:lvl1pPr defTabSz="835025" eaLnBrk="0" hangingPunct="0">
              <a:defRPr>
                <a:solidFill>
                  <a:schemeClr val="tx1"/>
                </a:solidFill>
                <a:latin typeface="Calibri" pitchFamily="34" charset="0"/>
                <a:ea typeface="宋体" pitchFamily="2" charset="-122"/>
              </a:defRPr>
            </a:lvl1pPr>
            <a:lvl2pPr marL="742950" indent="-285750" defTabSz="835025" eaLnBrk="0" hangingPunct="0">
              <a:defRPr>
                <a:solidFill>
                  <a:schemeClr val="tx1"/>
                </a:solidFill>
                <a:latin typeface="Calibri" pitchFamily="34" charset="0"/>
                <a:ea typeface="宋体" pitchFamily="2" charset="-122"/>
              </a:defRPr>
            </a:lvl2pPr>
            <a:lvl3pPr marL="1143000" indent="-228600" defTabSz="835025" eaLnBrk="0" hangingPunct="0">
              <a:defRPr>
                <a:solidFill>
                  <a:schemeClr val="tx1"/>
                </a:solidFill>
                <a:latin typeface="Calibri" pitchFamily="34" charset="0"/>
                <a:ea typeface="宋体" pitchFamily="2" charset="-122"/>
              </a:defRPr>
            </a:lvl3pPr>
            <a:lvl4pPr marL="1600200" indent="-228600" defTabSz="835025" eaLnBrk="0" hangingPunct="0">
              <a:defRPr>
                <a:solidFill>
                  <a:schemeClr val="tx1"/>
                </a:solidFill>
                <a:latin typeface="Calibri" pitchFamily="34" charset="0"/>
                <a:ea typeface="宋体" pitchFamily="2" charset="-122"/>
              </a:defRPr>
            </a:lvl4pPr>
            <a:lvl5pPr marL="2057400" indent="-228600" defTabSz="835025" eaLnBrk="0" hangingPunct="0">
              <a:defRPr>
                <a:solidFill>
                  <a:schemeClr val="tx1"/>
                </a:solidFill>
                <a:latin typeface="Calibri" pitchFamily="34" charset="0"/>
                <a:ea typeface="宋体" pitchFamily="2" charset="-122"/>
              </a:defRPr>
            </a:lvl5pPr>
            <a:lvl6pPr marL="2514600" indent="-228600" defTabSz="835025"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35025"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35025"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35025" eaLnBrk="0" fontAlgn="base" hangingPunct="0">
              <a:spcBef>
                <a:spcPct val="0"/>
              </a:spcBef>
              <a:spcAft>
                <a:spcPct val="0"/>
              </a:spcAft>
              <a:defRPr>
                <a:solidFill>
                  <a:schemeClr val="tx1"/>
                </a:solidFill>
                <a:latin typeface="Calibri" pitchFamily="34" charset="0"/>
                <a:ea typeface="宋体" pitchFamily="2" charset="-122"/>
              </a:defRPr>
            </a:lvl9pPr>
          </a:lstStyle>
          <a:p>
            <a:pPr algn="ctr">
              <a:defRPr/>
            </a:pPr>
            <a:r>
              <a:rPr lang="en-US" altLang="zh-CN" sz="4424" dirty="0" smtClean="0">
                <a:solidFill>
                  <a:srgbClr val="990000"/>
                </a:solidFill>
                <a:latin typeface="+mn-lt"/>
                <a:ea typeface="MS PGothic" pitchFamily="34" charset="-128"/>
              </a:rPr>
              <a:t>Thank you</a:t>
            </a:r>
          </a:p>
        </p:txBody>
      </p:sp>
      <p:sp>
        <p:nvSpPr>
          <p:cNvPr id="79" name="Text Box 8"/>
          <p:cNvSpPr txBox="1">
            <a:spLocks noChangeArrowheads="1"/>
          </p:cNvSpPr>
          <p:nvPr/>
        </p:nvSpPr>
        <p:spPr bwMode="auto">
          <a:xfrm>
            <a:off x="3186564" y="3429795"/>
            <a:ext cx="2772463" cy="4882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83457" tIns="41729" rIns="83457" bIns="41729">
            <a:spAutoFit/>
          </a:bodyPr>
          <a:lstStyle>
            <a:lvl1pPr defTabSz="835025" eaLnBrk="0" hangingPunct="0">
              <a:defRPr>
                <a:solidFill>
                  <a:schemeClr val="tx1"/>
                </a:solidFill>
                <a:latin typeface="Calibri" pitchFamily="34" charset="0"/>
                <a:ea typeface="宋体" charset="-122"/>
              </a:defRPr>
            </a:lvl1pPr>
            <a:lvl2pPr marL="742950" indent="-285750" defTabSz="835025" eaLnBrk="0" hangingPunct="0">
              <a:defRPr>
                <a:solidFill>
                  <a:schemeClr val="tx1"/>
                </a:solidFill>
                <a:latin typeface="Calibri" pitchFamily="34" charset="0"/>
                <a:ea typeface="宋体" charset="-122"/>
              </a:defRPr>
            </a:lvl2pPr>
            <a:lvl3pPr marL="1143000" indent="-228600" defTabSz="835025" eaLnBrk="0" hangingPunct="0">
              <a:defRPr>
                <a:solidFill>
                  <a:schemeClr val="tx1"/>
                </a:solidFill>
                <a:latin typeface="Calibri" pitchFamily="34" charset="0"/>
                <a:ea typeface="宋体" charset="-122"/>
              </a:defRPr>
            </a:lvl3pPr>
            <a:lvl4pPr marL="1600200" indent="-228600" defTabSz="835025" eaLnBrk="0" hangingPunct="0">
              <a:defRPr>
                <a:solidFill>
                  <a:schemeClr val="tx1"/>
                </a:solidFill>
                <a:latin typeface="Calibri" pitchFamily="34" charset="0"/>
                <a:ea typeface="宋体" charset="-122"/>
              </a:defRPr>
            </a:lvl4pPr>
            <a:lvl5pPr marL="2057400" indent="-228600" defTabSz="835025" eaLnBrk="0" hangingPunct="0">
              <a:defRPr>
                <a:solidFill>
                  <a:schemeClr val="tx1"/>
                </a:solidFill>
                <a:latin typeface="Calibri" pitchFamily="34" charset="0"/>
                <a:ea typeface="宋体" charset="-122"/>
              </a:defRPr>
            </a:lvl5pPr>
            <a:lvl6pPr marL="2514600" indent="-228600" defTabSz="835025" eaLnBrk="0" fontAlgn="base" hangingPunct="0">
              <a:spcBef>
                <a:spcPct val="0"/>
              </a:spcBef>
              <a:spcAft>
                <a:spcPct val="0"/>
              </a:spcAft>
              <a:defRPr>
                <a:solidFill>
                  <a:schemeClr val="tx1"/>
                </a:solidFill>
                <a:latin typeface="Calibri" pitchFamily="34" charset="0"/>
                <a:ea typeface="宋体" charset="-122"/>
              </a:defRPr>
            </a:lvl6pPr>
            <a:lvl7pPr marL="2971800" indent="-228600" defTabSz="835025" eaLnBrk="0" fontAlgn="base" hangingPunct="0">
              <a:spcBef>
                <a:spcPct val="0"/>
              </a:spcBef>
              <a:spcAft>
                <a:spcPct val="0"/>
              </a:spcAft>
              <a:defRPr>
                <a:solidFill>
                  <a:schemeClr val="tx1"/>
                </a:solidFill>
                <a:latin typeface="Calibri" pitchFamily="34" charset="0"/>
                <a:ea typeface="宋体" charset="-122"/>
              </a:defRPr>
            </a:lvl7pPr>
            <a:lvl8pPr marL="3429000" indent="-228600" defTabSz="835025" eaLnBrk="0" fontAlgn="base" hangingPunct="0">
              <a:spcBef>
                <a:spcPct val="0"/>
              </a:spcBef>
              <a:spcAft>
                <a:spcPct val="0"/>
              </a:spcAft>
              <a:defRPr>
                <a:solidFill>
                  <a:schemeClr val="tx1"/>
                </a:solidFill>
                <a:latin typeface="Calibri" pitchFamily="34" charset="0"/>
                <a:ea typeface="宋体" charset="-122"/>
              </a:defRPr>
            </a:lvl8pPr>
            <a:lvl9pPr marL="3886200" indent="-228600" defTabSz="835025" eaLnBrk="0" fontAlgn="base" hangingPunct="0">
              <a:spcBef>
                <a:spcPct val="0"/>
              </a:spcBef>
              <a:spcAft>
                <a:spcPct val="0"/>
              </a:spcAft>
              <a:defRPr>
                <a:solidFill>
                  <a:schemeClr val="tx1"/>
                </a:solidFill>
                <a:latin typeface="Calibri" pitchFamily="34" charset="0"/>
                <a:ea typeface="宋体" charset="-122"/>
              </a:defRPr>
            </a:lvl9pPr>
          </a:lstStyle>
          <a:p>
            <a:pPr algn="ctr"/>
            <a:r>
              <a:rPr lang="en-US" altLang="zh-CN" sz="2625" dirty="0">
                <a:solidFill>
                  <a:srgbClr val="666666"/>
                </a:solidFill>
                <a:latin typeface="+mn-lt"/>
                <a:ea typeface="ＭＳ Ｐゴシック" pitchFamily="34" charset="-128"/>
              </a:rPr>
              <a:t>www.huawei.com</a:t>
            </a:r>
            <a:endParaRPr lang="en-US" altLang="zh-CN" sz="2625" dirty="0">
              <a:solidFill>
                <a:srgbClr val="990000"/>
              </a:solidFill>
              <a:latin typeface="+mn-lt"/>
              <a:ea typeface="ＭＳ Ｐゴシック" pitchFamily="34" charset="-128"/>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25" b="1">
          <a:solidFill>
            <a:srgbClr val="990000"/>
          </a:solidFill>
          <a:latin typeface="+mj-lt"/>
          <a:ea typeface="+mj-ea"/>
          <a:cs typeface="+mj-cs"/>
        </a:defRPr>
      </a:lvl1pPr>
      <a:lvl2pPr algn="l" rtl="0" eaLnBrk="0" fontAlgn="base" hangingPunct="0">
        <a:spcBef>
          <a:spcPct val="0"/>
        </a:spcBef>
        <a:spcAft>
          <a:spcPct val="0"/>
        </a:spcAft>
        <a:defRPr sz="3225"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3225"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3225"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3225" b="1">
          <a:solidFill>
            <a:srgbClr val="990000"/>
          </a:solidFill>
          <a:latin typeface="FrutigerNext LT Medium" pitchFamily="34" charset="0"/>
          <a:ea typeface="华文细黑" pitchFamily="2" charset="-122"/>
          <a:cs typeface="宋体" charset="-122"/>
        </a:defRPr>
      </a:lvl5pPr>
      <a:lvl6pPr marL="45723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6pPr>
      <a:lvl7pPr marL="914461"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7pPr>
      <a:lvl8pPr marL="137169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8pPr>
      <a:lvl9pPr marL="1828922" algn="l" rtl="0" eaLnBrk="1" fontAlgn="base" hangingPunct="1">
        <a:spcBef>
          <a:spcPct val="0"/>
        </a:spcBef>
        <a:spcAft>
          <a:spcPct val="0"/>
        </a:spcAft>
        <a:defRPr sz="3225" b="1">
          <a:solidFill>
            <a:srgbClr val="990000"/>
          </a:solidFill>
          <a:latin typeface="FrutigerNext LT Medium" pitchFamily="34" charset="0"/>
          <a:ea typeface="华文细黑" pitchFamily="2" charset="-122"/>
          <a:cs typeface="宋体" charset="-122"/>
        </a:defRPr>
      </a:lvl9pPr>
    </p:titleStyle>
    <p:bodyStyle>
      <a:lvl1pPr marL="342923" indent="-342923"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99" indent="-285769" algn="l" rtl="0" eaLnBrk="0" fontAlgn="base" hangingPunct="0">
        <a:spcBef>
          <a:spcPct val="20000"/>
        </a:spcBef>
        <a:spcAft>
          <a:spcPct val="0"/>
        </a:spcAft>
        <a:buFont typeface="Arial" pitchFamily="34" charset="0"/>
        <a:buChar char="›"/>
        <a:defRPr sz="2025">
          <a:solidFill>
            <a:schemeClr val="tx1"/>
          </a:solidFill>
          <a:latin typeface="+mn-lt"/>
          <a:ea typeface="+mn-ea"/>
          <a:cs typeface="+mn-cs"/>
        </a:defRPr>
      </a:lvl2pPr>
      <a:lvl3pPr marL="1143076" indent="-228615"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307" indent="-228615" algn="l" rtl="0" eaLnBrk="0" fontAlgn="base" hangingPunct="0">
        <a:spcBef>
          <a:spcPct val="20000"/>
        </a:spcBef>
        <a:spcAft>
          <a:spcPct val="0"/>
        </a:spcAft>
        <a:buChar char="–"/>
        <a:defRPr sz="1575">
          <a:solidFill>
            <a:schemeClr val="tx1"/>
          </a:solidFill>
          <a:latin typeface="+mn-lt"/>
          <a:ea typeface="+mn-ea"/>
          <a:cs typeface="+mn-cs"/>
        </a:defRPr>
      </a:lvl4pPr>
      <a:lvl5pPr marL="2057537" indent="-228615" algn="l" rtl="0" eaLnBrk="0" fontAlgn="base" hangingPunct="0">
        <a:spcBef>
          <a:spcPct val="20000"/>
        </a:spcBef>
        <a:spcAft>
          <a:spcPct val="0"/>
        </a:spcAft>
        <a:buFont typeface="Arial" pitchFamily="34" charset="0"/>
        <a:buChar char="~"/>
        <a:defRPr sz="1575">
          <a:solidFill>
            <a:schemeClr val="tx1"/>
          </a:solidFill>
          <a:latin typeface="+mn-lt"/>
          <a:ea typeface="+mn-ea"/>
          <a:cs typeface="+mn-cs"/>
        </a:defRPr>
      </a:lvl5pPr>
      <a:lvl6pPr marL="251476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6pPr>
      <a:lvl7pPr marL="297199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7pPr>
      <a:lvl8pPr marL="3429228"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8pPr>
      <a:lvl9pPr marL="3886459" indent="-228615" algn="l" rtl="0" eaLnBrk="1" fontAlgn="base" hangingPunct="1">
        <a:spcBef>
          <a:spcPct val="20000"/>
        </a:spcBef>
        <a:spcAft>
          <a:spcPct val="0"/>
        </a:spcAft>
        <a:buFont typeface="Arial" charset="0"/>
        <a:buChar char="~"/>
        <a:defRPr sz="1575">
          <a:solidFill>
            <a:schemeClr val="tx1"/>
          </a:solidFill>
          <a:latin typeface="+mn-lt"/>
          <a:ea typeface="+mn-ea"/>
          <a:cs typeface="+mn-cs"/>
        </a:defRPr>
      </a:lvl9pPr>
    </p:bodyStyle>
    <p:otherStyle>
      <a:defPPr>
        <a:defRPr lang="zh-CN"/>
      </a:defPPr>
      <a:lvl1pPr marL="0" algn="l" defTabSz="914461" rtl="0" eaLnBrk="1" latinLnBrk="0" hangingPunct="1">
        <a:defRPr sz="1800" kern="1200">
          <a:solidFill>
            <a:schemeClr val="tx1"/>
          </a:solidFill>
          <a:latin typeface="+mn-lt"/>
          <a:ea typeface="+mn-ea"/>
          <a:cs typeface="+mn-cs"/>
        </a:defRPr>
      </a:lvl1pPr>
      <a:lvl2pPr marL="457231" algn="l" defTabSz="914461" rtl="0" eaLnBrk="1" latinLnBrk="0" hangingPunct="1">
        <a:defRPr sz="1800" kern="1200">
          <a:solidFill>
            <a:schemeClr val="tx1"/>
          </a:solidFill>
          <a:latin typeface="+mn-lt"/>
          <a:ea typeface="+mn-ea"/>
          <a:cs typeface="+mn-cs"/>
        </a:defRPr>
      </a:lvl2pPr>
      <a:lvl3pPr marL="914461" algn="l" defTabSz="914461" rtl="0" eaLnBrk="1" latinLnBrk="0" hangingPunct="1">
        <a:defRPr sz="1800" kern="1200">
          <a:solidFill>
            <a:schemeClr val="tx1"/>
          </a:solidFill>
          <a:latin typeface="+mn-lt"/>
          <a:ea typeface="+mn-ea"/>
          <a:cs typeface="+mn-cs"/>
        </a:defRPr>
      </a:lvl3pPr>
      <a:lvl4pPr marL="1371692" algn="l" defTabSz="914461" rtl="0" eaLnBrk="1" latinLnBrk="0" hangingPunct="1">
        <a:defRPr sz="1800" kern="1200">
          <a:solidFill>
            <a:schemeClr val="tx1"/>
          </a:solidFill>
          <a:latin typeface="+mn-lt"/>
          <a:ea typeface="+mn-ea"/>
          <a:cs typeface="+mn-cs"/>
        </a:defRPr>
      </a:lvl4pPr>
      <a:lvl5pPr marL="1828922" algn="l" defTabSz="914461" rtl="0" eaLnBrk="1" latinLnBrk="0" hangingPunct="1">
        <a:defRPr sz="1800" kern="1200">
          <a:solidFill>
            <a:schemeClr val="tx1"/>
          </a:solidFill>
          <a:latin typeface="+mn-lt"/>
          <a:ea typeface="+mn-ea"/>
          <a:cs typeface="+mn-cs"/>
        </a:defRPr>
      </a:lvl5pPr>
      <a:lvl6pPr marL="2286153" algn="l" defTabSz="914461" rtl="0" eaLnBrk="1" latinLnBrk="0" hangingPunct="1">
        <a:defRPr sz="1800" kern="1200">
          <a:solidFill>
            <a:schemeClr val="tx1"/>
          </a:solidFill>
          <a:latin typeface="+mn-lt"/>
          <a:ea typeface="+mn-ea"/>
          <a:cs typeface="+mn-cs"/>
        </a:defRPr>
      </a:lvl6pPr>
      <a:lvl7pPr marL="2743383" algn="l" defTabSz="914461" rtl="0" eaLnBrk="1" latinLnBrk="0" hangingPunct="1">
        <a:defRPr sz="1800" kern="1200">
          <a:solidFill>
            <a:schemeClr val="tx1"/>
          </a:solidFill>
          <a:latin typeface="+mn-lt"/>
          <a:ea typeface="+mn-ea"/>
          <a:cs typeface="+mn-cs"/>
        </a:defRPr>
      </a:lvl7pPr>
      <a:lvl8pPr marL="3200613" algn="l" defTabSz="914461" rtl="0" eaLnBrk="1" latinLnBrk="0" hangingPunct="1">
        <a:defRPr sz="1800" kern="1200">
          <a:solidFill>
            <a:schemeClr val="tx1"/>
          </a:solidFill>
          <a:latin typeface="+mn-lt"/>
          <a:ea typeface="+mn-ea"/>
          <a:cs typeface="+mn-cs"/>
        </a:defRPr>
      </a:lvl8pPr>
      <a:lvl9pPr marL="3657843" algn="l" defTabSz="91446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72.xml"/><Relationship Id="rId5" Type="http://schemas.openxmlformats.org/officeDocument/2006/relationships/image" Target="../media/image45.pn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53.xml"/><Relationship Id="rId6" Type="http://schemas.microsoft.com/office/2007/relationships/hdphoto" Target="../media/hdphoto3.wdp"/><Relationship Id="rId5" Type="http://schemas.openxmlformats.org/officeDocument/2006/relationships/image" Target="../media/image47.png"/><Relationship Id="rId4" Type="http://schemas.microsoft.com/office/2007/relationships/hdphoto" Target="../media/hdphoto2.wdp"/><Relationship Id="rId9" Type="http://schemas.openxmlformats.org/officeDocument/2006/relationships/image" Target="../media/image4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xml"/><Relationship Id="rId7" Type="http://schemas.openxmlformats.org/officeDocument/2006/relationships/image" Target="../media/image35.png"/><Relationship Id="rId2" Type="http://schemas.openxmlformats.org/officeDocument/2006/relationships/slideLayout" Target="../slideLayouts/slideLayout48.xml"/><Relationship Id="rId1" Type="http://schemas.openxmlformats.org/officeDocument/2006/relationships/tags" Target="../tags/tag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49.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76697" y="2565773"/>
            <a:ext cx="7290177" cy="845447"/>
          </a:xfrm>
          <a:prstGeom prst="rect">
            <a:avLst/>
          </a:prstGeom>
        </p:spPr>
        <p:txBody>
          <a:bodyPr anchor="ctr"/>
          <a:lstStyle>
            <a:lvl1pPr eaLnBrk="1" hangingPunct="1">
              <a:lnSpc>
                <a:spcPts val="4000"/>
              </a:lnSpc>
              <a:defRPr sz="4400" b="1">
                <a:solidFill>
                  <a:schemeClr val="bg1"/>
                </a:solidFill>
                <a:latin typeface="FrutigerNext LT RegularCn" panose="020B0506040504020204" pitchFamily="34" charset="0"/>
                <a:ea typeface="黑体" pitchFamily="49" charset="-122"/>
                <a:cs typeface="+mj-cs"/>
              </a:defRPr>
            </a:lvl1pPr>
            <a:lvl2pPr eaLnBrk="1" hangingPunct="1">
              <a:defRPr sz="3200" b="1">
                <a:latin typeface="黑体" pitchFamily="49" charset="-122"/>
                <a:ea typeface="黑体" pitchFamily="49" charset="-122"/>
                <a:cs typeface="宋体" charset="-122"/>
              </a:defRPr>
            </a:lvl2pPr>
            <a:lvl3pPr eaLnBrk="1" hangingPunct="1">
              <a:defRPr sz="3200" b="1">
                <a:latin typeface="黑体" pitchFamily="49" charset="-122"/>
                <a:ea typeface="黑体" pitchFamily="49" charset="-122"/>
                <a:cs typeface="宋体" charset="-122"/>
              </a:defRPr>
            </a:lvl3pPr>
            <a:lvl4pPr eaLnBrk="1" hangingPunct="1">
              <a:defRPr sz="3200" b="1">
                <a:latin typeface="黑体" pitchFamily="49" charset="-122"/>
                <a:ea typeface="黑体" pitchFamily="49" charset="-122"/>
                <a:cs typeface="宋体" charset="-122"/>
              </a:defRPr>
            </a:lvl4pPr>
            <a:lvl5pPr eaLnBrk="1" hangingPunct="1">
              <a:defRPr sz="3200" b="1">
                <a:latin typeface="黑体" pitchFamily="49" charset="-122"/>
                <a:ea typeface="黑体" pitchFamily="49" charset="-122"/>
                <a:cs typeface="宋体" charset="-122"/>
              </a:defRPr>
            </a:lvl5pPr>
            <a:lvl6pPr marL="4572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fontAlgn="base">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pPr>
              <a:lnSpc>
                <a:spcPct val="150000"/>
              </a:lnSpc>
            </a:pPr>
            <a:r>
              <a:rPr lang="en-US" altLang="zh-CN" sz="2700" dirty="0">
                <a:latin typeface="+mn-lt"/>
              </a:rPr>
              <a:t>Building </a:t>
            </a:r>
            <a:r>
              <a:rPr lang="en-US" altLang="zh-CN" sz="2700" dirty="0">
                <a:latin typeface="+mn-lt"/>
              </a:rPr>
              <a:t>A Better </a:t>
            </a:r>
            <a:r>
              <a:rPr lang="en-US" altLang="zh-CN" sz="2700" dirty="0">
                <a:latin typeface="+mn-lt"/>
              </a:rPr>
              <a:t>Connected </a:t>
            </a:r>
            <a:r>
              <a:rPr lang="en-US" altLang="zh-CN" sz="2700" dirty="0">
                <a:latin typeface="+mn-lt"/>
              </a:rPr>
              <a:t>World</a:t>
            </a:r>
            <a:endParaRPr lang="zh-CN" altLang="en-US" sz="2700" dirty="0">
              <a:latin typeface="+mn-lt"/>
            </a:endParaRPr>
          </a:p>
        </p:txBody>
      </p:sp>
    </p:spTree>
    <p:extLst>
      <p:ext uri="{BB962C8B-B14F-4D97-AF65-F5344CB8AC3E}">
        <p14:creationId xmlns:p14="http://schemas.microsoft.com/office/powerpoint/2010/main" val="18479765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标题 41"/>
          <p:cNvSpPr>
            <a:spLocks noGrp="1"/>
          </p:cNvSpPr>
          <p:nvPr>
            <p:ph type="title"/>
          </p:nvPr>
        </p:nvSpPr>
        <p:spPr>
          <a:xfrm>
            <a:off x="337355" y="1197846"/>
            <a:ext cx="8359025" cy="539953"/>
          </a:xfrm>
        </p:spPr>
        <p:txBody>
          <a:bodyPr>
            <a:noAutofit/>
          </a:bodyPr>
          <a:lstStyle/>
          <a:p>
            <a:pPr lvl="0"/>
            <a:r>
              <a:rPr lang="en-US" altLang="zh-CN" sz="2700" dirty="0"/>
              <a:t>“0” </a:t>
            </a:r>
            <a:r>
              <a:rPr lang="en-US" altLang="zh-CN" sz="2700" dirty="0"/>
              <a:t>Power, Synergy Between Power </a:t>
            </a:r>
            <a:r>
              <a:rPr lang="en-US" altLang="zh-CN" sz="2700" dirty="0"/>
              <a:t>and </a:t>
            </a:r>
            <a:r>
              <a:rPr lang="en-US" altLang="zh-CN" sz="2700" dirty="0"/>
              <a:t>Connection</a:t>
            </a:r>
            <a:endParaRPr lang="zh-CN" altLang="en-US" sz="2700" dirty="0"/>
          </a:p>
        </p:txBody>
      </p:sp>
      <p:sp>
        <p:nvSpPr>
          <p:cNvPr id="17" name="矩形 16"/>
          <p:cNvSpPr/>
          <p:nvPr/>
        </p:nvSpPr>
        <p:spPr>
          <a:xfrm>
            <a:off x="1761120" y="1974154"/>
            <a:ext cx="5608227" cy="415498"/>
          </a:xfrm>
          <a:prstGeom prst="rect">
            <a:avLst/>
          </a:prstGeom>
        </p:spPr>
        <p:txBody>
          <a:bodyPr wrap="square">
            <a:spAutoFit/>
          </a:bodyPr>
          <a:lstStyle/>
          <a:p>
            <a:pPr algn="ctr"/>
            <a:r>
              <a:rPr lang="en-US" altLang="zh-CN" sz="2100" b="1" dirty="0">
                <a:solidFill>
                  <a:srgbClr val="FFFF00"/>
                </a:solidFill>
                <a:latin typeface="FrutigerNext LT Medium" pitchFamily="34" charset="0"/>
              </a:rPr>
              <a:t>“0” power @ “0” connection</a:t>
            </a:r>
            <a:endParaRPr lang="zh-CN" altLang="en-US" sz="2100" b="1" dirty="0">
              <a:solidFill>
                <a:srgbClr val="FFFF00"/>
              </a:solidFill>
              <a:latin typeface="FrutigerNext LT Medium" pitchFamily="34" charset="0"/>
            </a:endParaRPr>
          </a:p>
        </p:txBody>
      </p:sp>
      <p:cxnSp>
        <p:nvCxnSpPr>
          <p:cNvPr id="19" name="直接箭头连接符 18"/>
          <p:cNvCxnSpPr/>
          <p:nvPr/>
        </p:nvCxnSpPr>
        <p:spPr bwMode="auto">
          <a:xfrm>
            <a:off x="820517" y="5479562"/>
            <a:ext cx="7600377" cy="1"/>
          </a:xfrm>
          <a:prstGeom prst="straightConnector1">
            <a:avLst/>
          </a:prstGeom>
          <a:noFill/>
          <a:ln w="19050" cap="flat" cmpd="sng" algn="ctr">
            <a:solidFill>
              <a:srgbClr val="00B0F0"/>
            </a:solidFill>
            <a:prstDash val="solid"/>
            <a:round/>
            <a:headEnd type="none" w="med" len="med"/>
            <a:tailEnd type="triangle" w="med" len="lg"/>
          </a:ln>
          <a:effectLst/>
        </p:spPr>
      </p:cxnSp>
      <p:cxnSp>
        <p:nvCxnSpPr>
          <p:cNvPr id="20" name="直接箭头连接符 19"/>
          <p:cNvCxnSpPr/>
          <p:nvPr/>
        </p:nvCxnSpPr>
        <p:spPr bwMode="auto">
          <a:xfrm flipV="1">
            <a:off x="821529" y="1941142"/>
            <a:ext cx="0" cy="3538421"/>
          </a:xfrm>
          <a:prstGeom prst="straightConnector1">
            <a:avLst/>
          </a:prstGeom>
          <a:noFill/>
          <a:ln w="19050" cap="flat" cmpd="sng" algn="ctr">
            <a:solidFill>
              <a:srgbClr val="00B0F0"/>
            </a:solidFill>
            <a:prstDash val="solid"/>
            <a:round/>
            <a:headEnd type="none" w="lg" len="lg"/>
            <a:tailEnd type="triangle" w="med" len="lg"/>
          </a:ln>
          <a:effectLst/>
        </p:spPr>
      </p:cxnSp>
      <p:grpSp>
        <p:nvGrpSpPr>
          <p:cNvPr id="2" name="组合 6"/>
          <p:cNvGrpSpPr/>
          <p:nvPr/>
        </p:nvGrpSpPr>
        <p:grpSpPr>
          <a:xfrm>
            <a:off x="810632" y="2511287"/>
            <a:ext cx="7494147" cy="2968134"/>
            <a:chOff x="2275095" y="2814435"/>
            <a:chExt cx="5868930" cy="2827697"/>
          </a:xfrm>
        </p:grpSpPr>
        <p:sp>
          <p:nvSpPr>
            <p:cNvPr id="21" name="任意多边形 20"/>
            <p:cNvSpPr/>
            <p:nvPr/>
          </p:nvSpPr>
          <p:spPr bwMode="auto">
            <a:xfrm>
              <a:off x="2977095" y="4026076"/>
              <a:ext cx="5152458" cy="1616056"/>
            </a:xfrm>
            <a:custGeom>
              <a:avLst/>
              <a:gdLst>
                <a:gd name="connsiteX0" fmla="*/ 0 w 8027894"/>
                <a:gd name="connsiteY0" fmla="*/ 2286465 h 2340253"/>
                <a:gd name="connsiteX1" fmla="*/ 121024 w 8027894"/>
                <a:gd name="connsiteY1" fmla="*/ 2313359 h 2340253"/>
                <a:gd name="connsiteX2" fmla="*/ 174812 w 8027894"/>
                <a:gd name="connsiteY2" fmla="*/ 2340253 h 2340253"/>
                <a:gd name="connsiteX3" fmla="*/ 685800 w 8027894"/>
                <a:gd name="connsiteY3" fmla="*/ 2326806 h 2340253"/>
                <a:gd name="connsiteX4" fmla="*/ 726142 w 8027894"/>
                <a:gd name="connsiteY4" fmla="*/ 2299912 h 2340253"/>
                <a:gd name="connsiteX5" fmla="*/ 820271 w 8027894"/>
                <a:gd name="connsiteY5" fmla="*/ 2273018 h 2340253"/>
                <a:gd name="connsiteX6" fmla="*/ 954742 w 8027894"/>
                <a:gd name="connsiteY6" fmla="*/ 2205783 h 2340253"/>
                <a:gd name="connsiteX7" fmla="*/ 995083 w 8027894"/>
                <a:gd name="connsiteY7" fmla="*/ 2178889 h 2340253"/>
                <a:gd name="connsiteX8" fmla="*/ 1062318 w 8027894"/>
                <a:gd name="connsiteY8" fmla="*/ 2098206 h 2340253"/>
                <a:gd name="connsiteX9" fmla="*/ 1102659 w 8027894"/>
                <a:gd name="connsiteY9" fmla="*/ 2084759 h 2340253"/>
                <a:gd name="connsiteX10" fmla="*/ 1183342 w 8027894"/>
                <a:gd name="connsiteY10" fmla="*/ 2004077 h 2340253"/>
                <a:gd name="connsiteX11" fmla="*/ 1223683 w 8027894"/>
                <a:gd name="connsiteY11" fmla="*/ 1923395 h 2340253"/>
                <a:gd name="connsiteX12" fmla="*/ 1331259 w 8027894"/>
                <a:gd name="connsiteY12" fmla="*/ 1842712 h 2340253"/>
                <a:gd name="connsiteX13" fmla="*/ 1371600 w 8027894"/>
                <a:gd name="connsiteY13" fmla="*/ 1762030 h 2340253"/>
                <a:gd name="connsiteX14" fmla="*/ 1506071 w 8027894"/>
                <a:gd name="connsiteY14" fmla="*/ 1641006 h 2340253"/>
                <a:gd name="connsiteX15" fmla="*/ 1573306 w 8027894"/>
                <a:gd name="connsiteY15" fmla="*/ 1614112 h 2340253"/>
                <a:gd name="connsiteX16" fmla="*/ 1667436 w 8027894"/>
                <a:gd name="connsiteY16" fmla="*/ 1519983 h 2340253"/>
                <a:gd name="connsiteX17" fmla="*/ 1748118 w 8027894"/>
                <a:gd name="connsiteY17" fmla="*/ 1439300 h 2340253"/>
                <a:gd name="connsiteX18" fmla="*/ 1761565 w 8027894"/>
                <a:gd name="connsiteY18" fmla="*/ 1398959 h 2340253"/>
                <a:gd name="connsiteX19" fmla="*/ 1842247 w 8027894"/>
                <a:gd name="connsiteY19" fmla="*/ 1318277 h 2340253"/>
                <a:gd name="connsiteX20" fmla="*/ 1855694 w 8027894"/>
                <a:gd name="connsiteY20" fmla="*/ 1277936 h 2340253"/>
                <a:gd name="connsiteX21" fmla="*/ 1909483 w 8027894"/>
                <a:gd name="connsiteY21" fmla="*/ 1264489 h 2340253"/>
                <a:gd name="connsiteX22" fmla="*/ 1976718 w 8027894"/>
                <a:gd name="connsiteY22" fmla="*/ 1210700 h 2340253"/>
                <a:gd name="connsiteX23" fmla="*/ 2057400 w 8027894"/>
                <a:gd name="connsiteY23" fmla="*/ 1170359 h 2340253"/>
                <a:gd name="connsiteX24" fmla="*/ 2138083 w 8027894"/>
                <a:gd name="connsiteY24" fmla="*/ 1103124 h 2340253"/>
                <a:gd name="connsiteX25" fmla="*/ 2191871 w 8027894"/>
                <a:gd name="connsiteY25" fmla="*/ 1049336 h 2340253"/>
                <a:gd name="connsiteX26" fmla="*/ 2272553 w 8027894"/>
                <a:gd name="connsiteY26" fmla="*/ 982100 h 2340253"/>
                <a:gd name="connsiteX27" fmla="*/ 2286000 w 8027894"/>
                <a:gd name="connsiteY27" fmla="*/ 941759 h 2340253"/>
                <a:gd name="connsiteX28" fmla="*/ 2326342 w 8027894"/>
                <a:gd name="connsiteY28" fmla="*/ 928312 h 2340253"/>
                <a:gd name="connsiteX29" fmla="*/ 2514600 w 8027894"/>
                <a:gd name="connsiteY29" fmla="*/ 941759 h 2340253"/>
                <a:gd name="connsiteX30" fmla="*/ 2608730 w 8027894"/>
                <a:gd name="connsiteY30" fmla="*/ 982100 h 2340253"/>
                <a:gd name="connsiteX31" fmla="*/ 2729753 w 8027894"/>
                <a:gd name="connsiteY31" fmla="*/ 1008995 h 2340253"/>
                <a:gd name="connsiteX32" fmla="*/ 3079377 w 8027894"/>
                <a:gd name="connsiteY32" fmla="*/ 995547 h 2340253"/>
                <a:gd name="connsiteX33" fmla="*/ 3146612 w 8027894"/>
                <a:gd name="connsiteY33" fmla="*/ 982100 h 2340253"/>
                <a:gd name="connsiteX34" fmla="*/ 3657600 w 8027894"/>
                <a:gd name="connsiteY34" fmla="*/ 955206 h 2340253"/>
                <a:gd name="connsiteX35" fmla="*/ 3966883 w 8027894"/>
                <a:gd name="connsiteY35" fmla="*/ 928312 h 2340253"/>
                <a:gd name="connsiteX36" fmla="*/ 4047565 w 8027894"/>
                <a:gd name="connsiteY36" fmla="*/ 914865 h 2340253"/>
                <a:gd name="connsiteX37" fmla="*/ 4222377 w 8027894"/>
                <a:gd name="connsiteY37" fmla="*/ 887971 h 2340253"/>
                <a:gd name="connsiteX38" fmla="*/ 4329953 w 8027894"/>
                <a:gd name="connsiteY38" fmla="*/ 847630 h 2340253"/>
                <a:gd name="connsiteX39" fmla="*/ 4383742 w 8027894"/>
                <a:gd name="connsiteY39" fmla="*/ 834183 h 2340253"/>
                <a:gd name="connsiteX40" fmla="*/ 4424083 w 8027894"/>
                <a:gd name="connsiteY40" fmla="*/ 820736 h 2340253"/>
                <a:gd name="connsiteX41" fmla="*/ 4504765 w 8027894"/>
                <a:gd name="connsiteY41" fmla="*/ 807289 h 2340253"/>
                <a:gd name="connsiteX42" fmla="*/ 4558553 w 8027894"/>
                <a:gd name="connsiteY42" fmla="*/ 780395 h 2340253"/>
                <a:gd name="connsiteX43" fmla="*/ 4598894 w 8027894"/>
                <a:gd name="connsiteY43" fmla="*/ 753500 h 2340253"/>
                <a:gd name="connsiteX44" fmla="*/ 4639236 w 8027894"/>
                <a:gd name="connsiteY44" fmla="*/ 740053 h 2340253"/>
                <a:gd name="connsiteX45" fmla="*/ 5163671 w 8027894"/>
                <a:gd name="connsiteY45" fmla="*/ 686265 h 2340253"/>
                <a:gd name="connsiteX46" fmla="*/ 5284694 w 8027894"/>
                <a:gd name="connsiteY46" fmla="*/ 632477 h 2340253"/>
                <a:gd name="connsiteX47" fmla="*/ 5351930 w 8027894"/>
                <a:gd name="connsiteY47" fmla="*/ 565242 h 2340253"/>
                <a:gd name="connsiteX48" fmla="*/ 5378824 w 8027894"/>
                <a:gd name="connsiteY48" fmla="*/ 538347 h 2340253"/>
                <a:gd name="connsiteX49" fmla="*/ 5419165 w 8027894"/>
                <a:gd name="connsiteY49" fmla="*/ 498006 h 2340253"/>
                <a:gd name="connsiteX50" fmla="*/ 5486400 w 8027894"/>
                <a:gd name="connsiteY50" fmla="*/ 417324 h 2340253"/>
                <a:gd name="connsiteX51" fmla="*/ 5499847 w 8027894"/>
                <a:gd name="connsiteY51" fmla="*/ 376983 h 2340253"/>
                <a:gd name="connsiteX52" fmla="*/ 5526742 w 8027894"/>
                <a:gd name="connsiteY52" fmla="*/ 350089 h 2340253"/>
                <a:gd name="connsiteX53" fmla="*/ 5553636 w 8027894"/>
                <a:gd name="connsiteY53" fmla="*/ 309747 h 2340253"/>
                <a:gd name="connsiteX54" fmla="*/ 5567083 w 8027894"/>
                <a:gd name="connsiteY54" fmla="*/ 255959 h 2340253"/>
                <a:gd name="connsiteX55" fmla="*/ 5580530 w 8027894"/>
                <a:gd name="connsiteY55" fmla="*/ 94595 h 2340253"/>
                <a:gd name="connsiteX56" fmla="*/ 5647765 w 8027894"/>
                <a:gd name="connsiteY56" fmla="*/ 67700 h 2340253"/>
                <a:gd name="connsiteX57" fmla="*/ 5728447 w 8027894"/>
                <a:gd name="connsiteY57" fmla="*/ 40806 h 2340253"/>
                <a:gd name="connsiteX58" fmla="*/ 5768789 w 8027894"/>
                <a:gd name="connsiteY58" fmla="*/ 27359 h 2340253"/>
                <a:gd name="connsiteX59" fmla="*/ 5809130 w 8027894"/>
                <a:gd name="connsiteY59" fmla="*/ 465 h 2340253"/>
                <a:gd name="connsiteX60" fmla="*/ 5822577 w 8027894"/>
                <a:gd name="connsiteY60" fmla="*/ 40806 h 2340253"/>
                <a:gd name="connsiteX61" fmla="*/ 5836024 w 8027894"/>
                <a:gd name="connsiteY61" fmla="*/ 134936 h 2340253"/>
                <a:gd name="connsiteX62" fmla="*/ 5876365 w 8027894"/>
                <a:gd name="connsiteY62" fmla="*/ 215618 h 2340253"/>
                <a:gd name="connsiteX63" fmla="*/ 5916706 w 8027894"/>
                <a:gd name="connsiteY63" fmla="*/ 296300 h 2340253"/>
                <a:gd name="connsiteX64" fmla="*/ 5930153 w 8027894"/>
                <a:gd name="connsiteY64" fmla="*/ 336642 h 2340253"/>
                <a:gd name="connsiteX65" fmla="*/ 5983942 w 8027894"/>
                <a:gd name="connsiteY65" fmla="*/ 417324 h 2340253"/>
                <a:gd name="connsiteX66" fmla="*/ 6010836 w 8027894"/>
                <a:gd name="connsiteY66" fmla="*/ 457665 h 2340253"/>
                <a:gd name="connsiteX67" fmla="*/ 6091518 w 8027894"/>
                <a:gd name="connsiteY67" fmla="*/ 592136 h 2340253"/>
                <a:gd name="connsiteX68" fmla="*/ 6118412 w 8027894"/>
                <a:gd name="connsiteY68" fmla="*/ 632477 h 2340253"/>
                <a:gd name="connsiteX69" fmla="*/ 6131859 w 8027894"/>
                <a:gd name="connsiteY69" fmla="*/ 672818 h 2340253"/>
                <a:gd name="connsiteX70" fmla="*/ 6199094 w 8027894"/>
                <a:gd name="connsiteY70" fmla="*/ 753500 h 2340253"/>
                <a:gd name="connsiteX71" fmla="*/ 6239436 w 8027894"/>
                <a:gd name="connsiteY71" fmla="*/ 834183 h 2340253"/>
                <a:gd name="connsiteX72" fmla="*/ 6279777 w 8027894"/>
                <a:gd name="connsiteY72" fmla="*/ 874524 h 2340253"/>
                <a:gd name="connsiteX73" fmla="*/ 6333565 w 8027894"/>
                <a:gd name="connsiteY73" fmla="*/ 955206 h 2340253"/>
                <a:gd name="connsiteX74" fmla="*/ 6400800 w 8027894"/>
                <a:gd name="connsiteY74" fmla="*/ 1008995 h 2340253"/>
                <a:gd name="connsiteX75" fmla="*/ 6441142 w 8027894"/>
                <a:gd name="connsiteY75" fmla="*/ 1062783 h 2340253"/>
                <a:gd name="connsiteX76" fmla="*/ 6562165 w 8027894"/>
                <a:gd name="connsiteY76" fmla="*/ 1197253 h 2340253"/>
                <a:gd name="connsiteX77" fmla="*/ 6656294 w 8027894"/>
                <a:gd name="connsiteY77" fmla="*/ 1318277 h 2340253"/>
                <a:gd name="connsiteX78" fmla="*/ 6683189 w 8027894"/>
                <a:gd name="connsiteY78" fmla="*/ 1345171 h 2340253"/>
                <a:gd name="connsiteX79" fmla="*/ 6750424 w 8027894"/>
                <a:gd name="connsiteY79" fmla="*/ 1452747 h 2340253"/>
                <a:gd name="connsiteX80" fmla="*/ 6804212 w 8027894"/>
                <a:gd name="connsiteY80" fmla="*/ 1506536 h 2340253"/>
                <a:gd name="connsiteX81" fmla="*/ 6831106 w 8027894"/>
                <a:gd name="connsiteY81" fmla="*/ 1546877 h 2340253"/>
                <a:gd name="connsiteX82" fmla="*/ 6979024 w 8027894"/>
                <a:gd name="connsiteY82" fmla="*/ 1667900 h 2340253"/>
                <a:gd name="connsiteX83" fmla="*/ 6979024 w 8027894"/>
                <a:gd name="connsiteY83" fmla="*/ 1667900 h 2340253"/>
                <a:gd name="connsiteX84" fmla="*/ 7059706 w 8027894"/>
                <a:gd name="connsiteY84" fmla="*/ 1721689 h 2340253"/>
                <a:gd name="connsiteX85" fmla="*/ 7100047 w 8027894"/>
                <a:gd name="connsiteY85" fmla="*/ 1748583 h 2340253"/>
                <a:gd name="connsiteX86" fmla="*/ 7194177 w 8027894"/>
                <a:gd name="connsiteY86" fmla="*/ 1775477 h 2340253"/>
                <a:gd name="connsiteX87" fmla="*/ 7274859 w 8027894"/>
                <a:gd name="connsiteY87" fmla="*/ 1856159 h 2340253"/>
                <a:gd name="connsiteX88" fmla="*/ 7301753 w 8027894"/>
                <a:gd name="connsiteY88" fmla="*/ 1896500 h 2340253"/>
                <a:gd name="connsiteX89" fmla="*/ 7368989 w 8027894"/>
                <a:gd name="connsiteY89" fmla="*/ 1923395 h 2340253"/>
                <a:gd name="connsiteX90" fmla="*/ 7463118 w 8027894"/>
                <a:gd name="connsiteY90" fmla="*/ 1977183 h 2340253"/>
                <a:gd name="connsiteX91" fmla="*/ 7584142 w 8027894"/>
                <a:gd name="connsiteY91" fmla="*/ 1990630 h 2340253"/>
                <a:gd name="connsiteX92" fmla="*/ 7691718 w 8027894"/>
                <a:gd name="connsiteY92" fmla="*/ 2017524 h 2340253"/>
                <a:gd name="connsiteX93" fmla="*/ 7826189 w 8027894"/>
                <a:gd name="connsiteY93" fmla="*/ 2030971 h 2340253"/>
                <a:gd name="connsiteX94" fmla="*/ 8027894 w 8027894"/>
                <a:gd name="connsiteY94" fmla="*/ 2057865 h 2340253"/>
                <a:gd name="connsiteX0" fmla="*/ 0 w 8027894"/>
                <a:gd name="connsiteY0" fmla="*/ 2286465 h 2368661"/>
                <a:gd name="connsiteX1" fmla="*/ 121024 w 8027894"/>
                <a:gd name="connsiteY1" fmla="*/ 2313359 h 2368661"/>
                <a:gd name="connsiteX2" fmla="*/ 214584 w 8027894"/>
                <a:gd name="connsiteY2" fmla="*/ 2368661 h 2368661"/>
                <a:gd name="connsiteX3" fmla="*/ 685800 w 8027894"/>
                <a:gd name="connsiteY3" fmla="*/ 2326806 h 2368661"/>
                <a:gd name="connsiteX4" fmla="*/ 726142 w 8027894"/>
                <a:gd name="connsiteY4" fmla="*/ 2299912 h 2368661"/>
                <a:gd name="connsiteX5" fmla="*/ 820271 w 8027894"/>
                <a:gd name="connsiteY5" fmla="*/ 2273018 h 2368661"/>
                <a:gd name="connsiteX6" fmla="*/ 954742 w 8027894"/>
                <a:gd name="connsiteY6" fmla="*/ 2205783 h 2368661"/>
                <a:gd name="connsiteX7" fmla="*/ 995083 w 8027894"/>
                <a:gd name="connsiteY7" fmla="*/ 2178889 h 2368661"/>
                <a:gd name="connsiteX8" fmla="*/ 1062318 w 8027894"/>
                <a:gd name="connsiteY8" fmla="*/ 2098206 h 2368661"/>
                <a:gd name="connsiteX9" fmla="*/ 1102659 w 8027894"/>
                <a:gd name="connsiteY9" fmla="*/ 2084759 h 2368661"/>
                <a:gd name="connsiteX10" fmla="*/ 1183342 w 8027894"/>
                <a:gd name="connsiteY10" fmla="*/ 2004077 h 2368661"/>
                <a:gd name="connsiteX11" fmla="*/ 1223683 w 8027894"/>
                <a:gd name="connsiteY11" fmla="*/ 1923395 h 2368661"/>
                <a:gd name="connsiteX12" fmla="*/ 1331259 w 8027894"/>
                <a:gd name="connsiteY12" fmla="*/ 1842712 h 2368661"/>
                <a:gd name="connsiteX13" fmla="*/ 1371600 w 8027894"/>
                <a:gd name="connsiteY13" fmla="*/ 1762030 h 2368661"/>
                <a:gd name="connsiteX14" fmla="*/ 1506071 w 8027894"/>
                <a:gd name="connsiteY14" fmla="*/ 1641006 h 2368661"/>
                <a:gd name="connsiteX15" fmla="*/ 1573306 w 8027894"/>
                <a:gd name="connsiteY15" fmla="*/ 1614112 h 2368661"/>
                <a:gd name="connsiteX16" fmla="*/ 1667436 w 8027894"/>
                <a:gd name="connsiteY16" fmla="*/ 1519983 h 2368661"/>
                <a:gd name="connsiteX17" fmla="*/ 1748118 w 8027894"/>
                <a:gd name="connsiteY17" fmla="*/ 1439300 h 2368661"/>
                <a:gd name="connsiteX18" fmla="*/ 1761565 w 8027894"/>
                <a:gd name="connsiteY18" fmla="*/ 1398959 h 2368661"/>
                <a:gd name="connsiteX19" fmla="*/ 1842247 w 8027894"/>
                <a:gd name="connsiteY19" fmla="*/ 1318277 h 2368661"/>
                <a:gd name="connsiteX20" fmla="*/ 1855694 w 8027894"/>
                <a:gd name="connsiteY20" fmla="*/ 1277936 h 2368661"/>
                <a:gd name="connsiteX21" fmla="*/ 1909483 w 8027894"/>
                <a:gd name="connsiteY21" fmla="*/ 1264489 h 2368661"/>
                <a:gd name="connsiteX22" fmla="*/ 1976718 w 8027894"/>
                <a:gd name="connsiteY22" fmla="*/ 1210700 h 2368661"/>
                <a:gd name="connsiteX23" fmla="*/ 2057400 w 8027894"/>
                <a:gd name="connsiteY23" fmla="*/ 1170359 h 2368661"/>
                <a:gd name="connsiteX24" fmla="*/ 2138083 w 8027894"/>
                <a:gd name="connsiteY24" fmla="*/ 1103124 h 2368661"/>
                <a:gd name="connsiteX25" fmla="*/ 2191871 w 8027894"/>
                <a:gd name="connsiteY25" fmla="*/ 1049336 h 2368661"/>
                <a:gd name="connsiteX26" fmla="*/ 2272553 w 8027894"/>
                <a:gd name="connsiteY26" fmla="*/ 982100 h 2368661"/>
                <a:gd name="connsiteX27" fmla="*/ 2286000 w 8027894"/>
                <a:gd name="connsiteY27" fmla="*/ 941759 h 2368661"/>
                <a:gd name="connsiteX28" fmla="*/ 2326342 w 8027894"/>
                <a:gd name="connsiteY28" fmla="*/ 928312 h 2368661"/>
                <a:gd name="connsiteX29" fmla="*/ 2514600 w 8027894"/>
                <a:gd name="connsiteY29" fmla="*/ 941759 h 2368661"/>
                <a:gd name="connsiteX30" fmla="*/ 2608730 w 8027894"/>
                <a:gd name="connsiteY30" fmla="*/ 982100 h 2368661"/>
                <a:gd name="connsiteX31" fmla="*/ 2729753 w 8027894"/>
                <a:gd name="connsiteY31" fmla="*/ 1008995 h 2368661"/>
                <a:gd name="connsiteX32" fmla="*/ 3079377 w 8027894"/>
                <a:gd name="connsiteY32" fmla="*/ 995547 h 2368661"/>
                <a:gd name="connsiteX33" fmla="*/ 3146612 w 8027894"/>
                <a:gd name="connsiteY33" fmla="*/ 982100 h 2368661"/>
                <a:gd name="connsiteX34" fmla="*/ 3657600 w 8027894"/>
                <a:gd name="connsiteY34" fmla="*/ 955206 h 2368661"/>
                <a:gd name="connsiteX35" fmla="*/ 3966883 w 8027894"/>
                <a:gd name="connsiteY35" fmla="*/ 928312 h 2368661"/>
                <a:gd name="connsiteX36" fmla="*/ 4047565 w 8027894"/>
                <a:gd name="connsiteY36" fmla="*/ 914865 h 2368661"/>
                <a:gd name="connsiteX37" fmla="*/ 4222377 w 8027894"/>
                <a:gd name="connsiteY37" fmla="*/ 887971 h 2368661"/>
                <a:gd name="connsiteX38" fmla="*/ 4329953 w 8027894"/>
                <a:gd name="connsiteY38" fmla="*/ 847630 h 2368661"/>
                <a:gd name="connsiteX39" fmla="*/ 4383742 w 8027894"/>
                <a:gd name="connsiteY39" fmla="*/ 834183 h 2368661"/>
                <a:gd name="connsiteX40" fmla="*/ 4424083 w 8027894"/>
                <a:gd name="connsiteY40" fmla="*/ 820736 h 2368661"/>
                <a:gd name="connsiteX41" fmla="*/ 4504765 w 8027894"/>
                <a:gd name="connsiteY41" fmla="*/ 807289 h 2368661"/>
                <a:gd name="connsiteX42" fmla="*/ 4558553 w 8027894"/>
                <a:gd name="connsiteY42" fmla="*/ 780395 h 2368661"/>
                <a:gd name="connsiteX43" fmla="*/ 4598894 w 8027894"/>
                <a:gd name="connsiteY43" fmla="*/ 753500 h 2368661"/>
                <a:gd name="connsiteX44" fmla="*/ 4639236 w 8027894"/>
                <a:gd name="connsiteY44" fmla="*/ 740053 h 2368661"/>
                <a:gd name="connsiteX45" fmla="*/ 5163671 w 8027894"/>
                <a:gd name="connsiteY45" fmla="*/ 686265 h 2368661"/>
                <a:gd name="connsiteX46" fmla="*/ 5284694 w 8027894"/>
                <a:gd name="connsiteY46" fmla="*/ 632477 h 2368661"/>
                <a:gd name="connsiteX47" fmla="*/ 5351930 w 8027894"/>
                <a:gd name="connsiteY47" fmla="*/ 565242 h 2368661"/>
                <a:gd name="connsiteX48" fmla="*/ 5378824 w 8027894"/>
                <a:gd name="connsiteY48" fmla="*/ 538347 h 2368661"/>
                <a:gd name="connsiteX49" fmla="*/ 5419165 w 8027894"/>
                <a:gd name="connsiteY49" fmla="*/ 498006 h 2368661"/>
                <a:gd name="connsiteX50" fmla="*/ 5486400 w 8027894"/>
                <a:gd name="connsiteY50" fmla="*/ 417324 h 2368661"/>
                <a:gd name="connsiteX51" fmla="*/ 5499847 w 8027894"/>
                <a:gd name="connsiteY51" fmla="*/ 376983 h 2368661"/>
                <a:gd name="connsiteX52" fmla="*/ 5526742 w 8027894"/>
                <a:gd name="connsiteY52" fmla="*/ 350089 h 2368661"/>
                <a:gd name="connsiteX53" fmla="*/ 5553636 w 8027894"/>
                <a:gd name="connsiteY53" fmla="*/ 309747 h 2368661"/>
                <a:gd name="connsiteX54" fmla="*/ 5567083 w 8027894"/>
                <a:gd name="connsiteY54" fmla="*/ 255959 h 2368661"/>
                <a:gd name="connsiteX55" fmla="*/ 5580530 w 8027894"/>
                <a:gd name="connsiteY55" fmla="*/ 94595 h 2368661"/>
                <a:gd name="connsiteX56" fmla="*/ 5647765 w 8027894"/>
                <a:gd name="connsiteY56" fmla="*/ 67700 h 2368661"/>
                <a:gd name="connsiteX57" fmla="*/ 5728447 w 8027894"/>
                <a:gd name="connsiteY57" fmla="*/ 40806 h 2368661"/>
                <a:gd name="connsiteX58" fmla="*/ 5768789 w 8027894"/>
                <a:gd name="connsiteY58" fmla="*/ 27359 h 2368661"/>
                <a:gd name="connsiteX59" fmla="*/ 5809130 w 8027894"/>
                <a:gd name="connsiteY59" fmla="*/ 465 h 2368661"/>
                <a:gd name="connsiteX60" fmla="*/ 5822577 w 8027894"/>
                <a:gd name="connsiteY60" fmla="*/ 40806 h 2368661"/>
                <a:gd name="connsiteX61" fmla="*/ 5836024 w 8027894"/>
                <a:gd name="connsiteY61" fmla="*/ 134936 h 2368661"/>
                <a:gd name="connsiteX62" fmla="*/ 5876365 w 8027894"/>
                <a:gd name="connsiteY62" fmla="*/ 215618 h 2368661"/>
                <a:gd name="connsiteX63" fmla="*/ 5916706 w 8027894"/>
                <a:gd name="connsiteY63" fmla="*/ 296300 h 2368661"/>
                <a:gd name="connsiteX64" fmla="*/ 5930153 w 8027894"/>
                <a:gd name="connsiteY64" fmla="*/ 336642 h 2368661"/>
                <a:gd name="connsiteX65" fmla="*/ 5983942 w 8027894"/>
                <a:gd name="connsiteY65" fmla="*/ 417324 h 2368661"/>
                <a:gd name="connsiteX66" fmla="*/ 6010836 w 8027894"/>
                <a:gd name="connsiteY66" fmla="*/ 457665 h 2368661"/>
                <a:gd name="connsiteX67" fmla="*/ 6091518 w 8027894"/>
                <a:gd name="connsiteY67" fmla="*/ 592136 h 2368661"/>
                <a:gd name="connsiteX68" fmla="*/ 6118412 w 8027894"/>
                <a:gd name="connsiteY68" fmla="*/ 632477 h 2368661"/>
                <a:gd name="connsiteX69" fmla="*/ 6131859 w 8027894"/>
                <a:gd name="connsiteY69" fmla="*/ 672818 h 2368661"/>
                <a:gd name="connsiteX70" fmla="*/ 6199094 w 8027894"/>
                <a:gd name="connsiteY70" fmla="*/ 753500 h 2368661"/>
                <a:gd name="connsiteX71" fmla="*/ 6239436 w 8027894"/>
                <a:gd name="connsiteY71" fmla="*/ 834183 h 2368661"/>
                <a:gd name="connsiteX72" fmla="*/ 6279777 w 8027894"/>
                <a:gd name="connsiteY72" fmla="*/ 874524 h 2368661"/>
                <a:gd name="connsiteX73" fmla="*/ 6333565 w 8027894"/>
                <a:gd name="connsiteY73" fmla="*/ 955206 h 2368661"/>
                <a:gd name="connsiteX74" fmla="*/ 6400800 w 8027894"/>
                <a:gd name="connsiteY74" fmla="*/ 1008995 h 2368661"/>
                <a:gd name="connsiteX75" fmla="*/ 6441142 w 8027894"/>
                <a:gd name="connsiteY75" fmla="*/ 1062783 h 2368661"/>
                <a:gd name="connsiteX76" fmla="*/ 6562165 w 8027894"/>
                <a:gd name="connsiteY76" fmla="*/ 1197253 h 2368661"/>
                <a:gd name="connsiteX77" fmla="*/ 6656294 w 8027894"/>
                <a:gd name="connsiteY77" fmla="*/ 1318277 h 2368661"/>
                <a:gd name="connsiteX78" fmla="*/ 6683189 w 8027894"/>
                <a:gd name="connsiteY78" fmla="*/ 1345171 h 2368661"/>
                <a:gd name="connsiteX79" fmla="*/ 6750424 w 8027894"/>
                <a:gd name="connsiteY79" fmla="*/ 1452747 h 2368661"/>
                <a:gd name="connsiteX80" fmla="*/ 6804212 w 8027894"/>
                <a:gd name="connsiteY80" fmla="*/ 1506536 h 2368661"/>
                <a:gd name="connsiteX81" fmla="*/ 6831106 w 8027894"/>
                <a:gd name="connsiteY81" fmla="*/ 1546877 h 2368661"/>
                <a:gd name="connsiteX82" fmla="*/ 6979024 w 8027894"/>
                <a:gd name="connsiteY82" fmla="*/ 1667900 h 2368661"/>
                <a:gd name="connsiteX83" fmla="*/ 6979024 w 8027894"/>
                <a:gd name="connsiteY83" fmla="*/ 1667900 h 2368661"/>
                <a:gd name="connsiteX84" fmla="*/ 7059706 w 8027894"/>
                <a:gd name="connsiteY84" fmla="*/ 1721689 h 2368661"/>
                <a:gd name="connsiteX85" fmla="*/ 7100047 w 8027894"/>
                <a:gd name="connsiteY85" fmla="*/ 1748583 h 2368661"/>
                <a:gd name="connsiteX86" fmla="*/ 7194177 w 8027894"/>
                <a:gd name="connsiteY86" fmla="*/ 1775477 h 2368661"/>
                <a:gd name="connsiteX87" fmla="*/ 7274859 w 8027894"/>
                <a:gd name="connsiteY87" fmla="*/ 1856159 h 2368661"/>
                <a:gd name="connsiteX88" fmla="*/ 7301753 w 8027894"/>
                <a:gd name="connsiteY88" fmla="*/ 1896500 h 2368661"/>
                <a:gd name="connsiteX89" fmla="*/ 7368989 w 8027894"/>
                <a:gd name="connsiteY89" fmla="*/ 1923395 h 2368661"/>
                <a:gd name="connsiteX90" fmla="*/ 7463118 w 8027894"/>
                <a:gd name="connsiteY90" fmla="*/ 1977183 h 2368661"/>
                <a:gd name="connsiteX91" fmla="*/ 7584142 w 8027894"/>
                <a:gd name="connsiteY91" fmla="*/ 1990630 h 2368661"/>
                <a:gd name="connsiteX92" fmla="*/ 7691718 w 8027894"/>
                <a:gd name="connsiteY92" fmla="*/ 2017524 h 2368661"/>
                <a:gd name="connsiteX93" fmla="*/ 7826189 w 8027894"/>
                <a:gd name="connsiteY93" fmla="*/ 2030971 h 2368661"/>
                <a:gd name="connsiteX94" fmla="*/ 8027894 w 8027894"/>
                <a:gd name="connsiteY94" fmla="*/ 2057865 h 2368661"/>
                <a:gd name="connsiteX0" fmla="*/ 0 w 8027894"/>
                <a:gd name="connsiteY0" fmla="*/ 2286465 h 2384999"/>
                <a:gd name="connsiteX1" fmla="*/ 111082 w 8027894"/>
                <a:gd name="connsiteY1" fmla="*/ 2379644 h 2384999"/>
                <a:gd name="connsiteX2" fmla="*/ 214584 w 8027894"/>
                <a:gd name="connsiteY2" fmla="*/ 2368661 h 2384999"/>
                <a:gd name="connsiteX3" fmla="*/ 685800 w 8027894"/>
                <a:gd name="connsiteY3" fmla="*/ 2326806 h 2384999"/>
                <a:gd name="connsiteX4" fmla="*/ 726142 w 8027894"/>
                <a:gd name="connsiteY4" fmla="*/ 2299912 h 2384999"/>
                <a:gd name="connsiteX5" fmla="*/ 820271 w 8027894"/>
                <a:gd name="connsiteY5" fmla="*/ 2273018 h 2384999"/>
                <a:gd name="connsiteX6" fmla="*/ 954742 w 8027894"/>
                <a:gd name="connsiteY6" fmla="*/ 2205783 h 2384999"/>
                <a:gd name="connsiteX7" fmla="*/ 995083 w 8027894"/>
                <a:gd name="connsiteY7" fmla="*/ 2178889 h 2384999"/>
                <a:gd name="connsiteX8" fmla="*/ 1062318 w 8027894"/>
                <a:gd name="connsiteY8" fmla="*/ 2098206 h 2384999"/>
                <a:gd name="connsiteX9" fmla="*/ 1102659 w 8027894"/>
                <a:gd name="connsiteY9" fmla="*/ 2084759 h 2384999"/>
                <a:gd name="connsiteX10" fmla="*/ 1183342 w 8027894"/>
                <a:gd name="connsiteY10" fmla="*/ 2004077 h 2384999"/>
                <a:gd name="connsiteX11" fmla="*/ 1223683 w 8027894"/>
                <a:gd name="connsiteY11" fmla="*/ 1923395 h 2384999"/>
                <a:gd name="connsiteX12" fmla="*/ 1331259 w 8027894"/>
                <a:gd name="connsiteY12" fmla="*/ 1842712 h 2384999"/>
                <a:gd name="connsiteX13" fmla="*/ 1371600 w 8027894"/>
                <a:gd name="connsiteY13" fmla="*/ 1762030 h 2384999"/>
                <a:gd name="connsiteX14" fmla="*/ 1506071 w 8027894"/>
                <a:gd name="connsiteY14" fmla="*/ 1641006 h 2384999"/>
                <a:gd name="connsiteX15" fmla="*/ 1573306 w 8027894"/>
                <a:gd name="connsiteY15" fmla="*/ 1614112 h 2384999"/>
                <a:gd name="connsiteX16" fmla="*/ 1667436 w 8027894"/>
                <a:gd name="connsiteY16" fmla="*/ 1519983 h 2384999"/>
                <a:gd name="connsiteX17" fmla="*/ 1748118 w 8027894"/>
                <a:gd name="connsiteY17" fmla="*/ 1439300 h 2384999"/>
                <a:gd name="connsiteX18" fmla="*/ 1761565 w 8027894"/>
                <a:gd name="connsiteY18" fmla="*/ 1398959 h 2384999"/>
                <a:gd name="connsiteX19" fmla="*/ 1842247 w 8027894"/>
                <a:gd name="connsiteY19" fmla="*/ 1318277 h 2384999"/>
                <a:gd name="connsiteX20" fmla="*/ 1855694 w 8027894"/>
                <a:gd name="connsiteY20" fmla="*/ 1277936 h 2384999"/>
                <a:gd name="connsiteX21" fmla="*/ 1909483 w 8027894"/>
                <a:gd name="connsiteY21" fmla="*/ 1264489 h 2384999"/>
                <a:gd name="connsiteX22" fmla="*/ 1976718 w 8027894"/>
                <a:gd name="connsiteY22" fmla="*/ 1210700 h 2384999"/>
                <a:gd name="connsiteX23" fmla="*/ 2057400 w 8027894"/>
                <a:gd name="connsiteY23" fmla="*/ 1170359 h 2384999"/>
                <a:gd name="connsiteX24" fmla="*/ 2138083 w 8027894"/>
                <a:gd name="connsiteY24" fmla="*/ 1103124 h 2384999"/>
                <a:gd name="connsiteX25" fmla="*/ 2191871 w 8027894"/>
                <a:gd name="connsiteY25" fmla="*/ 1049336 h 2384999"/>
                <a:gd name="connsiteX26" fmla="*/ 2272553 w 8027894"/>
                <a:gd name="connsiteY26" fmla="*/ 982100 h 2384999"/>
                <a:gd name="connsiteX27" fmla="*/ 2286000 w 8027894"/>
                <a:gd name="connsiteY27" fmla="*/ 941759 h 2384999"/>
                <a:gd name="connsiteX28" fmla="*/ 2326342 w 8027894"/>
                <a:gd name="connsiteY28" fmla="*/ 928312 h 2384999"/>
                <a:gd name="connsiteX29" fmla="*/ 2514600 w 8027894"/>
                <a:gd name="connsiteY29" fmla="*/ 941759 h 2384999"/>
                <a:gd name="connsiteX30" fmla="*/ 2608730 w 8027894"/>
                <a:gd name="connsiteY30" fmla="*/ 982100 h 2384999"/>
                <a:gd name="connsiteX31" fmla="*/ 2729753 w 8027894"/>
                <a:gd name="connsiteY31" fmla="*/ 1008995 h 2384999"/>
                <a:gd name="connsiteX32" fmla="*/ 3079377 w 8027894"/>
                <a:gd name="connsiteY32" fmla="*/ 995547 h 2384999"/>
                <a:gd name="connsiteX33" fmla="*/ 3146612 w 8027894"/>
                <a:gd name="connsiteY33" fmla="*/ 982100 h 2384999"/>
                <a:gd name="connsiteX34" fmla="*/ 3657600 w 8027894"/>
                <a:gd name="connsiteY34" fmla="*/ 955206 h 2384999"/>
                <a:gd name="connsiteX35" fmla="*/ 3966883 w 8027894"/>
                <a:gd name="connsiteY35" fmla="*/ 928312 h 2384999"/>
                <a:gd name="connsiteX36" fmla="*/ 4047565 w 8027894"/>
                <a:gd name="connsiteY36" fmla="*/ 914865 h 2384999"/>
                <a:gd name="connsiteX37" fmla="*/ 4222377 w 8027894"/>
                <a:gd name="connsiteY37" fmla="*/ 887971 h 2384999"/>
                <a:gd name="connsiteX38" fmla="*/ 4329953 w 8027894"/>
                <a:gd name="connsiteY38" fmla="*/ 847630 h 2384999"/>
                <a:gd name="connsiteX39" fmla="*/ 4383742 w 8027894"/>
                <a:gd name="connsiteY39" fmla="*/ 834183 h 2384999"/>
                <a:gd name="connsiteX40" fmla="*/ 4424083 w 8027894"/>
                <a:gd name="connsiteY40" fmla="*/ 820736 h 2384999"/>
                <a:gd name="connsiteX41" fmla="*/ 4504765 w 8027894"/>
                <a:gd name="connsiteY41" fmla="*/ 807289 h 2384999"/>
                <a:gd name="connsiteX42" fmla="*/ 4558553 w 8027894"/>
                <a:gd name="connsiteY42" fmla="*/ 780395 h 2384999"/>
                <a:gd name="connsiteX43" fmla="*/ 4598894 w 8027894"/>
                <a:gd name="connsiteY43" fmla="*/ 753500 h 2384999"/>
                <a:gd name="connsiteX44" fmla="*/ 4639236 w 8027894"/>
                <a:gd name="connsiteY44" fmla="*/ 740053 h 2384999"/>
                <a:gd name="connsiteX45" fmla="*/ 5163671 w 8027894"/>
                <a:gd name="connsiteY45" fmla="*/ 686265 h 2384999"/>
                <a:gd name="connsiteX46" fmla="*/ 5284694 w 8027894"/>
                <a:gd name="connsiteY46" fmla="*/ 632477 h 2384999"/>
                <a:gd name="connsiteX47" fmla="*/ 5351930 w 8027894"/>
                <a:gd name="connsiteY47" fmla="*/ 565242 h 2384999"/>
                <a:gd name="connsiteX48" fmla="*/ 5378824 w 8027894"/>
                <a:gd name="connsiteY48" fmla="*/ 538347 h 2384999"/>
                <a:gd name="connsiteX49" fmla="*/ 5419165 w 8027894"/>
                <a:gd name="connsiteY49" fmla="*/ 498006 h 2384999"/>
                <a:gd name="connsiteX50" fmla="*/ 5486400 w 8027894"/>
                <a:gd name="connsiteY50" fmla="*/ 417324 h 2384999"/>
                <a:gd name="connsiteX51" fmla="*/ 5499847 w 8027894"/>
                <a:gd name="connsiteY51" fmla="*/ 376983 h 2384999"/>
                <a:gd name="connsiteX52" fmla="*/ 5526742 w 8027894"/>
                <a:gd name="connsiteY52" fmla="*/ 350089 h 2384999"/>
                <a:gd name="connsiteX53" fmla="*/ 5553636 w 8027894"/>
                <a:gd name="connsiteY53" fmla="*/ 309747 h 2384999"/>
                <a:gd name="connsiteX54" fmla="*/ 5567083 w 8027894"/>
                <a:gd name="connsiteY54" fmla="*/ 255959 h 2384999"/>
                <a:gd name="connsiteX55" fmla="*/ 5580530 w 8027894"/>
                <a:gd name="connsiteY55" fmla="*/ 94595 h 2384999"/>
                <a:gd name="connsiteX56" fmla="*/ 5647765 w 8027894"/>
                <a:gd name="connsiteY56" fmla="*/ 67700 h 2384999"/>
                <a:gd name="connsiteX57" fmla="*/ 5728447 w 8027894"/>
                <a:gd name="connsiteY57" fmla="*/ 40806 h 2384999"/>
                <a:gd name="connsiteX58" fmla="*/ 5768789 w 8027894"/>
                <a:gd name="connsiteY58" fmla="*/ 27359 h 2384999"/>
                <a:gd name="connsiteX59" fmla="*/ 5809130 w 8027894"/>
                <a:gd name="connsiteY59" fmla="*/ 465 h 2384999"/>
                <a:gd name="connsiteX60" fmla="*/ 5822577 w 8027894"/>
                <a:gd name="connsiteY60" fmla="*/ 40806 h 2384999"/>
                <a:gd name="connsiteX61" fmla="*/ 5836024 w 8027894"/>
                <a:gd name="connsiteY61" fmla="*/ 134936 h 2384999"/>
                <a:gd name="connsiteX62" fmla="*/ 5876365 w 8027894"/>
                <a:gd name="connsiteY62" fmla="*/ 215618 h 2384999"/>
                <a:gd name="connsiteX63" fmla="*/ 5916706 w 8027894"/>
                <a:gd name="connsiteY63" fmla="*/ 296300 h 2384999"/>
                <a:gd name="connsiteX64" fmla="*/ 5930153 w 8027894"/>
                <a:gd name="connsiteY64" fmla="*/ 336642 h 2384999"/>
                <a:gd name="connsiteX65" fmla="*/ 5983942 w 8027894"/>
                <a:gd name="connsiteY65" fmla="*/ 417324 h 2384999"/>
                <a:gd name="connsiteX66" fmla="*/ 6010836 w 8027894"/>
                <a:gd name="connsiteY66" fmla="*/ 457665 h 2384999"/>
                <a:gd name="connsiteX67" fmla="*/ 6091518 w 8027894"/>
                <a:gd name="connsiteY67" fmla="*/ 592136 h 2384999"/>
                <a:gd name="connsiteX68" fmla="*/ 6118412 w 8027894"/>
                <a:gd name="connsiteY68" fmla="*/ 632477 h 2384999"/>
                <a:gd name="connsiteX69" fmla="*/ 6131859 w 8027894"/>
                <a:gd name="connsiteY69" fmla="*/ 672818 h 2384999"/>
                <a:gd name="connsiteX70" fmla="*/ 6199094 w 8027894"/>
                <a:gd name="connsiteY70" fmla="*/ 753500 h 2384999"/>
                <a:gd name="connsiteX71" fmla="*/ 6239436 w 8027894"/>
                <a:gd name="connsiteY71" fmla="*/ 834183 h 2384999"/>
                <a:gd name="connsiteX72" fmla="*/ 6279777 w 8027894"/>
                <a:gd name="connsiteY72" fmla="*/ 874524 h 2384999"/>
                <a:gd name="connsiteX73" fmla="*/ 6333565 w 8027894"/>
                <a:gd name="connsiteY73" fmla="*/ 955206 h 2384999"/>
                <a:gd name="connsiteX74" fmla="*/ 6400800 w 8027894"/>
                <a:gd name="connsiteY74" fmla="*/ 1008995 h 2384999"/>
                <a:gd name="connsiteX75" fmla="*/ 6441142 w 8027894"/>
                <a:gd name="connsiteY75" fmla="*/ 1062783 h 2384999"/>
                <a:gd name="connsiteX76" fmla="*/ 6562165 w 8027894"/>
                <a:gd name="connsiteY76" fmla="*/ 1197253 h 2384999"/>
                <a:gd name="connsiteX77" fmla="*/ 6656294 w 8027894"/>
                <a:gd name="connsiteY77" fmla="*/ 1318277 h 2384999"/>
                <a:gd name="connsiteX78" fmla="*/ 6683189 w 8027894"/>
                <a:gd name="connsiteY78" fmla="*/ 1345171 h 2384999"/>
                <a:gd name="connsiteX79" fmla="*/ 6750424 w 8027894"/>
                <a:gd name="connsiteY79" fmla="*/ 1452747 h 2384999"/>
                <a:gd name="connsiteX80" fmla="*/ 6804212 w 8027894"/>
                <a:gd name="connsiteY80" fmla="*/ 1506536 h 2384999"/>
                <a:gd name="connsiteX81" fmla="*/ 6831106 w 8027894"/>
                <a:gd name="connsiteY81" fmla="*/ 1546877 h 2384999"/>
                <a:gd name="connsiteX82" fmla="*/ 6979024 w 8027894"/>
                <a:gd name="connsiteY82" fmla="*/ 1667900 h 2384999"/>
                <a:gd name="connsiteX83" fmla="*/ 6979024 w 8027894"/>
                <a:gd name="connsiteY83" fmla="*/ 1667900 h 2384999"/>
                <a:gd name="connsiteX84" fmla="*/ 7059706 w 8027894"/>
                <a:gd name="connsiteY84" fmla="*/ 1721689 h 2384999"/>
                <a:gd name="connsiteX85" fmla="*/ 7100047 w 8027894"/>
                <a:gd name="connsiteY85" fmla="*/ 1748583 h 2384999"/>
                <a:gd name="connsiteX86" fmla="*/ 7194177 w 8027894"/>
                <a:gd name="connsiteY86" fmla="*/ 1775477 h 2384999"/>
                <a:gd name="connsiteX87" fmla="*/ 7274859 w 8027894"/>
                <a:gd name="connsiteY87" fmla="*/ 1856159 h 2384999"/>
                <a:gd name="connsiteX88" fmla="*/ 7301753 w 8027894"/>
                <a:gd name="connsiteY88" fmla="*/ 1896500 h 2384999"/>
                <a:gd name="connsiteX89" fmla="*/ 7368989 w 8027894"/>
                <a:gd name="connsiteY89" fmla="*/ 1923395 h 2384999"/>
                <a:gd name="connsiteX90" fmla="*/ 7463118 w 8027894"/>
                <a:gd name="connsiteY90" fmla="*/ 1977183 h 2384999"/>
                <a:gd name="connsiteX91" fmla="*/ 7584142 w 8027894"/>
                <a:gd name="connsiteY91" fmla="*/ 1990630 h 2384999"/>
                <a:gd name="connsiteX92" fmla="*/ 7691718 w 8027894"/>
                <a:gd name="connsiteY92" fmla="*/ 2017524 h 2384999"/>
                <a:gd name="connsiteX93" fmla="*/ 7826189 w 8027894"/>
                <a:gd name="connsiteY93" fmla="*/ 2030971 h 2384999"/>
                <a:gd name="connsiteX94" fmla="*/ 8027894 w 8027894"/>
                <a:gd name="connsiteY94" fmla="*/ 2057865 h 2384999"/>
                <a:gd name="connsiteX0" fmla="*/ 0 w 8077608"/>
                <a:gd name="connsiteY0" fmla="*/ 2362219 h 2379841"/>
                <a:gd name="connsiteX1" fmla="*/ 160796 w 8077608"/>
                <a:gd name="connsiteY1" fmla="*/ 2379644 h 2379841"/>
                <a:gd name="connsiteX2" fmla="*/ 264298 w 8077608"/>
                <a:gd name="connsiteY2" fmla="*/ 2368661 h 2379841"/>
                <a:gd name="connsiteX3" fmla="*/ 735514 w 8077608"/>
                <a:gd name="connsiteY3" fmla="*/ 2326806 h 2379841"/>
                <a:gd name="connsiteX4" fmla="*/ 775856 w 8077608"/>
                <a:gd name="connsiteY4" fmla="*/ 2299912 h 2379841"/>
                <a:gd name="connsiteX5" fmla="*/ 869985 w 8077608"/>
                <a:gd name="connsiteY5" fmla="*/ 2273018 h 2379841"/>
                <a:gd name="connsiteX6" fmla="*/ 1004456 w 8077608"/>
                <a:gd name="connsiteY6" fmla="*/ 2205783 h 2379841"/>
                <a:gd name="connsiteX7" fmla="*/ 1044797 w 8077608"/>
                <a:gd name="connsiteY7" fmla="*/ 2178889 h 2379841"/>
                <a:gd name="connsiteX8" fmla="*/ 1112032 w 8077608"/>
                <a:gd name="connsiteY8" fmla="*/ 2098206 h 2379841"/>
                <a:gd name="connsiteX9" fmla="*/ 1152373 w 8077608"/>
                <a:gd name="connsiteY9" fmla="*/ 2084759 h 2379841"/>
                <a:gd name="connsiteX10" fmla="*/ 1233056 w 8077608"/>
                <a:gd name="connsiteY10" fmla="*/ 2004077 h 2379841"/>
                <a:gd name="connsiteX11" fmla="*/ 1273397 w 8077608"/>
                <a:gd name="connsiteY11" fmla="*/ 1923395 h 2379841"/>
                <a:gd name="connsiteX12" fmla="*/ 1380973 w 8077608"/>
                <a:gd name="connsiteY12" fmla="*/ 1842712 h 2379841"/>
                <a:gd name="connsiteX13" fmla="*/ 1421314 w 8077608"/>
                <a:gd name="connsiteY13" fmla="*/ 1762030 h 2379841"/>
                <a:gd name="connsiteX14" fmla="*/ 1555785 w 8077608"/>
                <a:gd name="connsiteY14" fmla="*/ 1641006 h 2379841"/>
                <a:gd name="connsiteX15" fmla="*/ 1623020 w 8077608"/>
                <a:gd name="connsiteY15" fmla="*/ 1614112 h 2379841"/>
                <a:gd name="connsiteX16" fmla="*/ 1717150 w 8077608"/>
                <a:gd name="connsiteY16" fmla="*/ 1519983 h 2379841"/>
                <a:gd name="connsiteX17" fmla="*/ 1797832 w 8077608"/>
                <a:gd name="connsiteY17" fmla="*/ 1439300 h 2379841"/>
                <a:gd name="connsiteX18" fmla="*/ 1811279 w 8077608"/>
                <a:gd name="connsiteY18" fmla="*/ 1398959 h 2379841"/>
                <a:gd name="connsiteX19" fmla="*/ 1891961 w 8077608"/>
                <a:gd name="connsiteY19" fmla="*/ 1318277 h 2379841"/>
                <a:gd name="connsiteX20" fmla="*/ 1905408 w 8077608"/>
                <a:gd name="connsiteY20" fmla="*/ 1277936 h 2379841"/>
                <a:gd name="connsiteX21" fmla="*/ 1959197 w 8077608"/>
                <a:gd name="connsiteY21" fmla="*/ 1264489 h 2379841"/>
                <a:gd name="connsiteX22" fmla="*/ 2026432 w 8077608"/>
                <a:gd name="connsiteY22" fmla="*/ 1210700 h 2379841"/>
                <a:gd name="connsiteX23" fmla="*/ 2107114 w 8077608"/>
                <a:gd name="connsiteY23" fmla="*/ 1170359 h 2379841"/>
                <a:gd name="connsiteX24" fmla="*/ 2187797 w 8077608"/>
                <a:gd name="connsiteY24" fmla="*/ 1103124 h 2379841"/>
                <a:gd name="connsiteX25" fmla="*/ 2241585 w 8077608"/>
                <a:gd name="connsiteY25" fmla="*/ 1049336 h 2379841"/>
                <a:gd name="connsiteX26" fmla="*/ 2322267 w 8077608"/>
                <a:gd name="connsiteY26" fmla="*/ 982100 h 2379841"/>
                <a:gd name="connsiteX27" fmla="*/ 2335714 w 8077608"/>
                <a:gd name="connsiteY27" fmla="*/ 941759 h 2379841"/>
                <a:gd name="connsiteX28" fmla="*/ 2376056 w 8077608"/>
                <a:gd name="connsiteY28" fmla="*/ 928312 h 2379841"/>
                <a:gd name="connsiteX29" fmla="*/ 2564314 w 8077608"/>
                <a:gd name="connsiteY29" fmla="*/ 941759 h 2379841"/>
                <a:gd name="connsiteX30" fmla="*/ 2658444 w 8077608"/>
                <a:gd name="connsiteY30" fmla="*/ 982100 h 2379841"/>
                <a:gd name="connsiteX31" fmla="*/ 2779467 w 8077608"/>
                <a:gd name="connsiteY31" fmla="*/ 1008995 h 2379841"/>
                <a:gd name="connsiteX32" fmla="*/ 3129091 w 8077608"/>
                <a:gd name="connsiteY32" fmla="*/ 995547 h 2379841"/>
                <a:gd name="connsiteX33" fmla="*/ 3196326 w 8077608"/>
                <a:gd name="connsiteY33" fmla="*/ 982100 h 2379841"/>
                <a:gd name="connsiteX34" fmla="*/ 3707314 w 8077608"/>
                <a:gd name="connsiteY34" fmla="*/ 955206 h 2379841"/>
                <a:gd name="connsiteX35" fmla="*/ 4016597 w 8077608"/>
                <a:gd name="connsiteY35" fmla="*/ 928312 h 2379841"/>
                <a:gd name="connsiteX36" fmla="*/ 4097279 w 8077608"/>
                <a:gd name="connsiteY36" fmla="*/ 914865 h 2379841"/>
                <a:gd name="connsiteX37" fmla="*/ 4272091 w 8077608"/>
                <a:gd name="connsiteY37" fmla="*/ 887971 h 2379841"/>
                <a:gd name="connsiteX38" fmla="*/ 4379667 w 8077608"/>
                <a:gd name="connsiteY38" fmla="*/ 847630 h 2379841"/>
                <a:gd name="connsiteX39" fmla="*/ 4433456 w 8077608"/>
                <a:gd name="connsiteY39" fmla="*/ 834183 h 2379841"/>
                <a:gd name="connsiteX40" fmla="*/ 4473797 w 8077608"/>
                <a:gd name="connsiteY40" fmla="*/ 820736 h 2379841"/>
                <a:gd name="connsiteX41" fmla="*/ 4554479 w 8077608"/>
                <a:gd name="connsiteY41" fmla="*/ 807289 h 2379841"/>
                <a:gd name="connsiteX42" fmla="*/ 4608267 w 8077608"/>
                <a:gd name="connsiteY42" fmla="*/ 780395 h 2379841"/>
                <a:gd name="connsiteX43" fmla="*/ 4648608 w 8077608"/>
                <a:gd name="connsiteY43" fmla="*/ 753500 h 2379841"/>
                <a:gd name="connsiteX44" fmla="*/ 4688950 w 8077608"/>
                <a:gd name="connsiteY44" fmla="*/ 740053 h 2379841"/>
                <a:gd name="connsiteX45" fmla="*/ 5213385 w 8077608"/>
                <a:gd name="connsiteY45" fmla="*/ 686265 h 2379841"/>
                <a:gd name="connsiteX46" fmla="*/ 5334408 w 8077608"/>
                <a:gd name="connsiteY46" fmla="*/ 632477 h 2379841"/>
                <a:gd name="connsiteX47" fmla="*/ 5401644 w 8077608"/>
                <a:gd name="connsiteY47" fmla="*/ 565242 h 2379841"/>
                <a:gd name="connsiteX48" fmla="*/ 5428538 w 8077608"/>
                <a:gd name="connsiteY48" fmla="*/ 538347 h 2379841"/>
                <a:gd name="connsiteX49" fmla="*/ 5468879 w 8077608"/>
                <a:gd name="connsiteY49" fmla="*/ 498006 h 2379841"/>
                <a:gd name="connsiteX50" fmla="*/ 5536114 w 8077608"/>
                <a:gd name="connsiteY50" fmla="*/ 417324 h 2379841"/>
                <a:gd name="connsiteX51" fmla="*/ 5549561 w 8077608"/>
                <a:gd name="connsiteY51" fmla="*/ 376983 h 2379841"/>
                <a:gd name="connsiteX52" fmla="*/ 5576456 w 8077608"/>
                <a:gd name="connsiteY52" fmla="*/ 350089 h 2379841"/>
                <a:gd name="connsiteX53" fmla="*/ 5603350 w 8077608"/>
                <a:gd name="connsiteY53" fmla="*/ 309747 h 2379841"/>
                <a:gd name="connsiteX54" fmla="*/ 5616797 w 8077608"/>
                <a:gd name="connsiteY54" fmla="*/ 255959 h 2379841"/>
                <a:gd name="connsiteX55" fmla="*/ 5630244 w 8077608"/>
                <a:gd name="connsiteY55" fmla="*/ 94595 h 2379841"/>
                <a:gd name="connsiteX56" fmla="*/ 5697479 w 8077608"/>
                <a:gd name="connsiteY56" fmla="*/ 67700 h 2379841"/>
                <a:gd name="connsiteX57" fmla="*/ 5778161 w 8077608"/>
                <a:gd name="connsiteY57" fmla="*/ 40806 h 2379841"/>
                <a:gd name="connsiteX58" fmla="*/ 5818503 w 8077608"/>
                <a:gd name="connsiteY58" fmla="*/ 27359 h 2379841"/>
                <a:gd name="connsiteX59" fmla="*/ 5858844 w 8077608"/>
                <a:gd name="connsiteY59" fmla="*/ 465 h 2379841"/>
                <a:gd name="connsiteX60" fmla="*/ 5872291 w 8077608"/>
                <a:gd name="connsiteY60" fmla="*/ 40806 h 2379841"/>
                <a:gd name="connsiteX61" fmla="*/ 5885738 w 8077608"/>
                <a:gd name="connsiteY61" fmla="*/ 134936 h 2379841"/>
                <a:gd name="connsiteX62" fmla="*/ 5926079 w 8077608"/>
                <a:gd name="connsiteY62" fmla="*/ 215618 h 2379841"/>
                <a:gd name="connsiteX63" fmla="*/ 5966420 w 8077608"/>
                <a:gd name="connsiteY63" fmla="*/ 296300 h 2379841"/>
                <a:gd name="connsiteX64" fmla="*/ 5979867 w 8077608"/>
                <a:gd name="connsiteY64" fmla="*/ 336642 h 2379841"/>
                <a:gd name="connsiteX65" fmla="*/ 6033656 w 8077608"/>
                <a:gd name="connsiteY65" fmla="*/ 417324 h 2379841"/>
                <a:gd name="connsiteX66" fmla="*/ 6060550 w 8077608"/>
                <a:gd name="connsiteY66" fmla="*/ 457665 h 2379841"/>
                <a:gd name="connsiteX67" fmla="*/ 6141232 w 8077608"/>
                <a:gd name="connsiteY67" fmla="*/ 592136 h 2379841"/>
                <a:gd name="connsiteX68" fmla="*/ 6168126 w 8077608"/>
                <a:gd name="connsiteY68" fmla="*/ 632477 h 2379841"/>
                <a:gd name="connsiteX69" fmla="*/ 6181573 w 8077608"/>
                <a:gd name="connsiteY69" fmla="*/ 672818 h 2379841"/>
                <a:gd name="connsiteX70" fmla="*/ 6248808 w 8077608"/>
                <a:gd name="connsiteY70" fmla="*/ 753500 h 2379841"/>
                <a:gd name="connsiteX71" fmla="*/ 6289150 w 8077608"/>
                <a:gd name="connsiteY71" fmla="*/ 834183 h 2379841"/>
                <a:gd name="connsiteX72" fmla="*/ 6329491 w 8077608"/>
                <a:gd name="connsiteY72" fmla="*/ 874524 h 2379841"/>
                <a:gd name="connsiteX73" fmla="*/ 6383279 w 8077608"/>
                <a:gd name="connsiteY73" fmla="*/ 955206 h 2379841"/>
                <a:gd name="connsiteX74" fmla="*/ 6450514 w 8077608"/>
                <a:gd name="connsiteY74" fmla="*/ 1008995 h 2379841"/>
                <a:gd name="connsiteX75" fmla="*/ 6490856 w 8077608"/>
                <a:gd name="connsiteY75" fmla="*/ 1062783 h 2379841"/>
                <a:gd name="connsiteX76" fmla="*/ 6611879 w 8077608"/>
                <a:gd name="connsiteY76" fmla="*/ 1197253 h 2379841"/>
                <a:gd name="connsiteX77" fmla="*/ 6706008 w 8077608"/>
                <a:gd name="connsiteY77" fmla="*/ 1318277 h 2379841"/>
                <a:gd name="connsiteX78" fmla="*/ 6732903 w 8077608"/>
                <a:gd name="connsiteY78" fmla="*/ 1345171 h 2379841"/>
                <a:gd name="connsiteX79" fmla="*/ 6800138 w 8077608"/>
                <a:gd name="connsiteY79" fmla="*/ 1452747 h 2379841"/>
                <a:gd name="connsiteX80" fmla="*/ 6853926 w 8077608"/>
                <a:gd name="connsiteY80" fmla="*/ 1506536 h 2379841"/>
                <a:gd name="connsiteX81" fmla="*/ 6880820 w 8077608"/>
                <a:gd name="connsiteY81" fmla="*/ 1546877 h 2379841"/>
                <a:gd name="connsiteX82" fmla="*/ 7028738 w 8077608"/>
                <a:gd name="connsiteY82" fmla="*/ 1667900 h 2379841"/>
                <a:gd name="connsiteX83" fmla="*/ 7028738 w 8077608"/>
                <a:gd name="connsiteY83" fmla="*/ 1667900 h 2379841"/>
                <a:gd name="connsiteX84" fmla="*/ 7109420 w 8077608"/>
                <a:gd name="connsiteY84" fmla="*/ 1721689 h 2379841"/>
                <a:gd name="connsiteX85" fmla="*/ 7149761 w 8077608"/>
                <a:gd name="connsiteY85" fmla="*/ 1748583 h 2379841"/>
                <a:gd name="connsiteX86" fmla="*/ 7243891 w 8077608"/>
                <a:gd name="connsiteY86" fmla="*/ 1775477 h 2379841"/>
                <a:gd name="connsiteX87" fmla="*/ 7324573 w 8077608"/>
                <a:gd name="connsiteY87" fmla="*/ 1856159 h 2379841"/>
                <a:gd name="connsiteX88" fmla="*/ 7351467 w 8077608"/>
                <a:gd name="connsiteY88" fmla="*/ 1896500 h 2379841"/>
                <a:gd name="connsiteX89" fmla="*/ 7418703 w 8077608"/>
                <a:gd name="connsiteY89" fmla="*/ 1923395 h 2379841"/>
                <a:gd name="connsiteX90" fmla="*/ 7512832 w 8077608"/>
                <a:gd name="connsiteY90" fmla="*/ 1977183 h 2379841"/>
                <a:gd name="connsiteX91" fmla="*/ 7633856 w 8077608"/>
                <a:gd name="connsiteY91" fmla="*/ 1990630 h 2379841"/>
                <a:gd name="connsiteX92" fmla="*/ 7741432 w 8077608"/>
                <a:gd name="connsiteY92" fmla="*/ 2017524 h 2379841"/>
                <a:gd name="connsiteX93" fmla="*/ 7875903 w 8077608"/>
                <a:gd name="connsiteY93" fmla="*/ 2030971 h 2379841"/>
                <a:gd name="connsiteX94" fmla="*/ 8077608 w 8077608"/>
                <a:gd name="connsiteY94" fmla="*/ 2057865 h 2379841"/>
                <a:gd name="connsiteX0" fmla="*/ 0 w 8067665"/>
                <a:gd name="connsiteY0" fmla="*/ 2409566 h 2409906"/>
                <a:gd name="connsiteX1" fmla="*/ 150853 w 8067665"/>
                <a:gd name="connsiteY1" fmla="*/ 2379644 h 2409906"/>
                <a:gd name="connsiteX2" fmla="*/ 254355 w 8067665"/>
                <a:gd name="connsiteY2" fmla="*/ 2368661 h 2409906"/>
                <a:gd name="connsiteX3" fmla="*/ 725571 w 8067665"/>
                <a:gd name="connsiteY3" fmla="*/ 2326806 h 2409906"/>
                <a:gd name="connsiteX4" fmla="*/ 765913 w 8067665"/>
                <a:gd name="connsiteY4" fmla="*/ 2299912 h 2409906"/>
                <a:gd name="connsiteX5" fmla="*/ 860042 w 8067665"/>
                <a:gd name="connsiteY5" fmla="*/ 2273018 h 2409906"/>
                <a:gd name="connsiteX6" fmla="*/ 994513 w 8067665"/>
                <a:gd name="connsiteY6" fmla="*/ 2205783 h 2409906"/>
                <a:gd name="connsiteX7" fmla="*/ 1034854 w 8067665"/>
                <a:gd name="connsiteY7" fmla="*/ 2178889 h 2409906"/>
                <a:gd name="connsiteX8" fmla="*/ 1102089 w 8067665"/>
                <a:gd name="connsiteY8" fmla="*/ 2098206 h 2409906"/>
                <a:gd name="connsiteX9" fmla="*/ 1142430 w 8067665"/>
                <a:gd name="connsiteY9" fmla="*/ 2084759 h 2409906"/>
                <a:gd name="connsiteX10" fmla="*/ 1223113 w 8067665"/>
                <a:gd name="connsiteY10" fmla="*/ 2004077 h 2409906"/>
                <a:gd name="connsiteX11" fmla="*/ 1263454 w 8067665"/>
                <a:gd name="connsiteY11" fmla="*/ 1923395 h 2409906"/>
                <a:gd name="connsiteX12" fmla="*/ 1371030 w 8067665"/>
                <a:gd name="connsiteY12" fmla="*/ 1842712 h 2409906"/>
                <a:gd name="connsiteX13" fmla="*/ 1411371 w 8067665"/>
                <a:gd name="connsiteY13" fmla="*/ 1762030 h 2409906"/>
                <a:gd name="connsiteX14" fmla="*/ 1545842 w 8067665"/>
                <a:gd name="connsiteY14" fmla="*/ 1641006 h 2409906"/>
                <a:gd name="connsiteX15" fmla="*/ 1613077 w 8067665"/>
                <a:gd name="connsiteY15" fmla="*/ 1614112 h 2409906"/>
                <a:gd name="connsiteX16" fmla="*/ 1707207 w 8067665"/>
                <a:gd name="connsiteY16" fmla="*/ 1519983 h 2409906"/>
                <a:gd name="connsiteX17" fmla="*/ 1787889 w 8067665"/>
                <a:gd name="connsiteY17" fmla="*/ 1439300 h 2409906"/>
                <a:gd name="connsiteX18" fmla="*/ 1801336 w 8067665"/>
                <a:gd name="connsiteY18" fmla="*/ 1398959 h 2409906"/>
                <a:gd name="connsiteX19" fmla="*/ 1882018 w 8067665"/>
                <a:gd name="connsiteY19" fmla="*/ 1318277 h 2409906"/>
                <a:gd name="connsiteX20" fmla="*/ 1895465 w 8067665"/>
                <a:gd name="connsiteY20" fmla="*/ 1277936 h 2409906"/>
                <a:gd name="connsiteX21" fmla="*/ 1949254 w 8067665"/>
                <a:gd name="connsiteY21" fmla="*/ 1264489 h 2409906"/>
                <a:gd name="connsiteX22" fmla="*/ 2016489 w 8067665"/>
                <a:gd name="connsiteY22" fmla="*/ 1210700 h 2409906"/>
                <a:gd name="connsiteX23" fmla="*/ 2097171 w 8067665"/>
                <a:gd name="connsiteY23" fmla="*/ 1170359 h 2409906"/>
                <a:gd name="connsiteX24" fmla="*/ 2177854 w 8067665"/>
                <a:gd name="connsiteY24" fmla="*/ 1103124 h 2409906"/>
                <a:gd name="connsiteX25" fmla="*/ 2231642 w 8067665"/>
                <a:gd name="connsiteY25" fmla="*/ 1049336 h 2409906"/>
                <a:gd name="connsiteX26" fmla="*/ 2312324 w 8067665"/>
                <a:gd name="connsiteY26" fmla="*/ 982100 h 2409906"/>
                <a:gd name="connsiteX27" fmla="*/ 2325771 w 8067665"/>
                <a:gd name="connsiteY27" fmla="*/ 941759 h 2409906"/>
                <a:gd name="connsiteX28" fmla="*/ 2366113 w 8067665"/>
                <a:gd name="connsiteY28" fmla="*/ 928312 h 2409906"/>
                <a:gd name="connsiteX29" fmla="*/ 2554371 w 8067665"/>
                <a:gd name="connsiteY29" fmla="*/ 941759 h 2409906"/>
                <a:gd name="connsiteX30" fmla="*/ 2648501 w 8067665"/>
                <a:gd name="connsiteY30" fmla="*/ 982100 h 2409906"/>
                <a:gd name="connsiteX31" fmla="*/ 2769524 w 8067665"/>
                <a:gd name="connsiteY31" fmla="*/ 1008995 h 2409906"/>
                <a:gd name="connsiteX32" fmla="*/ 3119148 w 8067665"/>
                <a:gd name="connsiteY32" fmla="*/ 995547 h 2409906"/>
                <a:gd name="connsiteX33" fmla="*/ 3186383 w 8067665"/>
                <a:gd name="connsiteY33" fmla="*/ 982100 h 2409906"/>
                <a:gd name="connsiteX34" fmla="*/ 3697371 w 8067665"/>
                <a:gd name="connsiteY34" fmla="*/ 955206 h 2409906"/>
                <a:gd name="connsiteX35" fmla="*/ 4006654 w 8067665"/>
                <a:gd name="connsiteY35" fmla="*/ 928312 h 2409906"/>
                <a:gd name="connsiteX36" fmla="*/ 4087336 w 8067665"/>
                <a:gd name="connsiteY36" fmla="*/ 914865 h 2409906"/>
                <a:gd name="connsiteX37" fmla="*/ 4262148 w 8067665"/>
                <a:gd name="connsiteY37" fmla="*/ 887971 h 2409906"/>
                <a:gd name="connsiteX38" fmla="*/ 4369724 w 8067665"/>
                <a:gd name="connsiteY38" fmla="*/ 847630 h 2409906"/>
                <a:gd name="connsiteX39" fmla="*/ 4423513 w 8067665"/>
                <a:gd name="connsiteY39" fmla="*/ 834183 h 2409906"/>
                <a:gd name="connsiteX40" fmla="*/ 4463854 w 8067665"/>
                <a:gd name="connsiteY40" fmla="*/ 820736 h 2409906"/>
                <a:gd name="connsiteX41" fmla="*/ 4544536 w 8067665"/>
                <a:gd name="connsiteY41" fmla="*/ 807289 h 2409906"/>
                <a:gd name="connsiteX42" fmla="*/ 4598324 w 8067665"/>
                <a:gd name="connsiteY42" fmla="*/ 780395 h 2409906"/>
                <a:gd name="connsiteX43" fmla="*/ 4638665 w 8067665"/>
                <a:gd name="connsiteY43" fmla="*/ 753500 h 2409906"/>
                <a:gd name="connsiteX44" fmla="*/ 4679007 w 8067665"/>
                <a:gd name="connsiteY44" fmla="*/ 740053 h 2409906"/>
                <a:gd name="connsiteX45" fmla="*/ 5203442 w 8067665"/>
                <a:gd name="connsiteY45" fmla="*/ 686265 h 2409906"/>
                <a:gd name="connsiteX46" fmla="*/ 5324465 w 8067665"/>
                <a:gd name="connsiteY46" fmla="*/ 632477 h 2409906"/>
                <a:gd name="connsiteX47" fmla="*/ 5391701 w 8067665"/>
                <a:gd name="connsiteY47" fmla="*/ 565242 h 2409906"/>
                <a:gd name="connsiteX48" fmla="*/ 5418595 w 8067665"/>
                <a:gd name="connsiteY48" fmla="*/ 538347 h 2409906"/>
                <a:gd name="connsiteX49" fmla="*/ 5458936 w 8067665"/>
                <a:gd name="connsiteY49" fmla="*/ 498006 h 2409906"/>
                <a:gd name="connsiteX50" fmla="*/ 5526171 w 8067665"/>
                <a:gd name="connsiteY50" fmla="*/ 417324 h 2409906"/>
                <a:gd name="connsiteX51" fmla="*/ 5539618 w 8067665"/>
                <a:gd name="connsiteY51" fmla="*/ 376983 h 2409906"/>
                <a:gd name="connsiteX52" fmla="*/ 5566513 w 8067665"/>
                <a:gd name="connsiteY52" fmla="*/ 350089 h 2409906"/>
                <a:gd name="connsiteX53" fmla="*/ 5593407 w 8067665"/>
                <a:gd name="connsiteY53" fmla="*/ 309747 h 2409906"/>
                <a:gd name="connsiteX54" fmla="*/ 5606854 w 8067665"/>
                <a:gd name="connsiteY54" fmla="*/ 255959 h 2409906"/>
                <a:gd name="connsiteX55" fmla="*/ 5620301 w 8067665"/>
                <a:gd name="connsiteY55" fmla="*/ 94595 h 2409906"/>
                <a:gd name="connsiteX56" fmla="*/ 5687536 w 8067665"/>
                <a:gd name="connsiteY56" fmla="*/ 67700 h 2409906"/>
                <a:gd name="connsiteX57" fmla="*/ 5768218 w 8067665"/>
                <a:gd name="connsiteY57" fmla="*/ 40806 h 2409906"/>
                <a:gd name="connsiteX58" fmla="*/ 5808560 w 8067665"/>
                <a:gd name="connsiteY58" fmla="*/ 27359 h 2409906"/>
                <a:gd name="connsiteX59" fmla="*/ 5848901 w 8067665"/>
                <a:gd name="connsiteY59" fmla="*/ 465 h 2409906"/>
                <a:gd name="connsiteX60" fmla="*/ 5862348 w 8067665"/>
                <a:gd name="connsiteY60" fmla="*/ 40806 h 2409906"/>
                <a:gd name="connsiteX61" fmla="*/ 5875795 w 8067665"/>
                <a:gd name="connsiteY61" fmla="*/ 134936 h 2409906"/>
                <a:gd name="connsiteX62" fmla="*/ 5916136 w 8067665"/>
                <a:gd name="connsiteY62" fmla="*/ 215618 h 2409906"/>
                <a:gd name="connsiteX63" fmla="*/ 5956477 w 8067665"/>
                <a:gd name="connsiteY63" fmla="*/ 296300 h 2409906"/>
                <a:gd name="connsiteX64" fmla="*/ 5969924 w 8067665"/>
                <a:gd name="connsiteY64" fmla="*/ 336642 h 2409906"/>
                <a:gd name="connsiteX65" fmla="*/ 6023713 w 8067665"/>
                <a:gd name="connsiteY65" fmla="*/ 417324 h 2409906"/>
                <a:gd name="connsiteX66" fmla="*/ 6050607 w 8067665"/>
                <a:gd name="connsiteY66" fmla="*/ 457665 h 2409906"/>
                <a:gd name="connsiteX67" fmla="*/ 6131289 w 8067665"/>
                <a:gd name="connsiteY67" fmla="*/ 592136 h 2409906"/>
                <a:gd name="connsiteX68" fmla="*/ 6158183 w 8067665"/>
                <a:gd name="connsiteY68" fmla="*/ 632477 h 2409906"/>
                <a:gd name="connsiteX69" fmla="*/ 6171630 w 8067665"/>
                <a:gd name="connsiteY69" fmla="*/ 672818 h 2409906"/>
                <a:gd name="connsiteX70" fmla="*/ 6238865 w 8067665"/>
                <a:gd name="connsiteY70" fmla="*/ 753500 h 2409906"/>
                <a:gd name="connsiteX71" fmla="*/ 6279207 w 8067665"/>
                <a:gd name="connsiteY71" fmla="*/ 834183 h 2409906"/>
                <a:gd name="connsiteX72" fmla="*/ 6319548 w 8067665"/>
                <a:gd name="connsiteY72" fmla="*/ 874524 h 2409906"/>
                <a:gd name="connsiteX73" fmla="*/ 6373336 w 8067665"/>
                <a:gd name="connsiteY73" fmla="*/ 955206 h 2409906"/>
                <a:gd name="connsiteX74" fmla="*/ 6440571 w 8067665"/>
                <a:gd name="connsiteY74" fmla="*/ 1008995 h 2409906"/>
                <a:gd name="connsiteX75" fmla="*/ 6480913 w 8067665"/>
                <a:gd name="connsiteY75" fmla="*/ 1062783 h 2409906"/>
                <a:gd name="connsiteX76" fmla="*/ 6601936 w 8067665"/>
                <a:gd name="connsiteY76" fmla="*/ 1197253 h 2409906"/>
                <a:gd name="connsiteX77" fmla="*/ 6696065 w 8067665"/>
                <a:gd name="connsiteY77" fmla="*/ 1318277 h 2409906"/>
                <a:gd name="connsiteX78" fmla="*/ 6722960 w 8067665"/>
                <a:gd name="connsiteY78" fmla="*/ 1345171 h 2409906"/>
                <a:gd name="connsiteX79" fmla="*/ 6790195 w 8067665"/>
                <a:gd name="connsiteY79" fmla="*/ 1452747 h 2409906"/>
                <a:gd name="connsiteX80" fmla="*/ 6843983 w 8067665"/>
                <a:gd name="connsiteY80" fmla="*/ 1506536 h 2409906"/>
                <a:gd name="connsiteX81" fmla="*/ 6870877 w 8067665"/>
                <a:gd name="connsiteY81" fmla="*/ 1546877 h 2409906"/>
                <a:gd name="connsiteX82" fmla="*/ 7018795 w 8067665"/>
                <a:gd name="connsiteY82" fmla="*/ 1667900 h 2409906"/>
                <a:gd name="connsiteX83" fmla="*/ 7018795 w 8067665"/>
                <a:gd name="connsiteY83" fmla="*/ 1667900 h 2409906"/>
                <a:gd name="connsiteX84" fmla="*/ 7099477 w 8067665"/>
                <a:gd name="connsiteY84" fmla="*/ 1721689 h 2409906"/>
                <a:gd name="connsiteX85" fmla="*/ 7139818 w 8067665"/>
                <a:gd name="connsiteY85" fmla="*/ 1748583 h 2409906"/>
                <a:gd name="connsiteX86" fmla="*/ 7233948 w 8067665"/>
                <a:gd name="connsiteY86" fmla="*/ 1775477 h 2409906"/>
                <a:gd name="connsiteX87" fmla="*/ 7314630 w 8067665"/>
                <a:gd name="connsiteY87" fmla="*/ 1856159 h 2409906"/>
                <a:gd name="connsiteX88" fmla="*/ 7341524 w 8067665"/>
                <a:gd name="connsiteY88" fmla="*/ 1896500 h 2409906"/>
                <a:gd name="connsiteX89" fmla="*/ 7408760 w 8067665"/>
                <a:gd name="connsiteY89" fmla="*/ 1923395 h 2409906"/>
                <a:gd name="connsiteX90" fmla="*/ 7502889 w 8067665"/>
                <a:gd name="connsiteY90" fmla="*/ 1977183 h 2409906"/>
                <a:gd name="connsiteX91" fmla="*/ 7623913 w 8067665"/>
                <a:gd name="connsiteY91" fmla="*/ 1990630 h 2409906"/>
                <a:gd name="connsiteX92" fmla="*/ 7731489 w 8067665"/>
                <a:gd name="connsiteY92" fmla="*/ 2017524 h 2409906"/>
                <a:gd name="connsiteX93" fmla="*/ 7865960 w 8067665"/>
                <a:gd name="connsiteY93" fmla="*/ 2030971 h 2409906"/>
                <a:gd name="connsiteX94" fmla="*/ 8067665 w 8067665"/>
                <a:gd name="connsiteY94" fmla="*/ 2057865 h 240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067665" h="2409906">
                  <a:moveTo>
                    <a:pt x="0" y="2409566"/>
                  </a:moveTo>
                  <a:cubicBezTo>
                    <a:pt x="18258" y="2413217"/>
                    <a:pt x="108461" y="2386461"/>
                    <a:pt x="150853" y="2379644"/>
                  </a:cubicBezTo>
                  <a:cubicBezTo>
                    <a:pt x="193245" y="2372827"/>
                    <a:pt x="158569" y="2377467"/>
                    <a:pt x="254355" y="2368661"/>
                  </a:cubicBezTo>
                  <a:cubicBezTo>
                    <a:pt x="350141" y="2359855"/>
                    <a:pt x="640311" y="2338264"/>
                    <a:pt x="725571" y="2326806"/>
                  </a:cubicBezTo>
                  <a:cubicBezTo>
                    <a:pt x="810831" y="2315348"/>
                    <a:pt x="751058" y="2306278"/>
                    <a:pt x="765913" y="2299912"/>
                  </a:cubicBezTo>
                  <a:cubicBezTo>
                    <a:pt x="796376" y="2286856"/>
                    <a:pt x="830604" y="2289372"/>
                    <a:pt x="860042" y="2273018"/>
                  </a:cubicBezTo>
                  <a:cubicBezTo>
                    <a:pt x="991032" y="2200246"/>
                    <a:pt x="889394" y="2232062"/>
                    <a:pt x="994513" y="2205783"/>
                  </a:cubicBezTo>
                  <a:cubicBezTo>
                    <a:pt x="1007960" y="2196818"/>
                    <a:pt x="1023426" y="2190317"/>
                    <a:pt x="1034854" y="2178889"/>
                  </a:cubicBezTo>
                  <a:cubicBezTo>
                    <a:pt x="1084466" y="2129276"/>
                    <a:pt x="1036000" y="2142265"/>
                    <a:pt x="1102089" y="2098206"/>
                  </a:cubicBezTo>
                  <a:cubicBezTo>
                    <a:pt x="1113883" y="2090343"/>
                    <a:pt x="1128983" y="2089241"/>
                    <a:pt x="1142430" y="2084759"/>
                  </a:cubicBezTo>
                  <a:cubicBezTo>
                    <a:pt x="1187332" y="2051083"/>
                    <a:pt x="1199518" y="2051267"/>
                    <a:pt x="1223113" y="2004077"/>
                  </a:cubicBezTo>
                  <a:cubicBezTo>
                    <a:pt x="1241915" y="1966474"/>
                    <a:pt x="1228419" y="1954927"/>
                    <a:pt x="1263454" y="1923395"/>
                  </a:cubicBezTo>
                  <a:cubicBezTo>
                    <a:pt x="1296771" y="1893410"/>
                    <a:pt x="1335171" y="1869606"/>
                    <a:pt x="1371030" y="1842712"/>
                  </a:cubicBezTo>
                  <a:cubicBezTo>
                    <a:pt x="1384477" y="1815818"/>
                    <a:pt x="1393038" y="1785863"/>
                    <a:pt x="1411371" y="1762030"/>
                  </a:cubicBezTo>
                  <a:cubicBezTo>
                    <a:pt x="1433150" y="1733717"/>
                    <a:pt x="1499093" y="1664380"/>
                    <a:pt x="1545842" y="1641006"/>
                  </a:cubicBezTo>
                  <a:cubicBezTo>
                    <a:pt x="1567432" y="1630211"/>
                    <a:pt x="1590665" y="1623077"/>
                    <a:pt x="1613077" y="1614112"/>
                  </a:cubicBezTo>
                  <a:cubicBezTo>
                    <a:pt x="1643505" y="1522829"/>
                    <a:pt x="1599316" y="1627875"/>
                    <a:pt x="1707207" y="1519983"/>
                  </a:cubicBezTo>
                  <a:lnTo>
                    <a:pt x="1787889" y="1439300"/>
                  </a:lnTo>
                  <a:cubicBezTo>
                    <a:pt x="1792371" y="1425853"/>
                    <a:pt x="1792634" y="1410148"/>
                    <a:pt x="1801336" y="1398959"/>
                  </a:cubicBezTo>
                  <a:cubicBezTo>
                    <a:pt x="1824687" y="1368937"/>
                    <a:pt x="1882018" y="1318277"/>
                    <a:pt x="1882018" y="1318277"/>
                  </a:cubicBezTo>
                  <a:cubicBezTo>
                    <a:pt x="1886500" y="1304830"/>
                    <a:pt x="1884397" y="1286791"/>
                    <a:pt x="1895465" y="1277936"/>
                  </a:cubicBezTo>
                  <a:cubicBezTo>
                    <a:pt x="1909897" y="1266391"/>
                    <a:pt x="1932267" y="1271769"/>
                    <a:pt x="1949254" y="1264489"/>
                  </a:cubicBezTo>
                  <a:cubicBezTo>
                    <a:pt x="1993828" y="1245386"/>
                    <a:pt x="1983122" y="1237394"/>
                    <a:pt x="2016489" y="1210700"/>
                  </a:cubicBezTo>
                  <a:cubicBezTo>
                    <a:pt x="2053727" y="1180909"/>
                    <a:pt x="2054563" y="1184562"/>
                    <a:pt x="2097171" y="1170359"/>
                  </a:cubicBezTo>
                  <a:cubicBezTo>
                    <a:pt x="2205962" y="1025309"/>
                    <a:pt x="2078340" y="1174206"/>
                    <a:pt x="2177854" y="1103124"/>
                  </a:cubicBezTo>
                  <a:cubicBezTo>
                    <a:pt x="2198487" y="1088386"/>
                    <a:pt x="2212390" y="1065837"/>
                    <a:pt x="2231642" y="1049336"/>
                  </a:cubicBezTo>
                  <a:cubicBezTo>
                    <a:pt x="2362679" y="937019"/>
                    <a:pt x="2172452" y="1121976"/>
                    <a:pt x="2312324" y="982100"/>
                  </a:cubicBezTo>
                  <a:cubicBezTo>
                    <a:pt x="2316806" y="968653"/>
                    <a:pt x="2315748" y="951782"/>
                    <a:pt x="2325771" y="941759"/>
                  </a:cubicBezTo>
                  <a:cubicBezTo>
                    <a:pt x="2335794" y="931736"/>
                    <a:pt x="2351938" y="928312"/>
                    <a:pt x="2366113" y="928312"/>
                  </a:cubicBezTo>
                  <a:cubicBezTo>
                    <a:pt x="2429026" y="928312"/>
                    <a:pt x="2491618" y="937277"/>
                    <a:pt x="2554371" y="941759"/>
                  </a:cubicBezTo>
                  <a:cubicBezTo>
                    <a:pt x="2666316" y="969745"/>
                    <a:pt x="2555638" y="935668"/>
                    <a:pt x="2648501" y="982100"/>
                  </a:cubicBezTo>
                  <a:cubicBezTo>
                    <a:pt x="2681603" y="998651"/>
                    <a:pt x="2738539" y="1003830"/>
                    <a:pt x="2769524" y="1008995"/>
                  </a:cubicBezTo>
                  <a:cubicBezTo>
                    <a:pt x="2886065" y="1004512"/>
                    <a:pt x="3002762" y="1003056"/>
                    <a:pt x="3119148" y="995547"/>
                  </a:cubicBezTo>
                  <a:cubicBezTo>
                    <a:pt x="3141956" y="994075"/>
                    <a:pt x="3163667" y="984624"/>
                    <a:pt x="3186383" y="982100"/>
                  </a:cubicBezTo>
                  <a:cubicBezTo>
                    <a:pt x="3335210" y="965564"/>
                    <a:pt x="3567236" y="960411"/>
                    <a:pt x="3697371" y="955206"/>
                  </a:cubicBezTo>
                  <a:cubicBezTo>
                    <a:pt x="3885599" y="923835"/>
                    <a:pt x="3660545" y="958408"/>
                    <a:pt x="4006654" y="928312"/>
                  </a:cubicBezTo>
                  <a:cubicBezTo>
                    <a:pt x="4033816" y="925950"/>
                    <a:pt x="4060388" y="919011"/>
                    <a:pt x="4087336" y="914865"/>
                  </a:cubicBezTo>
                  <a:cubicBezTo>
                    <a:pt x="4312290" y="880257"/>
                    <a:pt x="4060879" y="921515"/>
                    <a:pt x="4262148" y="887971"/>
                  </a:cubicBezTo>
                  <a:cubicBezTo>
                    <a:pt x="4297669" y="873763"/>
                    <a:pt x="4332835" y="858170"/>
                    <a:pt x="4369724" y="847630"/>
                  </a:cubicBezTo>
                  <a:cubicBezTo>
                    <a:pt x="4387494" y="842553"/>
                    <a:pt x="4405743" y="839260"/>
                    <a:pt x="4423513" y="834183"/>
                  </a:cubicBezTo>
                  <a:cubicBezTo>
                    <a:pt x="4437142" y="830289"/>
                    <a:pt x="4450017" y="823811"/>
                    <a:pt x="4463854" y="820736"/>
                  </a:cubicBezTo>
                  <a:cubicBezTo>
                    <a:pt x="4490470" y="814821"/>
                    <a:pt x="4517642" y="811771"/>
                    <a:pt x="4544536" y="807289"/>
                  </a:cubicBezTo>
                  <a:cubicBezTo>
                    <a:pt x="4562465" y="798324"/>
                    <a:pt x="4580920" y="790341"/>
                    <a:pt x="4598324" y="780395"/>
                  </a:cubicBezTo>
                  <a:cubicBezTo>
                    <a:pt x="4612356" y="772377"/>
                    <a:pt x="4624210" y="760728"/>
                    <a:pt x="4638665" y="753500"/>
                  </a:cubicBezTo>
                  <a:cubicBezTo>
                    <a:pt x="4651343" y="747161"/>
                    <a:pt x="4665560" y="744535"/>
                    <a:pt x="4679007" y="740053"/>
                  </a:cubicBezTo>
                  <a:cubicBezTo>
                    <a:pt x="4857292" y="621196"/>
                    <a:pt x="4668473" y="737214"/>
                    <a:pt x="5203442" y="686265"/>
                  </a:cubicBezTo>
                  <a:cubicBezTo>
                    <a:pt x="5240179" y="682766"/>
                    <a:pt x="5294330" y="658845"/>
                    <a:pt x="5324465" y="632477"/>
                  </a:cubicBezTo>
                  <a:cubicBezTo>
                    <a:pt x="5348318" y="611606"/>
                    <a:pt x="5369289" y="587654"/>
                    <a:pt x="5391701" y="565242"/>
                  </a:cubicBezTo>
                  <a:lnTo>
                    <a:pt x="5418595" y="538347"/>
                  </a:lnTo>
                  <a:cubicBezTo>
                    <a:pt x="5432042" y="524900"/>
                    <a:pt x="5448387" y="513829"/>
                    <a:pt x="5458936" y="498006"/>
                  </a:cubicBezTo>
                  <a:cubicBezTo>
                    <a:pt x="5496379" y="441842"/>
                    <a:pt x="5474402" y="469093"/>
                    <a:pt x="5526171" y="417324"/>
                  </a:cubicBezTo>
                  <a:cubicBezTo>
                    <a:pt x="5530653" y="403877"/>
                    <a:pt x="5532325" y="389137"/>
                    <a:pt x="5539618" y="376983"/>
                  </a:cubicBezTo>
                  <a:cubicBezTo>
                    <a:pt x="5546141" y="366112"/>
                    <a:pt x="5558593" y="359989"/>
                    <a:pt x="5566513" y="350089"/>
                  </a:cubicBezTo>
                  <a:cubicBezTo>
                    <a:pt x="5576609" y="337469"/>
                    <a:pt x="5584442" y="323194"/>
                    <a:pt x="5593407" y="309747"/>
                  </a:cubicBezTo>
                  <a:cubicBezTo>
                    <a:pt x="5597889" y="291818"/>
                    <a:pt x="5604562" y="274297"/>
                    <a:pt x="5606854" y="255959"/>
                  </a:cubicBezTo>
                  <a:cubicBezTo>
                    <a:pt x="5613549" y="202401"/>
                    <a:pt x="5599040" y="144205"/>
                    <a:pt x="5620301" y="94595"/>
                  </a:cubicBezTo>
                  <a:cubicBezTo>
                    <a:pt x="5629809" y="72408"/>
                    <a:pt x="5664851" y="75949"/>
                    <a:pt x="5687536" y="67700"/>
                  </a:cubicBezTo>
                  <a:cubicBezTo>
                    <a:pt x="5714178" y="58012"/>
                    <a:pt x="5741324" y="49771"/>
                    <a:pt x="5768218" y="40806"/>
                  </a:cubicBezTo>
                  <a:lnTo>
                    <a:pt x="5808560" y="27359"/>
                  </a:lnTo>
                  <a:cubicBezTo>
                    <a:pt x="5822007" y="18394"/>
                    <a:pt x="5833222" y="-3455"/>
                    <a:pt x="5848901" y="465"/>
                  </a:cubicBezTo>
                  <a:cubicBezTo>
                    <a:pt x="5862652" y="3903"/>
                    <a:pt x="5859568" y="26907"/>
                    <a:pt x="5862348" y="40806"/>
                  </a:cubicBezTo>
                  <a:cubicBezTo>
                    <a:pt x="5868564" y="71886"/>
                    <a:pt x="5869579" y="103856"/>
                    <a:pt x="5875795" y="134936"/>
                  </a:cubicBezTo>
                  <a:cubicBezTo>
                    <a:pt x="5887061" y="191268"/>
                    <a:pt x="5889693" y="162732"/>
                    <a:pt x="5916136" y="215618"/>
                  </a:cubicBezTo>
                  <a:cubicBezTo>
                    <a:pt x="5971809" y="326964"/>
                    <a:pt x="5879403" y="180688"/>
                    <a:pt x="5956477" y="296300"/>
                  </a:cubicBezTo>
                  <a:cubicBezTo>
                    <a:pt x="5960959" y="309747"/>
                    <a:pt x="5963040" y="324251"/>
                    <a:pt x="5969924" y="336642"/>
                  </a:cubicBezTo>
                  <a:cubicBezTo>
                    <a:pt x="5985621" y="364897"/>
                    <a:pt x="6005783" y="390430"/>
                    <a:pt x="6023713" y="417324"/>
                  </a:cubicBezTo>
                  <a:cubicBezTo>
                    <a:pt x="6032678" y="430771"/>
                    <a:pt x="6043379" y="443210"/>
                    <a:pt x="6050607" y="457665"/>
                  </a:cubicBezTo>
                  <a:cubicBezTo>
                    <a:pt x="6091956" y="540362"/>
                    <a:pt x="6066383" y="494776"/>
                    <a:pt x="6131289" y="592136"/>
                  </a:cubicBezTo>
                  <a:cubicBezTo>
                    <a:pt x="6140254" y="605583"/>
                    <a:pt x="6153072" y="617145"/>
                    <a:pt x="6158183" y="632477"/>
                  </a:cubicBezTo>
                  <a:cubicBezTo>
                    <a:pt x="6162665" y="645924"/>
                    <a:pt x="6165291" y="660140"/>
                    <a:pt x="6171630" y="672818"/>
                  </a:cubicBezTo>
                  <a:cubicBezTo>
                    <a:pt x="6190351" y="710261"/>
                    <a:pt x="6209126" y="723761"/>
                    <a:pt x="6238865" y="753500"/>
                  </a:cubicBezTo>
                  <a:cubicBezTo>
                    <a:pt x="6252343" y="793931"/>
                    <a:pt x="6250244" y="799427"/>
                    <a:pt x="6279207" y="834183"/>
                  </a:cubicBezTo>
                  <a:cubicBezTo>
                    <a:pt x="6291381" y="848792"/>
                    <a:pt x="6307873" y="859513"/>
                    <a:pt x="6319548" y="874524"/>
                  </a:cubicBezTo>
                  <a:cubicBezTo>
                    <a:pt x="6339392" y="900038"/>
                    <a:pt x="6346442" y="937277"/>
                    <a:pt x="6373336" y="955206"/>
                  </a:cubicBezTo>
                  <a:cubicBezTo>
                    <a:pt x="6405911" y="976923"/>
                    <a:pt x="6416617" y="980251"/>
                    <a:pt x="6440571" y="1008995"/>
                  </a:cubicBezTo>
                  <a:cubicBezTo>
                    <a:pt x="6454919" y="1026212"/>
                    <a:pt x="6465920" y="1046124"/>
                    <a:pt x="6480913" y="1062783"/>
                  </a:cubicBezTo>
                  <a:cubicBezTo>
                    <a:pt x="6625701" y="1223657"/>
                    <a:pt x="6510338" y="1075122"/>
                    <a:pt x="6601936" y="1197253"/>
                  </a:cubicBezTo>
                  <a:cubicBezTo>
                    <a:pt x="6627410" y="1273677"/>
                    <a:pt x="6605360" y="1227573"/>
                    <a:pt x="6696065" y="1318277"/>
                  </a:cubicBezTo>
                  <a:lnTo>
                    <a:pt x="6722960" y="1345171"/>
                  </a:lnTo>
                  <a:cubicBezTo>
                    <a:pt x="6749468" y="1398188"/>
                    <a:pt x="6749464" y="1406196"/>
                    <a:pt x="6790195" y="1452747"/>
                  </a:cubicBezTo>
                  <a:cubicBezTo>
                    <a:pt x="6806892" y="1471830"/>
                    <a:pt x="6827482" y="1487284"/>
                    <a:pt x="6843983" y="1506536"/>
                  </a:cubicBezTo>
                  <a:cubicBezTo>
                    <a:pt x="6854501" y="1518807"/>
                    <a:pt x="6860235" y="1534714"/>
                    <a:pt x="6870877" y="1546877"/>
                  </a:cubicBezTo>
                  <a:cubicBezTo>
                    <a:pt x="6933940" y="1618948"/>
                    <a:pt x="6939305" y="1614907"/>
                    <a:pt x="7018795" y="1667900"/>
                  </a:cubicBezTo>
                  <a:lnTo>
                    <a:pt x="7018795" y="1667900"/>
                  </a:lnTo>
                  <a:cubicBezTo>
                    <a:pt x="7066728" y="1715834"/>
                    <a:pt x="7023496" y="1678271"/>
                    <a:pt x="7099477" y="1721689"/>
                  </a:cubicBezTo>
                  <a:cubicBezTo>
                    <a:pt x="7113509" y="1729707"/>
                    <a:pt x="7125363" y="1741356"/>
                    <a:pt x="7139818" y="1748583"/>
                  </a:cubicBezTo>
                  <a:cubicBezTo>
                    <a:pt x="7159108" y="1758228"/>
                    <a:pt x="7216716" y="1771169"/>
                    <a:pt x="7233948" y="1775477"/>
                  </a:cubicBezTo>
                  <a:cubicBezTo>
                    <a:pt x="7297329" y="1870548"/>
                    <a:pt x="7214554" y="1756083"/>
                    <a:pt x="7314630" y="1856159"/>
                  </a:cubicBezTo>
                  <a:cubicBezTo>
                    <a:pt x="7326058" y="1867587"/>
                    <a:pt x="7328373" y="1887106"/>
                    <a:pt x="7341524" y="1896500"/>
                  </a:cubicBezTo>
                  <a:cubicBezTo>
                    <a:pt x="7361166" y="1910530"/>
                    <a:pt x="7387659" y="1911672"/>
                    <a:pt x="7408760" y="1923395"/>
                  </a:cubicBezTo>
                  <a:cubicBezTo>
                    <a:pt x="7464707" y="1954477"/>
                    <a:pt x="7447093" y="1967884"/>
                    <a:pt x="7502889" y="1977183"/>
                  </a:cubicBezTo>
                  <a:cubicBezTo>
                    <a:pt x="7542926" y="1983856"/>
                    <a:pt x="7583572" y="1986148"/>
                    <a:pt x="7623913" y="1990630"/>
                  </a:cubicBezTo>
                  <a:cubicBezTo>
                    <a:pt x="7669164" y="2005714"/>
                    <a:pt x="7677400" y="2010312"/>
                    <a:pt x="7731489" y="2017524"/>
                  </a:cubicBezTo>
                  <a:cubicBezTo>
                    <a:pt x="7776141" y="2023478"/>
                    <a:pt x="7821326" y="2024885"/>
                    <a:pt x="7865960" y="2030971"/>
                  </a:cubicBezTo>
                  <a:cubicBezTo>
                    <a:pt x="8079395" y="2060076"/>
                    <a:pt x="7963224" y="2057865"/>
                    <a:pt x="8067665" y="2057865"/>
                  </a:cubicBezTo>
                </a:path>
              </a:pathLst>
            </a:custGeom>
            <a:noFill/>
            <a:ln w="57150" cap="flat" cmpd="sng" algn="ctr">
              <a:solidFill>
                <a:sysClr val="window" lastClr="FFFFFF">
                  <a:lumMod val="85000"/>
                </a:sysClr>
              </a:solidFill>
              <a:prstDash val="sysDash"/>
              <a:round/>
              <a:headEnd type="none" w="med" len="med"/>
              <a:tailEnd type="none" w="med" len="med"/>
            </a:ln>
            <a:effectLst/>
          </p:spPr>
          <p:txBody>
            <a:bodyPr rtlCol="0" anchor="ctr"/>
            <a:lstStyle/>
            <a:p>
              <a:pPr algn="ctr" defTabSz="685709" fontAlgn="auto">
                <a:spcBef>
                  <a:spcPts val="0"/>
                </a:spcBef>
                <a:spcAft>
                  <a:spcPts val="0"/>
                </a:spcAft>
                <a:defRPr/>
              </a:pPr>
              <a:endParaRPr lang="zh-CN" altLang="en-US" sz="1350" kern="0">
                <a:solidFill>
                  <a:prstClr val="black"/>
                </a:solidFill>
                <a:latin typeface="FrutigerNext LT Medium" panose="020B0603040504020204" pitchFamily="34" charset="0"/>
              </a:endParaRPr>
            </a:p>
          </p:txBody>
        </p:sp>
        <p:sp>
          <p:nvSpPr>
            <p:cNvPr id="22" name="任意多边形 21"/>
            <p:cNvSpPr/>
            <p:nvPr/>
          </p:nvSpPr>
          <p:spPr bwMode="auto">
            <a:xfrm>
              <a:off x="2964903" y="3579212"/>
              <a:ext cx="5157538" cy="2040552"/>
            </a:xfrm>
            <a:custGeom>
              <a:avLst/>
              <a:gdLst>
                <a:gd name="connsiteX0" fmla="*/ 0 w 8027894"/>
                <a:gd name="connsiteY0" fmla="*/ 2286465 h 2340253"/>
                <a:gd name="connsiteX1" fmla="*/ 121024 w 8027894"/>
                <a:gd name="connsiteY1" fmla="*/ 2313359 h 2340253"/>
                <a:gd name="connsiteX2" fmla="*/ 174812 w 8027894"/>
                <a:gd name="connsiteY2" fmla="*/ 2340253 h 2340253"/>
                <a:gd name="connsiteX3" fmla="*/ 685800 w 8027894"/>
                <a:gd name="connsiteY3" fmla="*/ 2326806 h 2340253"/>
                <a:gd name="connsiteX4" fmla="*/ 726142 w 8027894"/>
                <a:gd name="connsiteY4" fmla="*/ 2299912 h 2340253"/>
                <a:gd name="connsiteX5" fmla="*/ 820271 w 8027894"/>
                <a:gd name="connsiteY5" fmla="*/ 2273018 h 2340253"/>
                <a:gd name="connsiteX6" fmla="*/ 954742 w 8027894"/>
                <a:gd name="connsiteY6" fmla="*/ 2205783 h 2340253"/>
                <a:gd name="connsiteX7" fmla="*/ 995083 w 8027894"/>
                <a:gd name="connsiteY7" fmla="*/ 2178889 h 2340253"/>
                <a:gd name="connsiteX8" fmla="*/ 1062318 w 8027894"/>
                <a:gd name="connsiteY8" fmla="*/ 2098206 h 2340253"/>
                <a:gd name="connsiteX9" fmla="*/ 1102659 w 8027894"/>
                <a:gd name="connsiteY9" fmla="*/ 2084759 h 2340253"/>
                <a:gd name="connsiteX10" fmla="*/ 1183342 w 8027894"/>
                <a:gd name="connsiteY10" fmla="*/ 2004077 h 2340253"/>
                <a:gd name="connsiteX11" fmla="*/ 1223683 w 8027894"/>
                <a:gd name="connsiteY11" fmla="*/ 1923395 h 2340253"/>
                <a:gd name="connsiteX12" fmla="*/ 1331259 w 8027894"/>
                <a:gd name="connsiteY12" fmla="*/ 1842712 h 2340253"/>
                <a:gd name="connsiteX13" fmla="*/ 1371600 w 8027894"/>
                <a:gd name="connsiteY13" fmla="*/ 1762030 h 2340253"/>
                <a:gd name="connsiteX14" fmla="*/ 1506071 w 8027894"/>
                <a:gd name="connsiteY14" fmla="*/ 1641006 h 2340253"/>
                <a:gd name="connsiteX15" fmla="*/ 1573306 w 8027894"/>
                <a:gd name="connsiteY15" fmla="*/ 1614112 h 2340253"/>
                <a:gd name="connsiteX16" fmla="*/ 1667436 w 8027894"/>
                <a:gd name="connsiteY16" fmla="*/ 1519983 h 2340253"/>
                <a:gd name="connsiteX17" fmla="*/ 1748118 w 8027894"/>
                <a:gd name="connsiteY17" fmla="*/ 1439300 h 2340253"/>
                <a:gd name="connsiteX18" fmla="*/ 1761565 w 8027894"/>
                <a:gd name="connsiteY18" fmla="*/ 1398959 h 2340253"/>
                <a:gd name="connsiteX19" fmla="*/ 1842247 w 8027894"/>
                <a:gd name="connsiteY19" fmla="*/ 1318277 h 2340253"/>
                <a:gd name="connsiteX20" fmla="*/ 1855694 w 8027894"/>
                <a:gd name="connsiteY20" fmla="*/ 1277936 h 2340253"/>
                <a:gd name="connsiteX21" fmla="*/ 1909483 w 8027894"/>
                <a:gd name="connsiteY21" fmla="*/ 1264489 h 2340253"/>
                <a:gd name="connsiteX22" fmla="*/ 1976718 w 8027894"/>
                <a:gd name="connsiteY22" fmla="*/ 1210700 h 2340253"/>
                <a:gd name="connsiteX23" fmla="*/ 2057400 w 8027894"/>
                <a:gd name="connsiteY23" fmla="*/ 1170359 h 2340253"/>
                <a:gd name="connsiteX24" fmla="*/ 2138083 w 8027894"/>
                <a:gd name="connsiteY24" fmla="*/ 1103124 h 2340253"/>
                <a:gd name="connsiteX25" fmla="*/ 2191871 w 8027894"/>
                <a:gd name="connsiteY25" fmla="*/ 1049336 h 2340253"/>
                <a:gd name="connsiteX26" fmla="*/ 2272553 w 8027894"/>
                <a:gd name="connsiteY26" fmla="*/ 982100 h 2340253"/>
                <a:gd name="connsiteX27" fmla="*/ 2286000 w 8027894"/>
                <a:gd name="connsiteY27" fmla="*/ 941759 h 2340253"/>
                <a:gd name="connsiteX28" fmla="*/ 2326342 w 8027894"/>
                <a:gd name="connsiteY28" fmla="*/ 928312 h 2340253"/>
                <a:gd name="connsiteX29" fmla="*/ 2514600 w 8027894"/>
                <a:gd name="connsiteY29" fmla="*/ 941759 h 2340253"/>
                <a:gd name="connsiteX30" fmla="*/ 2608730 w 8027894"/>
                <a:gd name="connsiteY30" fmla="*/ 982100 h 2340253"/>
                <a:gd name="connsiteX31" fmla="*/ 2729753 w 8027894"/>
                <a:gd name="connsiteY31" fmla="*/ 1008995 h 2340253"/>
                <a:gd name="connsiteX32" fmla="*/ 3079377 w 8027894"/>
                <a:gd name="connsiteY32" fmla="*/ 995547 h 2340253"/>
                <a:gd name="connsiteX33" fmla="*/ 3146612 w 8027894"/>
                <a:gd name="connsiteY33" fmla="*/ 982100 h 2340253"/>
                <a:gd name="connsiteX34" fmla="*/ 3657600 w 8027894"/>
                <a:gd name="connsiteY34" fmla="*/ 955206 h 2340253"/>
                <a:gd name="connsiteX35" fmla="*/ 3966883 w 8027894"/>
                <a:gd name="connsiteY35" fmla="*/ 928312 h 2340253"/>
                <a:gd name="connsiteX36" fmla="*/ 4047565 w 8027894"/>
                <a:gd name="connsiteY36" fmla="*/ 914865 h 2340253"/>
                <a:gd name="connsiteX37" fmla="*/ 4222377 w 8027894"/>
                <a:gd name="connsiteY37" fmla="*/ 887971 h 2340253"/>
                <a:gd name="connsiteX38" fmla="*/ 4329953 w 8027894"/>
                <a:gd name="connsiteY38" fmla="*/ 847630 h 2340253"/>
                <a:gd name="connsiteX39" fmla="*/ 4383742 w 8027894"/>
                <a:gd name="connsiteY39" fmla="*/ 834183 h 2340253"/>
                <a:gd name="connsiteX40" fmla="*/ 4424083 w 8027894"/>
                <a:gd name="connsiteY40" fmla="*/ 820736 h 2340253"/>
                <a:gd name="connsiteX41" fmla="*/ 4504765 w 8027894"/>
                <a:gd name="connsiteY41" fmla="*/ 807289 h 2340253"/>
                <a:gd name="connsiteX42" fmla="*/ 4558553 w 8027894"/>
                <a:gd name="connsiteY42" fmla="*/ 780395 h 2340253"/>
                <a:gd name="connsiteX43" fmla="*/ 4598894 w 8027894"/>
                <a:gd name="connsiteY43" fmla="*/ 753500 h 2340253"/>
                <a:gd name="connsiteX44" fmla="*/ 4639236 w 8027894"/>
                <a:gd name="connsiteY44" fmla="*/ 740053 h 2340253"/>
                <a:gd name="connsiteX45" fmla="*/ 5163671 w 8027894"/>
                <a:gd name="connsiteY45" fmla="*/ 686265 h 2340253"/>
                <a:gd name="connsiteX46" fmla="*/ 5284694 w 8027894"/>
                <a:gd name="connsiteY46" fmla="*/ 632477 h 2340253"/>
                <a:gd name="connsiteX47" fmla="*/ 5351930 w 8027894"/>
                <a:gd name="connsiteY47" fmla="*/ 565242 h 2340253"/>
                <a:gd name="connsiteX48" fmla="*/ 5378824 w 8027894"/>
                <a:gd name="connsiteY48" fmla="*/ 538347 h 2340253"/>
                <a:gd name="connsiteX49" fmla="*/ 5419165 w 8027894"/>
                <a:gd name="connsiteY49" fmla="*/ 498006 h 2340253"/>
                <a:gd name="connsiteX50" fmla="*/ 5486400 w 8027894"/>
                <a:gd name="connsiteY50" fmla="*/ 417324 h 2340253"/>
                <a:gd name="connsiteX51" fmla="*/ 5499847 w 8027894"/>
                <a:gd name="connsiteY51" fmla="*/ 376983 h 2340253"/>
                <a:gd name="connsiteX52" fmla="*/ 5526742 w 8027894"/>
                <a:gd name="connsiteY52" fmla="*/ 350089 h 2340253"/>
                <a:gd name="connsiteX53" fmla="*/ 5553636 w 8027894"/>
                <a:gd name="connsiteY53" fmla="*/ 309747 h 2340253"/>
                <a:gd name="connsiteX54" fmla="*/ 5567083 w 8027894"/>
                <a:gd name="connsiteY54" fmla="*/ 255959 h 2340253"/>
                <a:gd name="connsiteX55" fmla="*/ 5580530 w 8027894"/>
                <a:gd name="connsiteY55" fmla="*/ 94595 h 2340253"/>
                <a:gd name="connsiteX56" fmla="*/ 5647765 w 8027894"/>
                <a:gd name="connsiteY56" fmla="*/ 67700 h 2340253"/>
                <a:gd name="connsiteX57" fmla="*/ 5728447 w 8027894"/>
                <a:gd name="connsiteY57" fmla="*/ 40806 h 2340253"/>
                <a:gd name="connsiteX58" fmla="*/ 5768789 w 8027894"/>
                <a:gd name="connsiteY58" fmla="*/ 27359 h 2340253"/>
                <a:gd name="connsiteX59" fmla="*/ 5809130 w 8027894"/>
                <a:gd name="connsiteY59" fmla="*/ 465 h 2340253"/>
                <a:gd name="connsiteX60" fmla="*/ 5822577 w 8027894"/>
                <a:gd name="connsiteY60" fmla="*/ 40806 h 2340253"/>
                <a:gd name="connsiteX61" fmla="*/ 5836024 w 8027894"/>
                <a:gd name="connsiteY61" fmla="*/ 134936 h 2340253"/>
                <a:gd name="connsiteX62" fmla="*/ 5876365 w 8027894"/>
                <a:gd name="connsiteY62" fmla="*/ 215618 h 2340253"/>
                <a:gd name="connsiteX63" fmla="*/ 5916706 w 8027894"/>
                <a:gd name="connsiteY63" fmla="*/ 296300 h 2340253"/>
                <a:gd name="connsiteX64" fmla="*/ 5930153 w 8027894"/>
                <a:gd name="connsiteY64" fmla="*/ 336642 h 2340253"/>
                <a:gd name="connsiteX65" fmla="*/ 5983942 w 8027894"/>
                <a:gd name="connsiteY65" fmla="*/ 417324 h 2340253"/>
                <a:gd name="connsiteX66" fmla="*/ 6010836 w 8027894"/>
                <a:gd name="connsiteY66" fmla="*/ 457665 h 2340253"/>
                <a:gd name="connsiteX67" fmla="*/ 6091518 w 8027894"/>
                <a:gd name="connsiteY67" fmla="*/ 592136 h 2340253"/>
                <a:gd name="connsiteX68" fmla="*/ 6118412 w 8027894"/>
                <a:gd name="connsiteY68" fmla="*/ 632477 h 2340253"/>
                <a:gd name="connsiteX69" fmla="*/ 6131859 w 8027894"/>
                <a:gd name="connsiteY69" fmla="*/ 672818 h 2340253"/>
                <a:gd name="connsiteX70" fmla="*/ 6199094 w 8027894"/>
                <a:gd name="connsiteY70" fmla="*/ 753500 h 2340253"/>
                <a:gd name="connsiteX71" fmla="*/ 6239436 w 8027894"/>
                <a:gd name="connsiteY71" fmla="*/ 834183 h 2340253"/>
                <a:gd name="connsiteX72" fmla="*/ 6279777 w 8027894"/>
                <a:gd name="connsiteY72" fmla="*/ 874524 h 2340253"/>
                <a:gd name="connsiteX73" fmla="*/ 6333565 w 8027894"/>
                <a:gd name="connsiteY73" fmla="*/ 955206 h 2340253"/>
                <a:gd name="connsiteX74" fmla="*/ 6400800 w 8027894"/>
                <a:gd name="connsiteY74" fmla="*/ 1008995 h 2340253"/>
                <a:gd name="connsiteX75" fmla="*/ 6441142 w 8027894"/>
                <a:gd name="connsiteY75" fmla="*/ 1062783 h 2340253"/>
                <a:gd name="connsiteX76" fmla="*/ 6562165 w 8027894"/>
                <a:gd name="connsiteY76" fmla="*/ 1197253 h 2340253"/>
                <a:gd name="connsiteX77" fmla="*/ 6656294 w 8027894"/>
                <a:gd name="connsiteY77" fmla="*/ 1318277 h 2340253"/>
                <a:gd name="connsiteX78" fmla="*/ 6683189 w 8027894"/>
                <a:gd name="connsiteY78" fmla="*/ 1345171 h 2340253"/>
                <a:gd name="connsiteX79" fmla="*/ 6750424 w 8027894"/>
                <a:gd name="connsiteY79" fmla="*/ 1452747 h 2340253"/>
                <a:gd name="connsiteX80" fmla="*/ 6804212 w 8027894"/>
                <a:gd name="connsiteY80" fmla="*/ 1506536 h 2340253"/>
                <a:gd name="connsiteX81" fmla="*/ 6831106 w 8027894"/>
                <a:gd name="connsiteY81" fmla="*/ 1546877 h 2340253"/>
                <a:gd name="connsiteX82" fmla="*/ 6979024 w 8027894"/>
                <a:gd name="connsiteY82" fmla="*/ 1667900 h 2340253"/>
                <a:gd name="connsiteX83" fmla="*/ 6979024 w 8027894"/>
                <a:gd name="connsiteY83" fmla="*/ 1667900 h 2340253"/>
                <a:gd name="connsiteX84" fmla="*/ 7059706 w 8027894"/>
                <a:gd name="connsiteY84" fmla="*/ 1721689 h 2340253"/>
                <a:gd name="connsiteX85" fmla="*/ 7100047 w 8027894"/>
                <a:gd name="connsiteY85" fmla="*/ 1748583 h 2340253"/>
                <a:gd name="connsiteX86" fmla="*/ 7194177 w 8027894"/>
                <a:gd name="connsiteY86" fmla="*/ 1775477 h 2340253"/>
                <a:gd name="connsiteX87" fmla="*/ 7274859 w 8027894"/>
                <a:gd name="connsiteY87" fmla="*/ 1856159 h 2340253"/>
                <a:gd name="connsiteX88" fmla="*/ 7301753 w 8027894"/>
                <a:gd name="connsiteY88" fmla="*/ 1896500 h 2340253"/>
                <a:gd name="connsiteX89" fmla="*/ 7368989 w 8027894"/>
                <a:gd name="connsiteY89" fmla="*/ 1923395 h 2340253"/>
                <a:gd name="connsiteX90" fmla="*/ 7463118 w 8027894"/>
                <a:gd name="connsiteY90" fmla="*/ 1977183 h 2340253"/>
                <a:gd name="connsiteX91" fmla="*/ 7584142 w 8027894"/>
                <a:gd name="connsiteY91" fmla="*/ 1990630 h 2340253"/>
                <a:gd name="connsiteX92" fmla="*/ 7691718 w 8027894"/>
                <a:gd name="connsiteY92" fmla="*/ 2017524 h 2340253"/>
                <a:gd name="connsiteX93" fmla="*/ 7826189 w 8027894"/>
                <a:gd name="connsiteY93" fmla="*/ 2030971 h 2340253"/>
                <a:gd name="connsiteX94" fmla="*/ 8027894 w 8027894"/>
                <a:gd name="connsiteY94" fmla="*/ 2057865 h 2340253"/>
                <a:gd name="connsiteX0" fmla="*/ 0 w 8027894"/>
                <a:gd name="connsiteY0" fmla="*/ 2286465 h 2343886"/>
                <a:gd name="connsiteX1" fmla="*/ 121025 w 8027894"/>
                <a:gd name="connsiteY1" fmla="*/ 2340176 h 2343886"/>
                <a:gd name="connsiteX2" fmla="*/ 174812 w 8027894"/>
                <a:gd name="connsiteY2" fmla="*/ 2340253 h 2343886"/>
                <a:gd name="connsiteX3" fmla="*/ 685800 w 8027894"/>
                <a:gd name="connsiteY3" fmla="*/ 2326806 h 2343886"/>
                <a:gd name="connsiteX4" fmla="*/ 726142 w 8027894"/>
                <a:gd name="connsiteY4" fmla="*/ 2299912 h 2343886"/>
                <a:gd name="connsiteX5" fmla="*/ 820271 w 8027894"/>
                <a:gd name="connsiteY5" fmla="*/ 2273018 h 2343886"/>
                <a:gd name="connsiteX6" fmla="*/ 954742 w 8027894"/>
                <a:gd name="connsiteY6" fmla="*/ 2205783 h 2343886"/>
                <a:gd name="connsiteX7" fmla="*/ 995083 w 8027894"/>
                <a:gd name="connsiteY7" fmla="*/ 2178889 h 2343886"/>
                <a:gd name="connsiteX8" fmla="*/ 1062318 w 8027894"/>
                <a:gd name="connsiteY8" fmla="*/ 2098206 h 2343886"/>
                <a:gd name="connsiteX9" fmla="*/ 1102659 w 8027894"/>
                <a:gd name="connsiteY9" fmla="*/ 2084759 h 2343886"/>
                <a:gd name="connsiteX10" fmla="*/ 1183342 w 8027894"/>
                <a:gd name="connsiteY10" fmla="*/ 2004077 h 2343886"/>
                <a:gd name="connsiteX11" fmla="*/ 1223683 w 8027894"/>
                <a:gd name="connsiteY11" fmla="*/ 1923395 h 2343886"/>
                <a:gd name="connsiteX12" fmla="*/ 1331259 w 8027894"/>
                <a:gd name="connsiteY12" fmla="*/ 1842712 h 2343886"/>
                <a:gd name="connsiteX13" fmla="*/ 1371600 w 8027894"/>
                <a:gd name="connsiteY13" fmla="*/ 1762030 h 2343886"/>
                <a:gd name="connsiteX14" fmla="*/ 1506071 w 8027894"/>
                <a:gd name="connsiteY14" fmla="*/ 1641006 h 2343886"/>
                <a:gd name="connsiteX15" fmla="*/ 1573306 w 8027894"/>
                <a:gd name="connsiteY15" fmla="*/ 1614112 h 2343886"/>
                <a:gd name="connsiteX16" fmla="*/ 1667436 w 8027894"/>
                <a:gd name="connsiteY16" fmla="*/ 1519983 h 2343886"/>
                <a:gd name="connsiteX17" fmla="*/ 1748118 w 8027894"/>
                <a:gd name="connsiteY17" fmla="*/ 1439300 h 2343886"/>
                <a:gd name="connsiteX18" fmla="*/ 1761565 w 8027894"/>
                <a:gd name="connsiteY18" fmla="*/ 1398959 h 2343886"/>
                <a:gd name="connsiteX19" fmla="*/ 1842247 w 8027894"/>
                <a:gd name="connsiteY19" fmla="*/ 1318277 h 2343886"/>
                <a:gd name="connsiteX20" fmla="*/ 1855694 w 8027894"/>
                <a:gd name="connsiteY20" fmla="*/ 1277936 h 2343886"/>
                <a:gd name="connsiteX21" fmla="*/ 1909483 w 8027894"/>
                <a:gd name="connsiteY21" fmla="*/ 1264489 h 2343886"/>
                <a:gd name="connsiteX22" fmla="*/ 1976718 w 8027894"/>
                <a:gd name="connsiteY22" fmla="*/ 1210700 h 2343886"/>
                <a:gd name="connsiteX23" fmla="*/ 2057400 w 8027894"/>
                <a:gd name="connsiteY23" fmla="*/ 1170359 h 2343886"/>
                <a:gd name="connsiteX24" fmla="*/ 2138083 w 8027894"/>
                <a:gd name="connsiteY24" fmla="*/ 1103124 h 2343886"/>
                <a:gd name="connsiteX25" fmla="*/ 2191871 w 8027894"/>
                <a:gd name="connsiteY25" fmla="*/ 1049336 h 2343886"/>
                <a:gd name="connsiteX26" fmla="*/ 2272553 w 8027894"/>
                <a:gd name="connsiteY26" fmla="*/ 982100 h 2343886"/>
                <a:gd name="connsiteX27" fmla="*/ 2286000 w 8027894"/>
                <a:gd name="connsiteY27" fmla="*/ 941759 h 2343886"/>
                <a:gd name="connsiteX28" fmla="*/ 2326342 w 8027894"/>
                <a:gd name="connsiteY28" fmla="*/ 928312 h 2343886"/>
                <a:gd name="connsiteX29" fmla="*/ 2514600 w 8027894"/>
                <a:gd name="connsiteY29" fmla="*/ 941759 h 2343886"/>
                <a:gd name="connsiteX30" fmla="*/ 2608730 w 8027894"/>
                <a:gd name="connsiteY30" fmla="*/ 982100 h 2343886"/>
                <a:gd name="connsiteX31" fmla="*/ 2729753 w 8027894"/>
                <a:gd name="connsiteY31" fmla="*/ 1008995 h 2343886"/>
                <a:gd name="connsiteX32" fmla="*/ 3079377 w 8027894"/>
                <a:gd name="connsiteY32" fmla="*/ 995547 h 2343886"/>
                <a:gd name="connsiteX33" fmla="*/ 3146612 w 8027894"/>
                <a:gd name="connsiteY33" fmla="*/ 982100 h 2343886"/>
                <a:gd name="connsiteX34" fmla="*/ 3657600 w 8027894"/>
                <a:gd name="connsiteY34" fmla="*/ 955206 h 2343886"/>
                <a:gd name="connsiteX35" fmla="*/ 3966883 w 8027894"/>
                <a:gd name="connsiteY35" fmla="*/ 928312 h 2343886"/>
                <a:gd name="connsiteX36" fmla="*/ 4047565 w 8027894"/>
                <a:gd name="connsiteY36" fmla="*/ 914865 h 2343886"/>
                <a:gd name="connsiteX37" fmla="*/ 4222377 w 8027894"/>
                <a:gd name="connsiteY37" fmla="*/ 887971 h 2343886"/>
                <a:gd name="connsiteX38" fmla="*/ 4329953 w 8027894"/>
                <a:gd name="connsiteY38" fmla="*/ 847630 h 2343886"/>
                <a:gd name="connsiteX39" fmla="*/ 4383742 w 8027894"/>
                <a:gd name="connsiteY39" fmla="*/ 834183 h 2343886"/>
                <a:gd name="connsiteX40" fmla="*/ 4424083 w 8027894"/>
                <a:gd name="connsiteY40" fmla="*/ 820736 h 2343886"/>
                <a:gd name="connsiteX41" fmla="*/ 4504765 w 8027894"/>
                <a:gd name="connsiteY41" fmla="*/ 807289 h 2343886"/>
                <a:gd name="connsiteX42" fmla="*/ 4558553 w 8027894"/>
                <a:gd name="connsiteY42" fmla="*/ 780395 h 2343886"/>
                <a:gd name="connsiteX43" fmla="*/ 4598894 w 8027894"/>
                <a:gd name="connsiteY43" fmla="*/ 753500 h 2343886"/>
                <a:gd name="connsiteX44" fmla="*/ 4639236 w 8027894"/>
                <a:gd name="connsiteY44" fmla="*/ 740053 h 2343886"/>
                <a:gd name="connsiteX45" fmla="*/ 5163671 w 8027894"/>
                <a:gd name="connsiteY45" fmla="*/ 686265 h 2343886"/>
                <a:gd name="connsiteX46" fmla="*/ 5284694 w 8027894"/>
                <a:gd name="connsiteY46" fmla="*/ 632477 h 2343886"/>
                <a:gd name="connsiteX47" fmla="*/ 5351930 w 8027894"/>
                <a:gd name="connsiteY47" fmla="*/ 565242 h 2343886"/>
                <a:gd name="connsiteX48" fmla="*/ 5378824 w 8027894"/>
                <a:gd name="connsiteY48" fmla="*/ 538347 h 2343886"/>
                <a:gd name="connsiteX49" fmla="*/ 5419165 w 8027894"/>
                <a:gd name="connsiteY49" fmla="*/ 498006 h 2343886"/>
                <a:gd name="connsiteX50" fmla="*/ 5486400 w 8027894"/>
                <a:gd name="connsiteY50" fmla="*/ 417324 h 2343886"/>
                <a:gd name="connsiteX51" fmla="*/ 5499847 w 8027894"/>
                <a:gd name="connsiteY51" fmla="*/ 376983 h 2343886"/>
                <a:gd name="connsiteX52" fmla="*/ 5526742 w 8027894"/>
                <a:gd name="connsiteY52" fmla="*/ 350089 h 2343886"/>
                <a:gd name="connsiteX53" fmla="*/ 5553636 w 8027894"/>
                <a:gd name="connsiteY53" fmla="*/ 309747 h 2343886"/>
                <a:gd name="connsiteX54" fmla="*/ 5567083 w 8027894"/>
                <a:gd name="connsiteY54" fmla="*/ 255959 h 2343886"/>
                <a:gd name="connsiteX55" fmla="*/ 5580530 w 8027894"/>
                <a:gd name="connsiteY55" fmla="*/ 94595 h 2343886"/>
                <a:gd name="connsiteX56" fmla="*/ 5647765 w 8027894"/>
                <a:gd name="connsiteY56" fmla="*/ 67700 h 2343886"/>
                <a:gd name="connsiteX57" fmla="*/ 5728447 w 8027894"/>
                <a:gd name="connsiteY57" fmla="*/ 40806 h 2343886"/>
                <a:gd name="connsiteX58" fmla="*/ 5768789 w 8027894"/>
                <a:gd name="connsiteY58" fmla="*/ 27359 h 2343886"/>
                <a:gd name="connsiteX59" fmla="*/ 5809130 w 8027894"/>
                <a:gd name="connsiteY59" fmla="*/ 465 h 2343886"/>
                <a:gd name="connsiteX60" fmla="*/ 5822577 w 8027894"/>
                <a:gd name="connsiteY60" fmla="*/ 40806 h 2343886"/>
                <a:gd name="connsiteX61" fmla="*/ 5836024 w 8027894"/>
                <a:gd name="connsiteY61" fmla="*/ 134936 h 2343886"/>
                <a:gd name="connsiteX62" fmla="*/ 5876365 w 8027894"/>
                <a:gd name="connsiteY62" fmla="*/ 215618 h 2343886"/>
                <a:gd name="connsiteX63" fmla="*/ 5916706 w 8027894"/>
                <a:gd name="connsiteY63" fmla="*/ 296300 h 2343886"/>
                <a:gd name="connsiteX64" fmla="*/ 5930153 w 8027894"/>
                <a:gd name="connsiteY64" fmla="*/ 336642 h 2343886"/>
                <a:gd name="connsiteX65" fmla="*/ 5983942 w 8027894"/>
                <a:gd name="connsiteY65" fmla="*/ 417324 h 2343886"/>
                <a:gd name="connsiteX66" fmla="*/ 6010836 w 8027894"/>
                <a:gd name="connsiteY66" fmla="*/ 457665 h 2343886"/>
                <a:gd name="connsiteX67" fmla="*/ 6091518 w 8027894"/>
                <a:gd name="connsiteY67" fmla="*/ 592136 h 2343886"/>
                <a:gd name="connsiteX68" fmla="*/ 6118412 w 8027894"/>
                <a:gd name="connsiteY68" fmla="*/ 632477 h 2343886"/>
                <a:gd name="connsiteX69" fmla="*/ 6131859 w 8027894"/>
                <a:gd name="connsiteY69" fmla="*/ 672818 h 2343886"/>
                <a:gd name="connsiteX70" fmla="*/ 6199094 w 8027894"/>
                <a:gd name="connsiteY70" fmla="*/ 753500 h 2343886"/>
                <a:gd name="connsiteX71" fmla="*/ 6239436 w 8027894"/>
                <a:gd name="connsiteY71" fmla="*/ 834183 h 2343886"/>
                <a:gd name="connsiteX72" fmla="*/ 6279777 w 8027894"/>
                <a:gd name="connsiteY72" fmla="*/ 874524 h 2343886"/>
                <a:gd name="connsiteX73" fmla="*/ 6333565 w 8027894"/>
                <a:gd name="connsiteY73" fmla="*/ 955206 h 2343886"/>
                <a:gd name="connsiteX74" fmla="*/ 6400800 w 8027894"/>
                <a:gd name="connsiteY74" fmla="*/ 1008995 h 2343886"/>
                <a:gd name="connsiteX75" fmla="*/ 6441142 w 8027894"/>
                <a:gd name="connsiteY75" fmla="*/ 1062783 h 2343886"/>
                <a:gd name="connsiteX76" fmla="*/ 6562165 w 8027894"/>
                <a:gd name="connsiteY76" fmla="*/ 1197253 h 2343886"/>
                <a:gd name="connsiteX77" fmla="*/ 6656294 w 8027894"/>
                <a:gd name="connsiteY77" fmla="*/ 1318277 h 2343886"/>
                <a:gd name="connsiteX78" fmla="*/ 6683189 w 8027894"/>
                <a:gd name="connsiteY78" fmla="*/ 1345171 h 2343886"/>
                <a:gd name="connsiteX79" fmla="*/ 6750424 w 8027894"/>
                <a:gd name="connsiteY79" fmla="*/ 1452747 h 2343886"/>
                <a:gd name="connsiteX80" fmla="*/ 6804212 w 8027894"/>
                <a:gd name="connsiteY80" fmla="*/ 1506536 h 2343886"/>
                <a:gd name="connsiteX81" fmla="*/ 6831106 w 8027894"/>
                <a:gd name="connsiteY81" fmla="*/ 1546877 h 2343886"/>
                <a:gd name="connsiteX82" fmla="*/ 6979024 w 8027894"/>
                <a:gd name="connsiteY82" fmla="*/ 1667900 h 2343886"/>
                <a:gd name="connsiteX83" fmla="*/ 6979024 w 8027894"/>
                <a:gd name="connsiteY83" fmla="*/ 1667900 h 2343886"/>
                <a:gd name="connsiteX84" fmla="*/ 7059706 w 8027894"/>
                <a:gd name="connsiteY84" fmla="*/ 1721689 h 2343886"/>
                <a:gd name="connsiteX85" fmla="*/ 7100047 w 8027894"/>
                <a:gd name="connsiteY85" fmla="*/ 1748583 h 2343886"/>
                <a:gd name="connsiteX86" fmla="*/ 7194177 w 8027894"/>
                <a:gd name="connsiteY86" fmla="*/ 1775477 h 2343886"/>
                <a:gd name="connsiteX87" fmla="*/ 7274859 w 8027894"/>
                <a:gd name="connsiteY87" fmla="*/ 1856159 h 2343886"/>
                <a:gd name="connsiteX88" fmla="*/ 7301753 w 8027894"/>
                <a:gd name="connsiteY88" fmla="*/ 1896500 h 2343886"/>
                <a:gd name="connsiteX89" fmla="*/ 7368989 w 8027894"/>
                <a:gd name="connsiteY89" fmla="*/ 1923395 h 2343886"/>
                <a:gd name="connsiteX90" fmla="*/ 7463118 w 8027894"/>
                <a:gd name="connsiteY90" fmla="*/ 1977183 h 2343886"/>
                <a:gd name="connsiteX91" fmla="*/ 7584142 w 8027894"/>
                <a:gd name="connsiteY91" fmla="*/ 1990630 h 2343886"/>
                <a:gd name="connsiteX92" fmla="*/ 7691718 w 8027894"/>
                <a:gd name="connsiteY92" fmla="*/ 2017524 h 2343886"/>
                <a:gd name="connsiteX93" fmla="*/ 7826189 w 8027894"/>
                <a:gd name="connsiteY93" fmla="*/ 2030971 h 2343886"/>
                <a:gd name="connsiteX94" fmla="*/ 8027894 w 8027894"/>
                <a:gd name="connsiteY94" fmla="*/ 2057865 h 2343886"/>
                <a:gd name="connsiteX0" fmla="*/ 0 w 8075619"/>
                <a:gd name="connsiteY0" fmla="*/ 2349037 h 2349773"/>
                <a:gd name="connsiteX1" fmla="*/ 168750 w 8075619"/>
                <a:gd name="connsiteY1" fmla="*/ 2340176 h 2349773"/>
                <a:gd name="connsiteX2" fmla="*/ 222537 w 8075619"/>
                <a:gd name="connsiteY2" fmla="*/ 2340253 h 2349773"/>
                <a:gd name="connsiteX3" fmla="*/ 733525 w 8075619"/>
                <a:gd name="connsiteY3" fmla="*/ 2326806 h 2349773"/>
                <a:gd name="connsiteX4" fmla="*/ 773867 w 8075619"/>
                <a:gd name="connsiteY4" fmla="*/ 2299912 h 2349773"/>
                <a:gd name="connsiteX5" fmla="*/ 867996 w 8075619"/>
                <a:gd name="connsiteY5" fmla="*/ 2273018 h 2349773"/>
                <a:gd name="connsiteX6" fmla="*/ 1002467 w 8075619"/>
                <a:gd name="connsiteY6" fmla="*/ 2205783 h 2349773"/>
                <a:gd name="connsiteX7" fmla="*/ 1042808 w 8075619"/>
                <a:gd name="connsiteY7" fmla="*/ 2178889 h 2349773"/>
                <a:gd name="connsiteX8" fmla="*/ 1110043 w 8075619"/>
                <a:gd name="connsiteY8" fmla="*/ 2098206 h 2349773"/>
                <a:gd name="connsiteX9" fmla="*/ 1150384 w 8075619"/>
                <a:gd name="connsiteY9" fmla="*/ 2084759 h 2349773"/>
                <a:gd name="connsiteX10" fmla="*/ 1231067 w 8075619"/>
                <a:gd name="connsiteY10" fmla="*/ 2004077 h 2349773"/>
                <a:gd name="connsiteX11" fmla="*/ 1271408 w 8075619"/>
                <a:gd name="connsiteY11" fmla="*/ 1923395 h 2349773"/>
                <a:gd name="connsiteX12" fmla="*/ 1378984 w 8075619"/>
                <a:gd name="connsiteY12" fmla="*/ 1842712 h 2349773"/>
                <a:gd name="connsiteX13" fmla="*/ 1419325 w 8075619"/>
                <a:gd name="connsiteY13" fmla="*/ 1762030 h 2349773"/>
                <a:gd name="connsiteX14" fmla="*/ 1553796 w 8075619"/>
                <a:gd name="connsiteY14" fmla="*/ 1641006 h 2349773"/>
                <a:gd name="connsiteX15" fmla="*/ 1621031 w 8075619"/>
                <a:gd name="connsiteY15" fmla="*/ 1614112 h 2349773"/>
                <a:gd name="connsiteX16" fmla="*/ 1715161 w 8075619"/>
                <a:gd name="connsiteY16" fmla="*/ 1519983 h 2349773"/>
                <a:gd name="connsiteX17" fmla="*/ 1795843 w 8075619"/>
                <a:gd name="connsiteY17" fmla="*/ 1439300 h 2349773"/>
                <a:gd name="connsiteX18" fmla="*/ 1809290 w 8075619"/>
                <a:gd name="connsiteY18" fmla="*/ 1398959 h 2349773"/>
                <a:gd name="connsiteX19" fmla="*/ 1889972 w 8075619"/>
                <a:gd name="connsiteY19" fmla="*/ 1318277 h 2349773"/>
                <a:gd name="connsiteX20" fmla="*/ 1903419 w 8075619"/>
                <a:gd name="connsiteY20" fmla="*/ 1277936 h 2349773"/>
                <a:gd name="connsiteX21" fmla="*/ 1957208 w 8075619"/>
                <a:gd name="connsiteY21" fmla="*/ 1264489 h 2349773"/>
                <a:gd name="connsiteX22" fmla="*/ 2024443 w 8075619"/>
                <a:gd name="connsiteY22" fmla="*/ 1210700 h 2349773"/>
                <a:gd name="connsiteX23" fmla="*/ 2105125 w 8075619"/>
                <a:gd name="connsiteY23" fmla="*/ 1170359 h 2349773"/>
                <a:gd name="connsiteX24" fmla="*/ 2185808 w 8075619"/>
                <a:gd name="connsiteY24" fmla="*/ 1103124 h 2349773"/>
                <a:gd name="connsiteX25" fmla="*/ 2239596 w 8075619"/>
                <a:gd name="connsiteY25" fmla="*/ 1049336 h 2349773"/>
                <a:gd name="connsiteX26" fmla="*/ 2320278 w 8075619"/>
                <a:gd name="connsiteY26" fmla="*/ 982100 h 2349773"/>
                <a:gd name="connsiteX27" fmla="*/ 2333725 w 8075619"/>
                <a:gd name="connsiteY27" fmla="*/ 941759 h 2349773"/>
                <a:gd name="connsiteX28" fmla="*/ 2374067 w 8075619"/>
                <a:gd name="connsiteY28" fmla="*/ 928312 h 2349773"/>
                <a:gd name="connsiteX29" fmla="*/ 2562325 w 8075619"/>
                <a:gd name="connsiteY29" fmla="*/ 941759 h 2349773"/>
                <a:gd name="connsiteX30" fmla="*/ 2656455 w 8075619"/>
                <a:gd name="connsiteY30" fmla="*/ 982100 h 2349773"/>
                <a:gd name="connsiteX31" fmla="*/ 2777478 w 8075619"/>
                <a:gd name="connsiteY31" fmla="*/ 1008995 h 2349773"/>
                <a:gd name="connsiteX32" fmla="*/ 3127102 w 8075619"/>
                <a:gd name="connsiteY32" fmla="*/ 995547 h 2349773"/>
                <a:gd name="connsiteX33" fmla="*/ 3194337 w 8075619"/>
                <a:gd name="connsiteY33" fmla="*/ 982100 h 2349773"/>
                <a:gd name="connsiteX34" fmla="*/ 3705325 w 8075619"/>
                <a:gd name="connsiteY34" fmla="*/ 955206 h 2349773"/>
                <a:gd name="connsiteX35" fmla="*/ 4014608 w 8075619"/>
                <a:gd name="connsiteY35" fmla="*/ 928312 h 2349773"/>
                <a:gd name="connsiteX36" fmla="*/ 4095290 w 8075619"/>
                <a:gd name="connsiteY36" fmla="*/ 914865 h 2349773"/>
                <a:gd name="connsiteX37" fmla="*/ 4270102 w 8075619"/>
                <a:gd name="connsiteY37" fmla="*/ 887971 h 2349773"/>
                <a:gd name="connsiteX38" fmla="*/ 4377678 w 8075619"/>
                <a:gd name="connsiteY38" fmla="*/ 847630 h 2349773"/>
                <a:gd name="connsiteX39" fmla="*/ 4431467 w 8075619"/>
                <a:gd name="connsiteY39" fmla="*/ 834183 h 2349773"/>
                <a:gd name="connsiteX40" fmla="*/ 4471808 w 8075619"/>
                <a:gd name="connsiteY40" fmla="*/ 820736 h 2349773"/>
                <a:gd name="connsiteX41" fmla="*/ 4552490 w 8075619"/>
                <a:gd name="connsiteY41" fmla="*/ 807289 h 2349773"/>
                <a:gd name="connsiteX42" fmla="*/ 4606278 w 8075619"/>
                <a:gd name="connsiteY42" fmla="*/ 780395 h 2349773"/>
                <a:gd name="connsiteX43" fmla="*/ 4646619 w 8075619"/>
                <a:gd name="connsiteY43" fmla="*/ 753500 h 2349773"/>
                <a:gd name="connsiteX44" fmla="*/ 4686961 w 8075619"/>
                <a:gd name="connsiteY44" fmla="*/ 740053 h 2349773"/>
                <a:gd name="connsiteX45" fmla="*/ 5211396 w 8075619"/>
                <a:gd name="connsiteY45" fmla="*/ 686265 h 2349773"/>
                <a:gd name="connsiteX46" fmla="*/ 5332419 w 8075619"/>
                <a:gd name="connsiteY46" fmla="*/ 632477 h 2349773"/>
                <a:gd name="connsiteX47" fmla="*/ 5399655 w 8075619"/>
                <a:gd name="connsiteY47" fmla="*/ 565242 h 2349773"/>
                <a:gd name="connsiteX48" fmla="*/ 5426549 w 8075619"/>
                <a:gd name="connsiteY48" fmla="*/ 538347 h 2349773"/>
                <a:gd name="connsiteX49" fmla="*/ 5466890 w 8075619"/>
                <a:gd name="connsiteY49" fmla="*/ 498006 h 2349773"/>
                <a:gd name="connsiteX50" fmla="*/ 5534125 w 8075619"/>
                <a:gd name="connsiteY50" fmla="*/ 417324 h 2349773"/>
                <a:gd name="connsiteX51" fmla="*/ 5547572 w 8075619"/>
                <a:gd name="connsiteY51" fmla="*/ 376983 h 2349773"/>
                <a:gd name="connsiteX52" fmla="*/ 5574467 w 8075619"/>
                <a:gd name="connsiteY52" fmla="*/ 350089 h 2349773"/>
                <a:gd name="connsiteX53" fmla="*/ 5601361 w 8075619"/>
                <a:gd name="connsiteY53" fmla="*/ 309747 h 2349773"/>
                <a:gd name="connsiteX54" fmla="*/ 5614808 w 8075619"/>
                <a:gd name="connsiteY54" fmla="*/ 255959 h 2349773"/>
                <a:gd name="connsiteX55" fmla="*/ 5628255 w 8075619"/>
                <a:gd name="connsiteY55" fmla="*/ 94595 h 2349773"/>
                <a:gd name="connsiteX56" fmla="*/ 5695490 w 8075619"/>
                <a:gd name="connsiteY56" fmla="*/ 67700 h 2349773"/>
                <a:gd name="connsiteX57" fmla="*/ 5776172 w 8075619"/>
                <a:gd name="connsiteY57" fmla="*/ 40806 h 2349773"/>
                <a:gd name="connsiteX58" fmla="*/ 5816514 w 8075619"/>
                <a:gd name="connsiteY58" fmla="*/ 27359 h 2349773"/>
                <a:gd name="connsiteX59" fmla="*/ 5856855 w 8075619"/>
                <a:gd name="connsiteY59" fmla="*/ 465 h 2349773"/>
                <a:gd name="connsiteX60" fmla="*/ 5870302 w 8075619"/>
                <a:gd name="connsiteY60" fmla="*/ 40806 h 2349773"/>
                <a:gd name="connsiteX61" fmla="*/ 5883749 w 8075619"/>
                <a:gd name="connsiteY61" fmla="*/ 134936 h 2349773"/>
                <a:gd name="connsiteX62" fmla="*/ 5924090 w 8075619"/>
                <a:gd name="connsiteY62" fmla="*/ 215618 h 2349773"/>
                <a:gd name="connsiteX63" fmla="*/ 5964431 w 8075619"/>
                <a:gd name="connsiteY63" fmla="*/ 296300 h 2349773"/>
                <a:gd name="connsiteX64" fmla="*/ 5977878 w 8075619"/>
                <a:gd name="connsiteY64" fmla="*/ 336642 h 2349773"/>
                <a:gd name="connsiteX65" fmla="*/ 6031667 w 8075619"/>
                <a:gd name="connsiteY65" fmla="*/ 417324 h 2349773"/>
                <a:gd name="connsiteX66" fmla="*/ 6058561 w 8075619"/>
                <a:gd name="connsiteY66" fmla="*/ 457665 h 2349773"/>
                <a:gd name="connsiteX67" fmla="*/ 6139243 w 8075619"/>
                <a:gd name="connsiteY67" fmla="*/ 592136 h 2349773"/>
                <a:gd name="connsiteX68" fmla="*/ 6166137 w 8075619"/>
                <a:gd name="connsiteY68" fmla="*/ 632477 h 2349773"/>
                <a:gd name="connsiteX69" fmla="*/ 6179584 w 8075619"/>
                <a:gd name="connsiteY69" fmla="*/ 672818 h 2349773"/>
                <a:gd name="connsiteX70" fmla="*/ 6246819 w 8075619"/>
                <a:gd name="connsiteY70" fmla="*/ 753500 h 2349773"/>
                <a:gd name="connsiteX71" fmla="*/ 6287161 w 8075619"/>
                <a:gd name="connsiteY71" fmla="*/ 834183 h 2349773"/>
                <a:gd name="connsiteX72" fmla="*/ 6327502 w 8075619"/>
                <a:gd name="connsiteY72" fmla="*/ 874524 h 2349773"/>
                <a:gd name="connsiteX73" fmla="*/ 6381290 w 8075619"/>
                <a:gd name="connsiteY73" fmla="*/ 955206 h 2349773"/>
                <a:gd name="connsiteX74" fmla="*/ 6448525 w 8075619"/>
                <a:gd name="connsiteY74" fmla="*/ 1008995 h 2349773"/>
                <a:gd name="connsiteX75" fmla="*/ 6488867 w 8075619"/>
                <a:gd name="connsiteY75" fmla="*/ 1062783 h 2349773"/>
                <a:gd name="connsiteX76" fmla="*/ 6609890 w 8075619"/>
                <a:gd name="connsiteY76" fmla="*/ 1197253 h 2349773"/>
                <a:gd name="connsiteX77" fmla="*/ 6704019 w 8075619"/>
                <a:gd name="connsiteY77" fmla="*/ 1318277 h 2349773"/>
                <a:gd name="connsiteX78" fmla="*/ 6730914 w 8075619"/>
                <a:gd name="connsiteY78" fmla="*/ 1345171 h 2349773"/>
                <a:gd name="connsiteX79" fmla="*/ 6798149 w 8075619"/>
                <a:gd name="connsiteY79" fmla="*/ 1452747 h 2349773"/>
                <a:gd name="connsiteX80" fmla="*/ 6851937 w 8075619"/>
                <a:gd name="connsiteY80" fmla="*/ 1506536 h 2349773"/>
                <a:gd name="connsiteX81" fmla="*/ 6878831 w 8075619"/>
                <a:gd name="connsiteY81" fmla="*/ 1546877 h 2349773"/>
                <a:gd name="connsiteX82" fmla="*/ 7026749 w 8075619"/>
                <a:gd name="connsiteY82" fmla="*/ 1667900 h 2349773"/>
                <a:gd name="connsiteX83" fmla="*/ 7026749 w 8075619"/>
                <a:gd name="connsiteY83" fmla="*/ 1667900 h 2349773"/>
                <a:gd name="connsiteX84" fmla="*/ 7107431 w 8075619"/>
                <a:gd name="connsiteY84" fmla="*/ 1721689 h 2349773"/>
                <a:gd name="connsiteX85" fmla="*/ 7147772 w 8075619"/>
                <a:gd name="connsiteY85" fmla="*/ 1748583 h 2349773"/>
                <a:gd name="connsiteX86" fmla="*/ 7241902 w 8075619"/>
                <a:gd name="connsiteY86" fmla="*/ 1775477 h 2349773"/>
                <a:gd name="connsiteX87" fmla="*/ 7322584 w 8075619"/>
                <a:gd name="connsiteY87" fmla="*/ 1856159 h 2349773"/>
                <a:gd name="connsiteX88" fmla="*/ 7349478 w 8075619"/>
                <a:gd name="connsiteY88" fmla="*/ 1896500 h 2349773"/>
                <a:gd name="connsiteX89" fmla="*/ 7416714 w 8075619"/>
                <a:gd name="connsiteY89" fmla="*/ 1923395 h 2349773"/>
                <a:gd name="connsiteX90" fmla="*/ 7510843 w 8075619"/>
                <a:gd name="connsiteY90" fmla="*/ 1977183 h 2349773"/>
                <a:gd name="connsiteX91" fmla="*/ 7631867 w 8075619"/>
                <a:gd name="connsiteY91" fmla="*/ 1990630 h 2349773"/>
                <a:gd name="connsiteX92" fmla="*/ 7739443 w 8075619"/>
                <a:gd name="connsiteY92" fmla="*/ 2017524 h 2349773"/>
                <a:gd name="connsiteX93" fmla="*/ 7873914 w 8075619"/>
                <a:gd name="connsiteY93" fmla="*/ 2030971 h 2349773"/>
                <a:gd name="connsiteX94" fmla="*/ 8075619 w 8075619"/>
                <a:gd name="connsiteY94" fmla="*/ 2057865 h 2349773"/>
                <a:gd name="connsiteX0" fmla="*/ 0 w 8075619"/>
                <a:gd name="connsiteY0" fmla="*/ 2349037 h 2357170"/>
                <a:gd name="connsiteX1" fmla="*/ 176206 w 8075619"/>
                <a:gd name="connsiteY1" fmla="*/ 2356937 h 2357170"/>
                <a:gd name="connsiteX2" fmla="*/ 222537 w 8075619"/>
                <a:gd name="connsiteY2" fmla="*/ 2340253 h 2357170"/>
                <a:gd name="connsiteX3" fmla="*/ 733525 w 8075619"/>
                <a:gd name="connsiteY3" fmla="*/ 2326806 h 2357170"/>
                <a:gd name="connsiteX4" fmla="*/ 773867 w 8075619"/>
                <a:gd name="connsiteY4" fmla="*/ 2299912 h 2357170"/>
                <a:gd name="connsiteX5" fmla="*/ 867996 w 8075619"/>
                <a:gd name="connsiteY5" fmla="*/ 2273018 h 2357170"/>
                <a:gd name="connsiteX6" fmla="*/ 1002467 w 8075619"/>
                <a:gd name="connsiteY6" fmla="*/ 2205783 h 2357170"/>
                <a:gd name="connsiteX7" fmla="*/ 1042808 w 8075619"/>
                <a:gd name="connsiteY7" fmla="*/ 2178889 h 2357170"/>
                <a:gd name="connsiteX8" fmla="*/ 1110043 w 8075619"/>
                <a:gd name="connsiteY8" fmla="*/ 2098206 h 2357170"/>
                <a:gd name="connsiteX9" fmla="*/ 1150384 w 8075619"/>
                <a:gd name="connsiteY9" fmla="*/ 2084759 h 2357170"/>
                <a:gd name="connsiteX10" fmla="*/ 1231067 w 8075619"/>
                <a:gd name="connsiteY10" fmla="*/ 2004077 h 2357170"/>
                <a:gd name="connsiteX11" fmla="*/ 1271408 w 8075619"/>
                <a:gd name="connsiteY11" fmla="*/ 1923395 h 2357170"/>
                <a:gd name="connsiteX12" fmla="*/ 1378984 w 8075619"/>
                <a:gd name="connsiteY12" fmla="*/ 1842712 h 2357170"/>
                <a:gd name="connsiteX13" fmla="*/ 1419325 w 8075619"/>
                <a:gd name="connsiteY13" fmla="*/ 1762030 h 2357170"/>
                <a:gd name="connsiteX14" fmla="*/ 1553796 w 8075619"/>
                <a:gd name="connsiteY14" fmla="*/ 1641006 h 2357170"/>
                <a:gd name="connsiteX15" fmla="*/ 1621031 w 8075619"/>
                <a:gd name="connsiteY15" fmla="*/ 1614112 h 2357170"/>
                <a:gd name="connsiteX16" fmla="*/ 1715161 w 8075619"/>
                <a:gd name="connsiteY16" fmla="*/ 1519983 h 2357170"/>
                <a:gd name="connsiteX17" fmla="*/ 1795843 w 8075619"/>
                <a:gd name="connsiteY17" fmla="*/ 1439300 h 2357170"/>
                <a:gd name="connsiteX18" fmla="*/ 1809290 w 8075619"/>
                <a:gd name="connsiteY18" fmla="*/ 1398959 h 2357170"/>
                <a:gd name="connsiteX19" fmla="*/ 1889972 w 8075619"/>
                <a:gd name="connsiteY19" fmla="*/ 1318277 h 2357170"/>
                <a:gd name="connsiteX20" fmla="*/ 1903419 w 8075619"/>
                <a:gd name="connsiteY20" fmla="*/ 1277936 h 2357170"/>
                <a:gd name="connsiteX21" fmla="*/ 1957208 w 8075619"/>
                <a:gd name="connsiteY21" fmla="*/ 1264489 h 2357170"/>
                <a:gd name="connsiteX22" fmla="*/ 2024443 w 8075619"/>
                <a:gd name="connsiteY22" fmla="*/ 1210700 h 2357170"/>
                <a:gd name="connsiteX23" fmla="*/ 2105125 w 8075619"/>
                <a:gd name="connsiteY23" fmla="*/ 1170359 h 2357170"/>
                <a:gd name="connsiteX24" fmla="*/ 2185808 w 8075619"/>
                <a:gd name="connsiteY24" fmla="*/ 1103124 h 2357170"/>
                <a:gd name="connsiteX25" fmla="*/ 2239596 w 8075619"/>
                <a:gd name="connsiteY25" fmla="*/ 1049336 h 2357170"/>
                <a:gd name="connsiteX26" fmla="*/ 2320278 w 8075619"/>
                <a:gd name="connsiteY26" fmla="*/ 982100 h 2357170"/>
                <a:gd name="connsiteX27" fmla="*/ 2333725 w 8075619"/>
                <a:gd name="connsiteY27" fmla="*/ 941759 h 2357170"/>
                <a:gd name="connsiteX28" fmla="*/ 2374067 w 8075619"/>
                <a:gd name="connsiteY28" fmla="*/ 928312 h 2357170"/>
                <a:gd name="connsiteX29" fmla="*/ 2562325 w 8075619"/>
                <a:gd name="connsiteY29" fmla="*/ 941759 h 2357170"/>
                <a:gd name="connsiteX30" fmla="*/ 2656455 w 8075619"/>
                <a:gd name="connsiteY30" fmla="*/ 982100 h 2357170"/>
                <a:gd name="connsiteX31" fmla="*/ 2777478 w 8075619"/>
                <a:gd name="connsiteY31" fmla="*/ 1008995 h 2357170"/>
                <a:gd name="connsiteX32" fmla="*/ 3127102 w 8075619"/>
                <a:gd name="connsiteY32" fmla="*/ 995547 h 2357170"/>
                <a:gd name="connsiteX33" fmla="*/ 3194337 w 8075619"/>
                <a:gd name="connsiteY33" fmla="*/ 982100 h 2357170"/>
                <a:gd name="connsiteX34" fmla="*/ 3705325 w 8075619"/>
                <a:gd name="connsiteY34" fmla="*/ 955206 h 2357170"/>
                <a:gd name="connsiteX35" fmla="*/ 4014608 w 8075619"/>
                <a:gd name="connsiteY35" fmla="*/ 928312 h 2357170"/>
                <a:gd name="connsiteX36" fmla="*/ 4095290 w 8075619"/>
                <a:gd name="connsiteY36" fmla="*/ 914865 h 2357170"/>
                <a:gd name="connsiteX37" fmla="*/ 4270102 w 8075619"/>
                <a:gd name="connsiteY37" fmla="*/ 887971 h 2357170"/>
                <a:gd name="connsiteX38" fmla="*/ 4377678 w 8075619"/>
                <a:gd name="connsiteY38" fmla="*/ 847630 h 2357170"/>
                <a:gd name="connsiteX39" fmla="*/ 4431467 w 8075619"/>
                <a:gd name="connsiteY39" fmla="*/ 834183 h 2357170"/>
                <a:gd name="connsiteX40" fmla="*/ 4471808 w 8075619"/>
                <a:gd name="connsiteY40" fmla="*/ 820736 h 2357170"/>
                <a:gd name="connsiteX41" fmla="*/ 4552490 w 8075619"/>
                <a:gd name="connsiteY41" fmla="*/ 807289 h 2357170"/>
                <a:gd name="connsiteX42" fmla="*/ 4606278 w 8075619"/>
                <a:gd name="connsiteY42" fmla="*/ 780395 h 2357170"/>
                <a:gd name="connsiteX43" fmla="*/ 4646619 w 8075619"/>
                <a:gd name="connsiteY43" fmla="*/ 753500 h 2357170"/>
                <a:gd name="connsiteX44" fmla="*/ 4686961 w 8075619"/>
                <a:gd name="connsiteY44" fmla="*/ 740053 h 2357170"/>
                <a:gd name="connsiteX45" fmla="*/ 5211396 w 8075619"/>
                <a:gd name="connsiteY45" fmla="*/ 686265 h 2357170"/>
                <a:gd name="connsiteX46" fmla="*/ 5332419 w 8075619"/>
                <a:gd name="connsiteY46" fmla="*/ 632477 h 2357170"/>
                <a:gd name="connsiteX47" fmla="*/ 5399655 w 8075619"/>
                <a:gd name="connsiteY47" fmla="*/ 565242 h 2357170"/>
                <a:gd name="connsiteX48" fmla="*/ 5426549 w 8075619"/>
                <a:gd name="connsiteY48" fmla="*/ 538347 h 2357170"/>
                <a:gd name="connsiteX49" fmla="*/ 5466890 w 8075619"/>
                <a:gd name="connsiteY49" fmla="*/ 498006 h 2357170"/>
                <a:gd name="connsiteX50" fmla="*/ 5534125 w 8075619"/>
                <a:gd name="connsiteY50" fmla="*/ 417324 h 2357170"/>
                <a:gd name="connsiteX51" fmla="*/ 5547572 w 8075619"/>
                <a:gd name="connsiteY51" fmla="*/ 376983 h 2357170"/>
                <a:gd name="connsiteX52" fmla="*/ 5574467 w 8075619"/>
                <a:gd name="connsiteY52" fmla="*/ 350089 h 2357170"/>
                <a:gd name="connsiteX53" fmla="*/ 5601361 w 8075619"/>
                <a:gd name="connsiteY53" fmla="*/ 309747 h 2357170"/>
                <a:gd name="connsiteX54" fmla="*/ 5614808 w 8075619"/>
                <a:gd name="connsiteY54" fmla="*/ 255959 h 2357170"/>
                <a:gd name="connsiteX55" fmla="*/ 5628255 w 8075619"/>
                <a:gd name="connsiteY55" fmla="*/ 94595 h 2357170"/>
                <a:gd name="connsiteX56" fmla="*/ 5695490 w 8075619"/>
                <a:gd name="connsiteY56" fmla="*/ 67700 h 2357170"/>
                <a:gd name="connsiteX57" fmla="*/ 5776172 w 8075619"/>
                <a:gd name="connsiteY57" fmla="*/ 40806 h 2357170"/>
                <a:gd name="connsiteX58" fmla="*/ 5816514 w 8075619"/>
                <a:gd name="connsiteY58" fmla="*/ 27359 h 2357170"/>
                <a:gd name="connsiteX59" fmla="*/ 5856855 w 8075619"/>
                <a:gd name="connsiteY59" fmla="*/ 465 h 2357170"/>
                <a:gd name="connsiteX60" fmla="*/ 5870302 w 8075619"/>
                <a:gd name="connsiteY60" fmla="*/ 40806 h 2357170"/>
                <a:gd name="connsiteX61" fmla="*/ 5883749 w 8075619"/>
                <a:gd name="connsiteY61" fmla="*/ 134936 h 2357170"/>
                <a:gd name="connsiteX62" fmla="*/ 5924090 w 8075619"/>
                <a:gd name="connsiteY62" fmla="*/ 215618 h 2357170"/>
                <a:gd name="connsiteX63" fmla="*/ 5964431 w 8075619"/>
                <a:gd name="connsiteY63" fmla="*/ 296300 h 2357170"/>
                <a:gd name="connsiteX64" fmla="*/ 5977878 w 8075619"/>
                <a:gd name="connsiteY64" fmla="*/ 336642 h 2357170"/>
                <a:gd name="connsiteX65" fmla="*/ 6031667 w 8075619"/>
                <a:gd name="connsiteY65" fmla="*/ 417324 h 2357170"/>
                <a:gd name="connsiteX66" fmla="*/ 6058561 w 8075619"/>
                <a:gd name="connsiteY66" fmla="*/ 457665 h 2357170"/>
                <a:gd name="connsiteX67" fmla="*/ 6139243 w 8075619"/>
                <a:gd name="connsiteY67" fmla="*/ 592136 h 2357170"/>
                <a:gd name="connsiteX68" fmla="*/ 6166137 w 8075619"/>
                <a:gd name="connsiteY68" fmla="*/ 632477 h 2357170"/>
                <a:gd name="connsiteX69" fmla="*/ 6179584 w 8075619"/>
                <a:gd name="connsiteY69" fmla="*/ 672818 h 2357170"/>
                <a:gd name="connsiteX70" fmla="*/ 6246819 w 8075619"/>
                <a:gd name="connsiteY70" fmla="*/ 753500 h 2357170"/>
                <a:gd name="connsiteX71" fmla="*/ 6287161 w 8075619"/>
                <a:gd name="connsiteY71" fmla="*/ 834183 h 2357170"/>
                <a:gd name="connsiteX72" fmla="*/ 6327502 w 8075619"/>
                <a:gd name="connsiteY72" fmla="*/ 874524 h 2357170"/>
                <a:gd name="connsiteX73" fmla="*/ 6381290 w 8075619"/>
                <a:gd name="connsiteY73" fmla="*/ 955206 h 2357170"/>
                <a:gd name="connsiteX74" fmla="*/ 6448525 w 8075619"/>
                <a:gd name="connsiteY74" fmla="*/ 1008995 h 2357170"/>
                <a:gd name="connsiteX75" fmla="*/ 6488867 w 8075619"/>
                <a:gd name="connsiteY75" fmla="*/ 1062783 h 2357170"/>
                <a:gd name="connsiteX76" fmla="*/ 6609890 w 8075619"/>
                <a:gd name="connsiteY76" fmla="*/ 1197253 h 2357170"/>
                <a:gd name="connsiteX77" fmla="*/ 6704019 w 8075619"/>
                <a:gd name="connsiteY77" fmla="*/ 1318277 h 2357170"/>
                <a:gd name="connsiteX78" fmla="*/ 6730914 w 8075619"/>
                <a:gd name="connsiteY78" fmla="*/ 1345171 h 2357170"/>
                <a:gd name="connsiteX79" fmla="*/ 6798149 w 8075619"/>
                <a:gd name="connsiteY79" fmla="*/ 1452747 h 2357170"/>
                <a:gd name="connsiteX80" fmla="*/ 6851937 w 8075619"/>
                <a:gd name="connsiteY80" fmla="*/ 1506536 h 2357170"/>
                <a:gd name="connsiteX81" fmla="*/ 6878831 w 8075619"/>
                <a:gd name="connsiteY81" fmla="*/ 1546877 h 2357170"/>
                <a:gd name="connsiteX82" fmla="*/ 7026749 w 8075619"/>
                <a:gd name="connsiteY82" fmla="*/ 1667900 h 2357170"/>
                <a:gd name="connsiteX83" fmla="*/ 7026749 w 8075619"/>
                <a:gd name="connsiteY83" fmla="*/ 1667900 h 2357170"/>
                <a:gd name="connsiteX84" fmla="*/ 7107431 w 8075619"/>
                <a:gd name="connsiteY84" fmla="*/ 1721689 h 2357170"/>
                <a:gd name="connsiteX85" fmla="*/ 7147772 w 8075619"/>
                <a:gd name="connsiteY85" fmla="*/ 1748583 h 2357170"/>
                <a:gd name="connsiteX86" fmla="*/ 7241902 w 8075619"/>
                <a:gd name="connsiteY86" fmla="*/ 1775477 h 2357170"/>
                <a:gd name="connsiteX87" fmla="*/ 7322584 w 8075619"/>
                <a:gd name="connsiteY87" fmla="*/ 1856159 h 2357170"/>
                <a:gd name="connsiteX88" fmla="*/ 7349478 w 8075619"/>
                <a:gd name="connsiteY88" fmla="*/ 1896500 h 2357170"/>
                <a:gd name="connsiteX89" fmla="*/ 7416714 w 8075619"/>
                <a:gd name="connsiteY89" fmla="*/ 1923395 h 2357170"/>
                <a:gd name="connsiteX90" fmla="*/ 7510843 w 8075619"/>
                <a:gd name="connsiteY90" fmla="*/ 1977183 h 2357170"/>
                <a:gd name="connsiteX91" fmla="*/ 7631867 w 8075619"/>
                <a:gd name="connsiteY91" fmla="*/ 1990630 h 2357170"/>
                <a:gd name="connsiteX92" fmla="*/ 7739443 w 8075619"/>
                <a:gd name="connsiteY92" fmla="*/ 2017524 h 2357170"/>
                <a:gd name="connsiteX93" fmla="*/ 7873914 w 8075619"/>
                <a:gd name="connsiteY93" fmla="*/ 2030971 h 2357170"/>
                <a:gd name="connsiteX94" fmla="*/ 8075619 w 8075619"/>
                <a:gd name="connsiteY94" fmla="*/ 2057865 h 2357170"/>
                <a:gd name="connsiteX0" fmla="*/ 0 w 8075619"/>
                <a:gd name="connsiteY0" fmla="*/ 2393731 h 2393731"/>
                <a:gd name="connsiteX1" fmla="*/ 176206 w 8075619"/>
                <a:gd name="connsiteY1" fmla="*/ 2356937 h 2393731"/>
                <a:gd name="connsiteX2" fmla="*/ 222537 w 8075619"/>
                <a:gd name="connsiteY2" fmla="*/ 2340253 h 2393731"/>
                <a:gd name="connsiteX3" fmla="*/ 733525 w 8075619"/>
                <a:gd name="connsiteY3" fmla="*/ 2326806 h 2393731"/>
                <a:gd name="connsiteX4" fmla="*/ 773867 w 8075619"/>
                <a:gd name="connsiteY4" fmla="*/ 2299912 h 2393731"/>
                <a:gd name="connsiteX5" fmla="*/ 867996 w 8075619"/>
                <a:gd name="connsiteY5" fmla="*/ 2273018 h 2393731"/>
                <a:gd name="connsiteX6" fmla="*/ 1002467 w 8075619"/>
                <a:gd name="connsiteY6" fmla="*/ 2205783 h 2393731"/>
                <a:gd name="connsiteX7" fmla="*/ 1042808 w 8075619"/>
                <a:gd name="connsiteY7" fmla="*/ 2178889 h 2393731"/>
                <a:gd name="connsiteX8" fmla="*/ 1110043 w 8075619"/>
                <a:gd name="connsiteY8" fmla="*/ 2098206 h 2393731"/>
                <a:gd name="connsiteX9" fmla="*/ 1150384 w 8075619"/>
                <a:gd name="connsiteY9" fmla="*/ 2084759 h 2393731"/>
                <a:gd name="connsiteX10" fmla="*/ 1231067 w 8075619"/>
                <a:gd name="connsiteY10" fmla="*/ 2004077 h 2393731"/>
                <a:gd name="connsiteX11" fmla="*/ 1271408 w 8075619"/>
                <a:gd name="connsiteY11" fmla="*/ 1923395 h 2393731"/>
                <a:gd name="connsiteX12" fmla="*/ 1378984 w 8075619"/>
                <a:gd name="connsiteY12" fmla="*/ 1842712 h 2393731"/>
                <a:gd name="connsiteX13" fmla="*/ 1419325 w 8075619"/>
                <a:gd name="connsiteY13" fmla="*/ 1762030 h 2393731"/>
                <a:gd name="connsiteX14" fmla="*/ 1553796 w 8075619"/>
                <a:gd name="connsiteY14" fmla="*/ 1641006 h 2393731"/>
                <a:gd name="connsiteX15" fmla="*/ 1621031 w 8075619"/>
                <a:gd name="connsiteY15" fmla="*/ 1614112 h 2393731"/>
                <a:gd name="connsiteX16" fmla="*/ 1715161 w 8075619"/>
                <a:gd name="connsiteY16" fmla="*/ 1519983 h 2393731"/>
                <a:gd name="connsiteX17" fmla="*/ 1795843 w 8075619"/>
                <a:gd name="connsiteY17" fmla="*/ 1439300 h 2393731"/>
                <a:gd name="connsiteX18" fmla="*/ 1809290 w 8075619"/>
                <a:gd name="connsiteY18" fmla="*/ 1398959 h 2393731"/>
                <a:gd name="connsiteX19" fmla="*/ 1889972 w 8075619"/>
                <a:gd name="connsiteY19" fmla="*/ 1318277 h 2393731"/>
                <a:gd name="connsiteX20" fmla="*/ 1903419 w 8075619"/>
                <a:gd name="connsiteY20" fmla="*/ 1277936 h 2393731"/>
                <a:gd name="connsiteX21" fmla="*/ 1957208 w 8075619"/>
                <a:gd name="connsiteY21" fmla="*/ 1264489 h 2393731"/>
                <a:gd name="connsiteX22" fmla="*/ 2024443 w 8075619"/>
                <a:gd name="connsiteY22" fmla="*/ 1210700 h 2393731"/>
                <a:gd name="connsiteX23" fmla="*/ 2105125 w 8075619"/>
                <a:gd name="connsiteY23" fmla="*/ 1170359 h 2393731"/>
                <a:gd name="connsiteX24" fmla="*/ 2185808 w 8075619"/>
                <a:gd name="connsiteY24" fmla="*/ 1103124 h 2393731"/>
                <a:gd name="connsiteX25" fmla="*/ 2239596 w 8075619"/>
                <a:gd name="connsiteY25" fmla="*/ 1049336 h 2393731"/>
                <a:gd name="connsiteX26" fmla="*/ 2320278 w 8075619"/>
                <a:gd name="connsiteY26" fmla="*/ 982100 h 2393731"/>
                <a:gd name="connsiteX27" fmla="*/ 2333725 w 8075619"/>
                <a:gd name="connsiteY27" fmla="*/ 941759 h 2393731"/>
                <a:gd name="connsiteX28" fmla="*/ 2374067 w 8075619"/>
                <a:gd name="connsiteY28" fmla="*/ 928312 h 2393731"/>
                <a:gd name="connsiteX29" fmla="*/ 2562325 w 8075619"/>
                <a:gd name="connsiteY29" fmla="*/ 941759 h 2393731"/>
                <a:gd name="connsiteX30" fmla="*/ 2656455 w 8075619"/>
                <a:gd name="connsiteY30" fmla="*/ 982100 h 2393731"/>
                <a:gd name="connsiteX31" fmla="*/ 2777478 w 8075619"/>
                <a:gd name="connsiteY31" fmla="*/ 1008995 h 2393731"/>
                <a:gd name="connsiteX32" fmla="*/ 3127102 w 8075619"/>
                <a:gd name="connsiteY32" fmla="*/ 995547 h 2393731"/>
                <a:gd name="connsiteX33" fmla="*/ 3194337 w 8075619"/>
                <a:gd name="connsiteY33" fmla="*/ 982100 h 2393731"/>
                <a:gd name="connsiteX34" fmla="*/ 3705325 w 8075619"/>
                <a:gd name="connsiteY34" fmla="*/ 955206 h 2393731"/>
                <a:gd name="connsiteX35" fmla="*/ 4014608 w 8075619"/>
                <a:gd name="connsiteY35" fmla="*/ 928312 h 2393731"/>
                <a:gd name="connsiteX36" fmla="*/ 4095290 w 8075619"/>
                <a:gd name="connsiteY36" fmla="*/ 914865 h 2393731"/>
                <a:gd name="connsiteX37" fmla="*/ 4270102 w 8075619"/>
                <a:gd name="connsiteY37" fmla="*/ 887971 h 2393731"/>
                <a:gd name="connsiteX38" fmla="*/ 4377678 w 8075619"/>
                <a:gd name="connsiteY38" fmla="*/ 847630 h 2393731"/>
                <a:gd name="connsiteX39" fmla="*/ 4431467 w 8075619"/>
                <a:gd name="connsiteY39" fmla="*/ 834183 h 2393731"/>
                <a:gd name="connsiteX40" fmla="*/ 4471808 w 8075619"/>
                <a:gd name="connsiteY40" fmla="*/ 820736 h 2393731"/>
                <a:gd name="connsiteX41" fmla="*/ 4552490 w 8075619"/>
                <a:gd name="connsiteY41" fmla="*/ 807289 h 2393731"/>
                <a:gd name="connsiteX42" fmla="*/ 4606278 w 8075619"/>
                <a:gd name="connsiteY42" fmla="*/ 780395 h 2393731"/>
                <a:gd name="connsiteX43" fmla="*/ 4646619 w 8075619"/>
                <a:gd name="connsiteY43" fmla="*/ 753500 h 2393731"/>
                <a:gd name="connsiteX44" fmla="*/ 4686961 w 8075619"/>
                <a:gd name="connsiteY44" fmla="*/ 740053 h 2393731"/>
                <a:gd name="connsiteX45" fmla="*/ 5211396 w 8075619"/>
                <a:gd name="connsiteY45" fmla="*/ 686265 h 2393731"/>
                <a:gd name="connsiteX46" fmla="*/ 5332419 w 8075619"/>
                <a:gd name="connsiteY46" fmla="*/ 632477 h 2393731"/>
                <a:gd name="connsiteX47" fmla="*/ 5399655 w 8075619"/>
                <a:gd name="connsiteY47" fmla="*/ 565242 h 2393731"/>
                <a:gd name="connsiteX48" fmla="*/ 5426549 w 8075619"/>
                <a:gd name="connsiteY48" fmla="*/ 538347 h 2393731"/>
                <a:gd name="connsiteX49" fmla="*/ 5466890 w 8075619"/>
                <a:gd name="connsiteY49" fmla="*/ 498006 h 2393731"/>
                <a:gd name="connsiteX50" fmla="*/ 5534125 w 8075619"/>
                <a:gd name="connsiteY50" fmla="*/ 417324 h 2393731"/>
                <a:gd name="connsiteX51" fmla="*/ 5547572 w 8075619"/>
                <a:gd name="connsiteY51" fmla="*/ 376983 h 2393731"/>
                <a:gd name="connsiteX52" fmla="*/ 5574467 w 8075619"/>
                <a:gd name="connsiteY52" fmla="*/ 350089 h 2393731"/>
                <a:gd name="connsiteX53" fmla="*/ 5601361 w 8075619"/>
                <a:gd name="connsiteY53" fmla="*/ 309747 h 2393731"/>
                <a:gd name="connsiteX54" fmla="*/ 5614808 w 8075619"/>
                <a:gd name="connsiteY54" fmla="*/ 255959 h 2393731"/>
                <a:gd name="connsiteX55" fmla="*/ 5628255 w 8075619"/>
                <a:gd name="connsiteY55" fmla="*/ 94595 h 2393731"/>
                <a:gd name="connsiteX56" fmla="*/ 5695490 w 8075619"/>
                <a:gd name="connsiteY56" fmla="*/ 67700 h 2393731"/>
                <a:gd name="connsiteX57" fmla="*/ 5776172 w 8075619"/>
                <a:gd name="connsiteY57" fmla="*/ 40806 h 2393731"/>
                <a:gd name="connsiteX58" fmla="*/ 5816514 w 8075619"/>
                <a:gd name="connsiteY58" fmla="*/ 27359 h 2393731"/>
                <a:gd name="connsiteX59" fmla="*/ 5856855 w 8075619"/>
                <a:gd name="connsiteY59" fmla="*/ 465 h 2393731"/>
                <a:gd name="connsiteX60" fmla="*/ 5870302 w 8075619"/>
                <a:gd name="connsiteY60" fmla="*/ 40806 h 2393731"/>
                <a:gd name="connsiteX61" fmla="*/ 5883749 w 8075619"/>
                <a:gd name="connsiteY61" fmla="*/ 134936 h 2393731"/>
                <a:gd name="connsiteX62" fmla="*/ 5924090 w 8075619"/>
                <a:gd name="connsiteY62" fmla="*/ 215618 h 2393731"/>
                <a:gd name="connsiteX63" fmla="*/ 5964431 w 8075619"/>
                <a:gd name="connsiteY63" fmla="*/ 296300 h 2393731"/>
                <a:gd name="connsiteX64" fmla="*/ 5977878 w 8075619"/>
                <a:gd name="connsiteY64" fmla="*/ 336642 h 2393731"/>
                <a:gd name="connsiteX65" fmla="*/ 6031667 w 8075619"/>
                <a:gd name="connsiteY65" fmla="*/ 417324 h 2393731"/>
                <a:gd name="connsiteX66" fmla="*/ 6058561 w 8075619"/>
                <a:gd name="connsiteY66" fmla="*/ 457665 h 2393731"/>
                <a:gd name="connsiteX67" fmla="*/ 6139243 w 8075619"/>
                <a:gd name="connsiteY67" fmla="*/ 592136 h 2393731"/>
                <a:gd name="connsiteX68" fmla="*/ 6166137 w 8075619"/>
                <a:gd name="connsiteY68" fmla="*/ 632477 h 2393731"/>
                <a:gd name="connsiteX69" fmla="*/ 6179584 w 8075619"/>
                <a:gd name="connsiteY69" fmla="*/ 672818 h 2393731"/>
                <a:gd name="connsiteX70" fmla="*/ 6246819 w 8075619"/>
                <a:gd name="connsiteY70" fmla="*/ 753500 h 2393731"/>
                <a:gd name="connsiteX71" fmla="*/ 6287161 w 8075619"/>
                <a:gd name="connsiteY71" fmla="*/ 834183 h 2393731"/>
                <a:gd name="connsiteX72" fmla="*/ 6327502 w 8075619"/>
                <a:gd name="connsiteY72" fmla="*/ 874524 h 2393731"/>
                <a:gd name="connsiteX73" fmla="*/ 6381290 w 8075619"/>
                <a:gd name="connsiteY73" fmla="*/ 955206 h 2393731"/>
                <a:gd name="connsiteX74" fmla="*/ 6448525 w 8075619"/>
                <a:gd name="connsiteY74" fmla="*/ 1008995 h 2393731"/>
                <a:gd name="connsiteX75" fmla="*/ 6488867 w 8075619"/>
                <a:gd name="connsiteY75" fmla="*/ 1062783 h 2393731"/>
                <a:gd name="connsiteX76" fmla="*/ 6609890 w 8075619"/>
                <a:gd name="connsiteY76" fmla="*/ 1197253 h 2393731"/>
                <a:gd name="connsiteX77" fmla="*/ 6704019 w 8075619"/>
                <a:gd name="connsiteY77" fmla="*/ 1318277 h 2393731"/>
                <a:gd name="connsiteX78" fmla="*/ 6730914 w 8075619"/>
                <a:gd name="connsiteY78" fmla="*/ 1345171 h 2393731"/>
                <a:gd name="connsiteX79" fmla="*/ 6798149 w 8075619"/>
                <a:gd name="connsiteY79" fmla="*/ 1452747 h 2393731"/>
                <a:gd name="connsiteX80" fmla="*/ 6851937 w 8075619"/>
                <a:gd name="connsiteY80" fmla="*/ 1506536 h 2393731"/>
                <a:gd name="connsiteX81" fmla="*/ 6878831 w 8075619"/>
                <a:gd name="connsiteY81" fmla="*/ 1546877 h 2393731"/>
                <a:gd name="connsiteX82" fmla="*/ 7026749 w 8075619"/>
                <a:gd name="connsiteY82" fmla="*/ 1667900 h 2393731"/>
                <a:gd name="connsiteX83" fmla="*/ 7026749 w 8075619"/>
                <a:gd name="connsiteY83" fmla="*/ 1667900 h 2393731"/>
                <a:gd name="connsiteX84" fmla="*/ 7107431 w 8075619"/>
                <a:gd name="connsiteY84" fmla="*/ 1721689 h 2393731"/>
                <a:gd name="connsiteX85" fmla="*/ 7147772 w 8075619"/>
                <a:gd name="connsiteY85" fmla="*/ 1748583 h 2393731"/>
                <a:gd name="connsiteX86" fmla="*/ 7241902 w 8075619"/>
                <a:gd name="connsiteY86" fmla="*/ 1775477 h 2393731"/>
                <a:gd name="connsiteX87" fmla="*/ 7322584 w 8075619"/>
                <a:gd name="connsiteY87" fmla="*/ 1856159 h 2393731"/>
                <a:gd name="connsiteX88" fmla="*/ 7349478 w 8075619"/>
                <a:gd name="connsiteY88" fmla="*/ 1896500 h 2393731"/>
                <a:gd name="connsiteX89" fmla="*/ 7416714 w 8075619"/>
                <a:gd name="connsiteY89" fmla="*/ 1923395 h 2393731"/>
                <a:gd name="connsiteX90" fmla="*/ 7510843 w 8075619"/>
                <a:gd name="connsiteY90" fmla="*/ 1977183 h 2393731"/>
                <a:gd name="connsiteX91" fmla="*/ 7631867 w 8075619"/>
                <a:gd name="connsiteY91" fmla="*/ 1990630 h 2393731"/>
                <a:gd name="connsiteX92" fmla="*/ 7739443 w 8075619"/>
                <a:gd name="connsiteY92" fmla="*/ 2017524 h 2393731"/>
                <a:gd name="connsiteX93" fmla="*/ 7873914 w 8075619"/>
                <a:gd name="connsiteY93" fmla="*/ 2030971 h 2393731"/>
                <a:gd name="connsiteX94" fmla="*/ 8075619 w 8075619"/>
                <a:gd name="connsiteY94" fmla="*/ 2057865 h 2393731"/>
                <a:gd name="connsiteX0" fmla="*/ 0 w 8075619"/>
                <a:gd name="connsiteY0" fmla="*/ 2393731 h 2393731"/>
                <a:gd name="connsiteX1" fmla="*/ 176206 w 8075619"/>
                <a:gd name="connsiteY1" fmla="*/ 2356937 h 2393731"/>
                <a:gd name="connsiteX2" fmla="*/ 244907 w 8075619"/>
                <a:gd name="connsiteY2" fmla="*/ 2357014 h 2393731"/>
                <a:gd name="connsiteX3" fmla="*/ 733525 w 8075619"/>
                <a:gd name="connsiteY3" fmla="*/ 2326806 h 2393731"/>
                <a:gd name="connsiteX4" fmla="*/ 773867 w 8075619"/>
                <a:gd name="connsiteY4" fmla="*/ 2299912 h 2393731"/>
                <a:gd name="connsiteX5" fmla="*/ 867996 w 8075619"/>
                <a:gd name="connsiteY5" fmla="*/ 2273018 h 2393731"/>
                <a:gd name="connsiteX6" fmla="*/ 1002467 w 8075619"/>
                <a:gd name="connsiteY6" fmla="*/ 2205783 h 2393731"/>
                <a:gd name="connsiteX7" fmla="*/ 1042808 w 8075619"/>
                <a:gd name="connsiteY7" fmla="*/ 2178889 h 2393731"/>
                <a:gd name="connsiteX8" fmla="*/ 1110043 w 8075619"/>
                <a:gd name="connsiteY8" fmla="*/ 2098206 h 2393731"/>
                <a:gd name="connsiteX9" fmla="*/ 1150384 w 8075619"/>
                <a:gd name="connsiteY9" fmla="*/ 2084759 h 2393731"/>
                <a:gd name="connsiteX10" fmla="*/ 1231067 w 8075619"/>
                <a:gd name="connsiteY10" fmla="*/ 2004077 h 2393731"/>
                <a:gd name="connsiteX11" fmla="*/ 1271408 w 8075619"/>
                <a:gd name="connsiteY11" fmla="*/ 1923395 h 2393731"/>
                <a:gd name="connsiteX12" fmla="*/ 1378984 w 8075619"/>
                <a:gd name="connsiteY12" fmla="*/ 1842712 h 2393731"/>
                <a:gd name="connsiteX13" fmla="*/ 1419325 w 8075619"/>
                <a:gd name="connsiteY13" fmla="*/ 1762030 h 2393731"/>
                <a:gd name="connsiteX14" fmla="*/ 1553796 w 8075619"/>
                <a:gd name="connsiteY14" fmla="*/ 1641006 h 2393731"/>
                <a:gd name="connsiteX15" fmla="*/ 1621031 w 8075619"/>
                <a:gd name="connsiteY15" fmla="*/ 1614112 h 2393731"/>
                <a:gd name="connsiteX16" fmla="*/ 1715161 w 8075619"/>
                <a:gd name="connsiteY16" fmla="*/ 1519983 h 2393731"/>
                <a:gd name="connsiteX17" fmla="*/ 1795843 w 8075619"/>
                <a:gd name="connsiteY17" fmla="*/ 1439300 h 2393731"/>
                <a:gd name="connsiteX18" fmla="*/ 1809290 w 8075619"/>
                <a:gd name="connsiteY18" fmla="*/ 1398959 h 2393731"/>
                <a:gd name="connsiteX19" fmla="*/ 1889972 w 8075619"/>
                <a:gd name="connsiteY19" fmla="*/ 1318277 h 2393731"/>
                <a:gd name="connsiteX20" fmla="*/ 1903419 w 8075619"/>
                <a:gd name="connsiteY20" fmla="*/ 1277936 h 2393731"/>
                <a:gd name="connsiteX21" fmla="*/ 1957208 w 8075619"/>
                <a:gd name="connsiteY21" fmla="*/ 1264489 h 2393731"/>
                <a:gd name="connsiteX22" fmla="*/ 2024443 w 8075619"/>
                <a:gd name="connsiteY22" fmla="*/ 1210700 h 2393731"/>
                <a:gd name="connsiteX23" fmla="*/ 2105125 w 8075619"/>
                <a:gd name="connsiteY23" fmla="*/ 1170359 h 2393731"/>
                <a:gd name="connsiteX24" fmla="*/ 2185808 w 8075619"/>
                <a:gd name="connsiteY24" fmla="*/ 1103124 h 2393731"/>
                <a:gd name="connsiteX25" fmla="*/ 2239596 w 8075619"/>
                <a:gd name="connsiteY25" fmla="*/ 1049336 h 2393731"/>
                <a:gd name="connsiteX26" fmla="*/ 2320278 w 8075619"/>
                <a:gd name="connsiteY26" fmla="*/ 982100 h 2393731"/>
                <a:gd name="connsiteX27" fmla="*/ 2333725 w 8075619"/>
                <a:gd name="connsiteY27" fmla="*/ 941759 h 2393731"/>
                <a:gd name="connsiteX28" fmla="*/ 2374067 w 8075619"/>
                <a:gd name="connsiteY28" fmla="*/ 928312 h 2393731"/>
                <a:gd name="connsiteX29" fmla="*/ 2562325 w 8075619"/>
                <a:gd name="connsiteY29" fmla="*/ 941759 h 2393731"/>
                <a:gd name="connsiteX30" fmla="*/ 2656455 w 8075619"/>
                <a:gd name="connsiteY30" fmla="*/ 982100 h 2393731"/>
                <a:gd name="connsiteX31" fmla="*/ 2777478 w 8075619"/>
                <a:gd name="connsiteY31" fmla="*/ 1008995 h 2393731"/>
                <a:gd name="connsiteX32" fmla="*/ 3127102 w 8075619"/>
                <a:gd name="connsiteY32" fmla="*/ 995547 h 2393731"/>
                <a:gd name="connsiteX33" fmla="*/ 3194337 w 8075619"/>
                <a:gd name="connsiteY33" fmla="*/ 982100 h 2393731"/>
                <a:gd name="connsiteX34" fmla="*/ 3705325 w 8075619"/>
                <a:gd name="connsiteY34" fmla="*/ 955206 h 2393731"/>
                <a:gd name="connsiteX35" fmla="*/ 4014608 w 8075619"/>
                <a:gd name="connsiteY35" fmla="*/ 928312 h 2393731"/>
                <a:gd name="connsiteX36" fmla="*/ 4095290 w 8075619"/>
                <a:gd name="connsiteY36" fmla="*/ 914865 h 2393731"/>
                <a:gd name="connsiteX37" fmla="*/ 4270102 w 8075619"/>
                <a:gd name="connsiteY37" fmla="*/ 887971 h 2393731"/>
                <a:gd name="connsiteX38" fmla="*/ 4377678 w 8075619"/>
                <a:gd name="connsiteY38" fmla="*/ 847630 h 2393731"/>
                <a:gd name="connsiteX39" fmla="*/ 4431467 w 8075619"/>
                <a:gd name="connsiteY39" fmla="*/ 834183 h 2393731"/>
                <a:gd name="connsiteX40" fmla="*/ 4471808 w 8075619"/>
                <a:gd name="connsiteY40" fmla="*/ 820736 h 2393731"/>
                <a:gd name="connsiteX41" fmla="*/ 4552490 w 8075619"/>
                <a:gd name="connsiteY41" fmla="*/ 807289 h 2393731"/>
                <a:gd name="connsiteX42" fmla="*/ 4606278 w 8075619"/>
                <a:gd name="connsiteY42" fmla="*/ 780395 h 2393731"/>
                <a:gd name="connsiteX43" fmla="*/ 4646619 w 8075619"/>
                <a:gd name="connsiteY43" fmla="*/ 753500 h 2393731"/>
                <a:gd name="connsiteX44" fmla="*/ 4686961 w 8075619"/>
                <a:gd name="connsiteY44" fmla="*/ 740053 h 2393731"/>
                <a:gd name="connsiteX45" fmla="*/ 5211396 w 8075619"/>
                <a:gd name="connsiteY45" fmla="*/ 686265 h 2393731"/>
                <a:gd name="connsiteX46" fmla="*/ 5332419 w 8075619"/>
                <a:gd name="connsiteY46" fmla="*/ 632477 h 2393731"/>
                <a:gd name="connsiteX47" fmla="*/ 5399655 w 8075619"/>
                <a:gd name="connsiteY47" fmla="*/ 565242 h 2393731"/>
                <a:gd name="connsiteX48" fmla="*/ 5426549 w 8075619"/>
                <a:gd name="connsiteY48" fmla="*/ 538347 h 2393731"/>
                <a:gd name="connsiteX49" fmla="*/ 5466890 w 8075619"/>
                <a:gd name="connsiteY49" fmla="*/ 498006 h 2393731"/>
                <a:gd name="connsiteX50" fmla="*/ 5534125 w 8075619"/>
                <a:gd name="connsiteY50" fmla="*/ 417324 h 2393731"/>
                <a:gd name="connsiteX51" fmla="*/ 5547572 w 8075619"/>
                <a:gd name="connsiteY51" fmla="*/ 376983 h 2393731"/>
                <a:gd name="connsiteX52" fmla="*/ 5574467 w 8075619"/>
                <a:gd name="connsiteY52" fmla="*/ 350089 h 2393731"/>
                <a:gd name="connsiteX53" fmla="*/ 5601361 w 8075619"/>
                <a:gd name="connsiteY53" fmla="*/ 309747 h 2393731"/>
                <a:gd name="connsiteX54" fmla="*/ 5614808 w 8075619"/>
                <a:gd name="connsiteY54" fmla="*/ 255959 h 2393731"/>
                <a:gd name="connsiteX55" fmla="*/ 5628255 w 8075619"/>
                <a:gd name="connsiteY55" fmla="*/ 94595 h 2393731"/>
                <a:gd name="connsiteX56" fmla="*/ 5695490 w 8075619"/>
                <a:gd name="connsiteY56" fmla="*/ 67700 h 2393731"/>
                <a:gd name="connsiteX57" fmla="*/ 5776172 w 8075619"/>
                <a:gd name="connsiteY57" fmla="*/ 40806 h 2393731"/>
                <a:gd name="connsiteX58" fmla="*/ 5816514 w 8075619"/>
                <a:gd name="connsiteY58" fmla="*/ 27359 h 2393731"/>
                <a:gd name="connsiteX59" fmla="*/ 5856855 w 8075619"/>
                <a:gd name="connsiteY59" fmla="*/ 465 h 2393731"/>
                <a:gd name="connsiteX60" fmla="*/ 5870302 w 8075619"/>
                <a:gd name="connsiteY60" fmla="*/ 40806 h 2393731"/>
                <a:gd name="connsiteX61" fmla="*/ 5883749 w 8075619"/>
                <a:gd name="connsiteY61" fmla="*/ 134936 h 2393731"/>
                <a:gd name="connsiteX62" fmla="*/ 5924090 w 8075619"/>
                <a:gd name="connsiteY62" fmla="*/ 215618 h 2393731"/>
                <a:gd name="connsiteX63" fmla="*/ 5964431 w 8075619"/>
                <a:gd name="connsiteY63" fmla="*/ 296300 h 2393731"/>
                <a:gd name="connsiteX64" fmla="*/ 5977878 w 8075619"/>
                <a:gd name="connsiteY64" fmla="*/ 336642 h 2393731"/>
                <a:gd name="connsiteX65" fmla="*/ 6031667 w 8075619"/>
                <a:gd name="connsiteY65" fmla="*/ 417324 h 2393731"/>
                <a:gd name="connsiteX66" fmla="*/ 6058561 w 8075619"/>
                <a:gd name="connsiteY66" fmla="*/ 457665 h 2393731"/>
                <a:gd name="connsiteX67" fmla="*/ 6139243 w 8075619"/>
                <a:gd name="connsiteY67" fmla="*/ 592136 h 2393731"/>
                <a:gd name="connsiteX68" fmla="*/ 6166137 w 8075619"/>
                <a:gd name="connsiteY68" fmla="*/ 632477 h 2393731"/>
                <a:gd name="connsiteX69" fmla="*/ 6179584 w 8075619"/>
                <a:gd name="connsiteY69" fmla="*/ 672818 h 2393731"/>
                <a:gd name="connsiteX70" fmla="*/ 6246819 w 8075619"/>
                <a:gd name="connsiteY70" fmla="*/ 753500 h 2393731"/>
                <a:gd name="connsiteX71" fmla="*/ 6287161 w 8075619"/>
                <a:gd name="connsiteY71" fmla="*/ 834183 h 2393731"/>
                <a:gd name="connsiteX72" fmla="*/ 6327502 w 8075619"/>
                <a:gd name="connsiteY72" fmla="*/ 874524 h 2393731"/>
                <a:gd name="connsiteX73" fmla="*/ 6381290 w 8075619"/>
                <a:gd name="connsiteY73" fmla="*/ 955206 h 2393731"/>
                <a:gd name="connsiteX74" fmla="*/ 6448525 w 8075619"/>
                <a:gd name="connsiteY74" fmla="*/ 1008995 h 2393731"/>
                <a:gd name="connsiteX75" fmla="*/ 6488867 w 8075619"/>
                <a:gd name="connsiteY75" fmla="*/ 1062783 h 2393731"/>
                <a:gd name="connsiteX76" fmla="*/ 6609890 w 8075619"/>
                <a:gd name="connsiteY76" fmla="*/ 1197253 h 2393731"/>
                <a:gd name="connsiteX77" fmla="*/ 6704019 w 8075619"/>
                <a:gd name="connsiteY77" fmla="*/ 1318277 h 2393731"/>
                <a:gd name="connsiteX78" fmla="*/ 6730914 w 8075619"/>
                <a:gd name="connsiteY78" fmla="*/ 1345171 h 2393731"/>
                <a:gd name="connsiteX79" fmla="*/ 6798149 w 8075619"/>
                <a:gd name="connsiteY79" fmla="*/ 1452747 h 2393731"/>
                <a:gd name="connsiteX80" fmla="*/ 6851937 w 8075619"/>
                <a:gd name="connsiteY80" fmla="*/ 1506536 h 2393731"/>
                <a:gd name="connsiteX81" fmla="*/ 6878831 w 8075619"/>
                <a:gd name="connsiteY81" fmla="*/ 1546877 h 2393731"/>
                <a:gd name="connsiteX82" fmla="*/ 7026749 w 8075619"/>
                <a:gd name="connsiteY82" fmla="*/ 1667900 h 2393731"/>
                <a:gd name="connsiteX83" fmla="*/ 7026749 w 8075619"/>
                <a:gd name="connsiteY83" fmla="*/ 1667900 h 2393731"/>
                <a:gd name="connsiteX84" fmla="*/ 7107431 w 8075619"/>
                <a:gd name="connsiteY84" fmla="*/ 1721689 h 2393731"/>
                <a:gd name="connsiteX85" fmla="*/ 7147772 w 8075619"/>
                <a:gd name="connsiteY85" fmla="*/ 1748583 h 2393731"/>
                <a:gd name="connsiteX86" fmla="*/ 7241902 w 8075619"/>
                <a:gd name="connsiteY86" fmla="*/ 1775477 h 2393731"/>
                <a:gd name="connsiteX87" fmla="*/ 7322584 w 8075619"/>
                <a:gd name="connsiteY87" fmla="*/ 1856159 h 2393731"/>
                <a:gd name="connsiteX88" fmla="*/ 7349478 w 8075619"/>
                <a:gd name="connsiteY88" fmla="*/ 1896500 h 2393731"/>
                <a:gd name="connsiteX89" fmla="*/ 7416714 w 8075619"/>
                <a:gd name="connsiteY89" fmla="*/ 1923395 h 2393731"/>
                <a:gd name="connsiteX90" fmla="*/ 7510843 w 8075619"/>
                <a:gd name="connsiteY90" fmla="*/ 1977183 h 2393731"/>
                <a:gd name="connsiteX91" fmla="*/ 7631867 w 8075619"/>
                <a:gd name="connsiteY91" fmla="*/ 1990630 h 2393731"/>
                <a:gd name="connsiteX92" fmla="*/ 7739443 w 8075619"/>
                <a:gd name="connsiteY92" fmla="*/ 2017524 h 2393731"/>
                <a:gd name="connsiteX93" fmla="*/ 7873914 w 8075619"/>
                <a:gd name="connsiteY93" fmla="*/ 2030971 h 2393731"/>
                <a:gd name="connsiteX94" fmla="*/ 8075619 w 8075619"/>
                <a:gd name="connsiteY94" fmla="*/ 2057865 h 239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075619" h="2393731">
                  <a:moveTo>
                    <a:pt x="0" y="2393731"/>
                  </a:moveTo>
                  <a:cubicBezTo>
                    <a:pt x="58735" y="2381466"/>
                    <a:pt x="135388" y="2363057"/>
                    <a:pt x="176206" y="2356937"/>
                  </a:cubicBezTo>
                  <a:cubicBezTo>
                    <a:pt x="217024" y="2350817"/>
                    <a:pt x="152021" y="2362036"/>
                    <a:pt x="244907" y="2357014"/>
                  </a:cubicBezTo>
                  <a:cubicBezTo>
                    <a:pt x="337794" y="2351992"/>
                    <a:pt x="645365" y="2336323"/>
                    <a:pt x="733525" y="2326806"/>
                  </a:cubicBezTo>
                  <a:cubicBezTo>
                    <a:pt x="821685" y="2317289"/>
                    <a:pt x="759012" y="2306278"/>
                    <a:pt x="773867" y="2299912"/>
                  </a:cubicBezTo>
                  <a:cubicBezTo>
                    <a:pt x="804330" y="2286856"/>
                    <a:pt x="838558" y="2289372"/>
                    <a:pt x="867996" y="2273018"/>
                  </a:cubicBezTo>
                  <a:cubicBezTo>
                    <a:pt x="998986" y="2200246"/>
                    <a:pt x="897348" y="2232062"/>
                    <a:pt x="1002467" y="2205783"/>
                  </a:cubicBezTo>
                  <a:cubicBezTo>
                    <a:pt x="1015914" y="2196818"/>
                    <a:pt x="1031380" y="2190317"/>
                    <a:pt x="1042808" y="2178889"/>
                  </a:cubicBezTo>
                  <a:cubicBezTo>
                    <a:pt x="1092420" y="2129276"/>
                    <a:pt x="1043954" y="2142265"/>
                    <a:pt x="1110043" y="2098206"/>
                  </a:cubicBezTo>
                  <a:cubicBezTo>
                    <a:pt x="1121837" y="2090343"/>
                    <a:pt x="1136937" y="2089241"/>
                    <a:pt x="1150384" y="2084759"/>
                  </a:cubicBezTo>
                  <a:cubicBezTo>
                    <a:pt x="1195286" y="2051083"/>
                    <a:pt x="1207472" y="2051267"/>
                    <a:pt x="1231067" y="2004077"/>
                  </a:cubicBezTo>
                  <a:cubicBezTo>
                    <a:pt x="1249869" y="1966474"/>
                    <a:pt x="1236373" y="1954927"/>
                    <a:pt x="1271408" y="1923395"/>
                  </a:cubicBezTo>
                  <a:cubicBezTo>
                    <a:pt x="1304725" y="1893410"/>
                    <a:pt x="1343125" y="1869606"/>
                    <a:pt x="1378984" y="1842712"/>
                  </a:cubicBezTo>
                  <a:cubicBezTo>
                    <a:pt x="1392431" y="1815818"/>
                    <a:pt x="1400992" y="1785863"/>
                    <a:pt x="1419325" y="1762030"/>
                  </a:cubicBezTo>
                  <a:cubicBezTo>
                    <a:pt x="1441104" y="1733717"/>
                    <a:pt x="1507047" y="1664380"/>
                    <a:pt x="1553796" y="1641006"/>
                  </a:cubicBezTo>
                  <a:cubicBezTo>
                    <a:pt x="1575386" y="1630211"/>
                    <a:pt x="1598619" y="1623077"/>
                    <a:pt x="1621031" y="1614112"/>
                  </a:cubicBezTo>
                  <a:cubicBezTo>
                    <a:pt x="1651459" y="1522829"/>
                    <a:pt x="1607270" y="1627875"/>
                    <a:pt x="1715161" y="1519983"/>
                  </a:cubicBezTo>
                  <a:lnTo>
                    <a:pt x="1795843" y="1439300"/>
                  </a:lnTo>
                  <a:cubicBezTo>
                    <a:pt x="1800325" y="1425853"/>
                    <a:pt x="1800588" y="1410148"/>
                    <a:pt x="1809290" y="1398959"/>
                  </a:cubicBezTo>
                  <a:cubicBezTo>
                    <a:pt x="1832641" y="1368937"/>
                    <a:pt x="1889972" y="1318277"/>
                    <a:pt x="1889972" y="1318277"/>
                  </a:cubicBezTo>
                  <a:cubicBezTo>
                    <a:pt x="1894454" y="1304830"/>
                    <a:pt x="1892351" y="1286791"/>
                    <a:pt x="1903419" y="1277936"/>
                  </a:cubicBezTo>
                  <a:cubicBezTo>
                    <a:pt x="1917851" y="1266391"/>
                    <a:pt x="1940221" y="1271769"/>
                    <a:pt x="1957208" y="1264489"/>
                  </a:cubicBezTo>
                  <a:cubicBezTo>
                    <a:pt x="2001782" y="1245386"/>
                    <a:pt x="1991076" y="1237394"/>
                    <a:pt x="2024443" y="1210700"/>
                  </a:cubicBezTo>
                  <a:cubicBezTo>
                    <a:pt x="2061681" y="1180909"/>
                    <a:pt x="2062517" y="1184562"/>
                    <a:pt x="2105125" y="1170359"/>
                  </a:cubicBezTo>
                  <a:cubicBezTo>
                    <a:pt x="2213916" y="1025309"/>
                    <a:pt x="2086294" y="1174206"/>
                    <a:pt x="2185808" y="1103124"/>
                  </a:cubicBezTo>
                  <a:cubicBezTo>
                    <a:pt x="2206441" y="1088386"/>
                    <a:pt x="2220344" y="1065837"/>
                    <a:pt x="2239596" y="1049336"/>
                  </a:cubicBezTo>
                  <a:cubicBezTo>
                    <a:pt x="2370633" y="937019"/>
                    <a:pt x="2180406" y="1121976"/>
                    <a:pt x="2320278" y="982100"/>
                  </a:cubicBezTo>
                  <a:cubicBezTo>
                    <a:pt x="2324760" y="968653"/>
                    <a:pt x="2323702" y="951782"/>
                    <a:pt x="2333725" y="941759"/>
                  </a:cubicBezTo>
                  <a:cubicBezTo>
                    <a:pt x="2343748" y="931736"/>
                    <a:pt x="2359892" y="928312"/>
                    <a:pt x="2374067" y="928312"/>
                  </a:cubicBezTo>
                  <a:cubicBezTo>
                    <a:pt x="2436980" y="928312"/>
                    <a:pt x="2499572" y="937277"/>
                    <a:pt x="2562325" y="941759"/>
                  </a:cubicBezTo>
                  <a:cubicBezTo>
                    <a:pt x="2674270" y="969745"/>
                    <a:pt x="2563592" y="935668"/>
                    <a:pt x="2656455" y="982100"/>
                  </a:cubicBezTo>
                  <a:cubicBezTo>
                    <a:pt x="2689557" y="998651"/>
                    <a:pt x="2746493" y="1003830"/>
                    <a:pt x="2777478" y="1008995"/>
                  </a:cubicBezTo>
                  <a:cubicBezTo>
                    <a:pt x="2894019" y="1004512"/>
                    <a:pt x="3010716" y="1003056"/>
                    <a:pt x="3127102" y="995547"/>
                  </a:cubicBezTo>
                  <a:cubicBezTo>
                    <a:pt x="3149910" y="994075"/>
                    <a:pt x="3171621" y="984624"/>
                    <a:pt x="3194337" y="982100"/>
                  </a:cubicBezTo>
                  <a:cubicBezTo>
                    <a:pt x="3343164" y="965564"/>
                    <a:pt x="3575190" y="960411"/>
                    <a:pt x="3705325" y="955206"/>
                  </a:cubicBezTo>
                  <a:cubicBezTo>
                    <a:pt x="3893553" y="923835"/>
                    <a:pt x="3668499" y="958408"/>
                    <a:pt x="4014608" y="928312"/>
                  </a:cubicBezTo>
                  <a:cubicBezTo>
                    <a:pt x="4041770" y="925950"/>
                    <a:pt x="4068342" y="919011"/>
                    <a:pt x="4095290" y="914865"/>
                  </a:cubicBezTo>
                  <a:cubicBezTo>
                    <a:pt x="4320244" y="880257"/>
                    <a:pt x="4068833" y="921515"/>
                    <a:pt x="4270102" y="887971"/>
                  </a:cubicBezTo>
                  <a:cubicBezTo>
                    <a:pt x="4305623" y="873763"/>
                    <a:pt x="4340789" y="858170"/>
                    <a:pt x="4377678" y="847630"/>
                  </a:cubicBezTo>
                  <a:cubicBezTo>
                    <a:pt x="4395448" y="842553"/>
                    <a:pt x="4413697" y="839260"/>
                    <a:pt x="4431467" y="834183"/>
                  </a:cubicBezTo>
                  <a:cubicBezTo>
                    <a:pt x="4445096" y="830289"/>
                    <a:pt x="4457971" y="823811"/>
                    <a:pt x="4471808" y="820736"/>
                  </a:cubicBezTo>
                  <a:cubicBezTo>
                    <a:pt x="4498424" y="814821"/>
                    <a:pt x="4525596" y="811771"/>
                    <a:pt x="4552490" y="807289"/>
                  </a:cubicBezTo>
                  <a:cubicBezTo>
                    <a:pt x="4570419" y="798324"/>
                    <a:pt x="4588874" y="790341"/>
                    <a:pt x="4606278" y="780395"/>
                  </a:cubicBezTo>
                  <a:cubicBezTo>
                    <a:pt x="4620310" y="772377"/>
                    <a:pt x="4632164" y="760728"/>
                    <a:pt x="4646619" y="753500"/>
                  </a:cubicBezTo>
                  <a:cubicBezTo>
                    <a:pt x="4659297" y="747161"/>
                    <a:pt x="4673514" y="744535"/>
                    <a:pt x="4686961" y="740053"/>
                  </a:cubicBezTo>
                  <a:cubicBezTo>
                    <a:pt x="4865246" y="621196"/>
                    <a:pt x="4676427" y="737214"/>
                    <a:pt x="5211396" y="686265"/>
                  </a:cubicBezTo>
                  <a:cubicBezTo>
                    <a:pt x="5248133" y="682766"/>
                    <a:pt x="5302284" y="658845"/>
                    <a:pt x="5332419" y="632477"/>
                  </a:cubicBezTo>
                  <a:cubicBezTo>
                    <a:pt x="5356272" y="611606"/>
                    <a:pt x="5377243" y="587654"/>
                    <a:pt x="5399655" y="565242"/>
                  </a:cubicBezTo>
                  <a:lnTo>
                    <a:pt x="5426549" y="538347"/>
                  </a:lnTo>
                  <a:cubicBezTo>
                    <a:pt x="5439996" y="524900"/>
                    <a:pt x="5456341" y="513829"/>
                    <a:pt x="5466890" y="498006"/>
                  </a:cubicBezTo>
                  <a:cubicBezTo>
                    <a:pt x="5504333" y="441842"/>
                    <a:pt x="5482356" y="469093"/>
                    <a:pt x="5534125" y="417324"/>
                  </a:cubicBezTo>
                  <a:cubicBezTo>
                    <a:pt x="5538607" y="403877"/>
                    <a:pt x="5540279" y="389137"/>
                    <a:pt x="5547572" y="376983"/>
                  </a:cubicBezTo>
                  <a:cubicBezTo>
                    <a:pt x="5554095" y="366112"/>
                    <a:pt x="5566547" y="359989"/>
                    <a:pt x="5574467" y="350089"/>
                  </a:cubicBezTo>
                  <a:cubicBezTo>
                    <a:pt x="5584563" y="337469"/>
                    <a:pt x="5592396" y="323194"/>
                    <a:pt x="5601361" y="309747"/>
                  </a:cubicBezTo>
                  <a:cubicBezTo>
                    <a:pt x="5605843" y="291818"/>
                    <a:pt x="5612516" y="274297"/>
                    <a:pt x="5614808" y="255959"/>
                  </a:cubicBezTo>
                  <a:cubicBezTo>
                    <a:pt x="5621503" y="202401"/>
                    <a:pt x="5606994" y="144205"/>
                    <a:pt x="5628255" y="94595"/>
                  </a:cubicBezTo>
                  <a:cubicBezTo>
                    <a:pt x="5637763" y="72408"/>
                    <a:pt x="5672805" y="75949"/>
                    <a:pt x="5695490" y="67700"/>
                  </a:cubicBezTo>
                  <a:cubicBezTo>
                    <a:pt x="5722132" y="58012"/>
                    <a:pt x="5749278" y="49771"/>
                    <a:pt x="5776172" y="40806"/>
                  </a:cubicBezTo>
                  <a:lnTo>
                    <a:pt x="5816514" y="27359"/>
                  </a:lnTo>
                  <a:cubicBezTo>
                    <a:pt x="5829961" y="18394"/>
                    <a:pt x="5841176" y="-3455"/>
                    <a:pt x="5856855" y="465"/>
                  </a:cubicBezTo>
                  <a:cubicBezTo>
                    <a:pt x="5870606" y="3903"/>
                    <a:pt x="5867522" y="26907"/>
                    <a:pt x="5870302" y="40806"/>
                  </a:cubicBezTo>
                  <a:cubicBezTo>
                    <a:pt x="5876518" y="71886"/>
                    <a:pt x="5877533" y="103856"/>
                    <a:pt x="5883749" y="134936"/>
                  </a:cubicBezTo>
                  <a:cubicBezTo>
                    <a:pt x="5895015" y="191268"/>
                    <a:pt x="5897647" y="162732"/>
                    <a:pt x="5924090" y="215618"/>
                  </a:cubicBezTo>
                  <a:cubicBezTo>
                    <a:pt x="5979763" y="326964"/>
                    <a:pt x="5887357" y="180688"/>
                    <a:pt x="5964431" y="296300"/>
                  </a:cubicBezTo>
                  <a:cubicBezTo>
                    <a:pt x="5968913" y="309747"/>
                    <a:pt x="5970994" y="324251"/>
                    <a:pt x="5977878" y="336642"/>
                  </a:cubicBezTo>
                  <a:cubicBezTo>
                    <a:pt x="5993575" y="364897"/>
                    <a:pt x="6013737" y="390430"/>
                    <a:pt x="6031667" y="417324"/>
                  </a:cubicBezTo>
                  <a:cubicBezTo>
                    <a:pt x="6040632" y="430771"/>
                    <a:pt x="6051333" y="443210"/>
                    <a:pt x="6058561" y="457665"/>
                  </a:cubicBezTo>
                  <a:cubicBezTo>
                    <a:pt x="6099910" y="540362"/>
                    <a:pt x="6074337" y="494776"/>
                    <a:pt x="6139243" y="592136"/>
                  </a:cubicBezTo>
                  <a:cubicBezTo>
                    <a:pt x="6148208" y="605583"/>
                    <a:pt x="6161026" y="617145"/>
                    <a:pt x="6166137" y="632477"/>
                  </a:cubicBezTo>
                  <a:cubicBezTo>
                    <a:pt x="6170619" y="645924"/>
                    <a:pt x="6173245" y="660140"/>
                    <a:pt x="6179584" y="672818"/>
                  </a:cubicBezTo>
                  <a:cubicBezTo>
                    <a:pt x="6198305" y="710261"/>
                    <a:pt x="6217080" y="723761"/>
                    <a:pt x="6246819" y="753500"/>
                  </a:cubicBezTo>
                  <a:cubicBezTo>
                    <a:pt x="6260297" y="793931"/>
                    <a:pt x="6258198" y="799427"/>
                    <a:pt x="6287161" y="834183"/>
                  </a:cubicBezTo>
                  <a:cubicBezTo>
                    <a:pt x="6299335" y="848792"/>
                    <a:pt x="6315827" y="859513"/>
                    <a:pt x="6327502" y="874524"/>
                  </a:cubicBezTo>
                  <a:cubicBezTo>
                    <a:pt x="6347346" y="900038"/>
                    <a:pt x="6354396" y="937277"/>
                    <a:pt x="6381290" y="955206"/>
                  </a:cubicBezTo>
                  <a:cubicBezTo>
                    <a:pt x="6413865" y="976923"/>
                    <a:pt x="6424571" y="980251"/>
                    <a:pt x="6448525" y="1008995"/>
                  </a:cubicBezTo>
                  <a:cubicBezTo>
                    <a:pt x="6462873" y="1026212"/>
                    <a:pt x="6473874" y="1046124"/>
                    <a:pt x="6488867" y="1062783"/>
                  </a:cubicBezTo>
                  <a:cubicBezTo>
                    <a:pt x="6633655" y="1223657"/>
                    <a:pt x="6518292" y="1075122"/>
                    <a:pt x="6609890" y="1197253"/>
                  </a:cubicBezTo>
                  <a:cubicBezTo>
                    <a:pt x="6635364" y="1273677"/>
                    <a:pt x="6613314" y="1227573"/>
                    <a:pt x="6704019" y="1318277"/>
                  </a:cubicBezTo>
                  <a:lnTo>
                    <a:pt x="6730914" y="1345171"/>
                  </a:lnTo>
                  <a:cubicBezTo>
                    <a:pt x="6757422" y="1398188"/>
                    <a:pt x="6757418" y="1406196"/>
                    <a:pt x="6798149" y="1452747"/>
                  </a:cubicBezTo>
                  <a:cubicBezTo>
                    <a:pt x="6814846" y="1471830"/>
                    <a:pt x="6835436" y="1487284"/>
                    <a:pt x="6851937" y="1506536"/>
                  </a:cubicBezTo>
                  <a:cubicBezTo>
                    <a:pt x="6862455" y="1518807"/>
                    <a:pt x="6868189" y="1534714"/>
                    <a:pt x="6878831" y="1546877"/>
                  </a:cubicBezTo>
                  <a:cubicBezTo>
                    <a:pt x="6941894" y="1618948"/>
                    <a:pt x="6947259" y="1614907"/>
                    <a:pt x="7026749" y="1667900"/>
                  </a:cubicBezTo>
                  <a:lnTo>
                    <a:pt x="7026749" y="1667900"/>
                  </a:lnTo>
                  <a:cubicBezTo>
                    <a:pt x="7074682" y="1715834"/>
                    <a:pt x="7031450" y="1678271"/>
                    <a:pt x="7107431" y="1721689"/>
                  </a:cubicBezTo>
                  <a:cubicBezTo>
                    <a:pt x="7121463" y="1729707"/>
                    <a:pt x="7133317" y="1741356"/>
                    <a:pt x="7147772" y="1748583"/>
                  </a:cubicBezTo>
                  <a:cubicBezTo>
                    <a:pt x="7167062" y="1758228"/>
                    <a:pt x="7224670" y="1771169"/>
                    <a:pt x="7241902" y="1775477"/>
                  </a:cubicBezTo>
                  <a:cubicBezTo>
                    <a:pt x="7305283" y="1870548"/>
                    <a:pt x="7222508" y="1756083"/>
                    <a:pt x="7322584" y="1856159"/>
                  </a:cubicBezTo>
                  <a:cubicBezTo>
                    <a:pt x="7334012" y="1867587"/>
                    <a:pt x="7336327" y="1887106"/>
                    <a:pt x="7349478" y="1896500"/>
                  </a:cubicBezTo>
                  <a:cubicBezTo>
                    <a:pt x="7369120" y="1910530"/>
                    <a:pt x="7395613" y="1911672"/>
                    <a:pt x="7416714" y="1923395"/>
                  </a:cubicBezTo>
                  <a:cubicBezTo>
                    <a:pt x="7472661" y="1954477"/>
                    <a:pt x="7455047" y="1967884"/>
                    <a:pt x="7510843" y="1977183"/>
                  </a:cubicBezTo>
                  <a:cubicBezTo>
                    <a:pt x="7550880" y="1983856"/>
                    <a:pt x="7591526" y="1986148"/>
                    <a:pt x="7631867" y="1990630"/>
                  </a:cubicBezTo>
                  <a:cubicBezTo>
                    <a:pt x="7677118" y="2005714"/>
                    <a:pt x="7685354" y="2010312"/>
                    <a:pt x="7739443" y="2017524"/>
                  </a:cubicBezTo>
                  <a:cubicBezTo>
                    <a:pt x="7784095" y="2023478"/>
                    <a:pt x="7829280" y="2024885"/>
                    <a:pt x="7873914" y="2030971"/>
                  </a:cubicBezTo>
                  <a:cubicBezTo>
                    <a:pt x="8087349" y="2060076"/>
                    <a:pt x="7971178" y="2057865"/>
                    <a:pt x="8075619" y="2057865"/>
                  </a:cubicBezTo>
                </a:path>
              </a:pathLst>
            </a:custGeom>
            <a:noFill/>
            <a:ln w="57150" cap="flat" cmpd="sng" algn="ctr">
              <a:solidFill>
                <a:srgbClr val="00B0F0"/>
              </a:solidFill>
              <a:prstDash val="sysDash"/>
              <a:round/>
              <a:headEnd type="none" w="med" len="med"/>
              <a:tailEnd type="none" w="med" len="med"/>
            </a:ln>
            <a:effectLst/>
          </p:spPr>
          <p:txBody>
            <a:bodyPr rtlCol="0" anchor="ctr"/>
            <a:lstStyle/>
            <a:p>
              <a:pPr algn="ctr" defTabSz="685709" fontAlgn="auto">
                <a:spcBef>
                  <a:spcPts val="0"/>
                </a:spcBef>
                <a:spcAft>
                  <a:spcPts val="0"/>
                </a:spcAft>
                <a:defRPr/>
              </a:pPr>
              <a:endParaRPr lang="zh-CN" altLang="en-US" sz="1350" kern="0">
                <a:solidFill>
                  <a:prstClr val="black"/>
                </a:solidFill>
                <a:latin typeface="FrutigerNext LT Medium" panose="020B0603040504020204" pitchFamily="34" charset="0"/>
              </a:endParaRPr>
            </a:p>
          </p:txBody>
        </p:sp>
        <p:sp>
          <p:nvSpPr>
            <p:cNvPr id="23" name="任意多边形 22"/>
            <p:cNvSpPr/>
            <p:nvPr/>
          </p:nvSpPr>
          <p:spPr bwMode="auto">
            <a:xfrm>
              <a:off x="2322577" y="3030630"/>
              <a:ext cx="5821448" cy="263419"/>
            </a:xfrm>
            <a:custGeom>
              <a:avLst/>
              <a:gdLst>
                <a:gd name="connsiteX0" fmla="*/ 0 w 7988300"/>
                <a:gd name="connsiteY0" fmla="*/ 165100 h 203200"/>
                <a:gd name="connsiteX1" fmla="*/ 114300 w 7988300"/>
                <a:gd name="connsiteY1" fmla="*/ 190500 h 203200"/>
                <a:gd name="connsiteX2" fmla="*/ 152400 w 7988300"/>
                <a:gd name="connsiteY2" fmla="*/ 203200 h 203200"/>
                <a:gd name="connsiteX3" fmla="*/ 800100 w 7988300"/>
                <a:gd name="connsiteY3" fmla="*/ 165100 h 203200"/>
                <a:gd name="connsiteX4" fmla="*/ 1092200 w 7988300"/>
                <a:gd name="connsiteY4" fmla="*/ 177800 h 203200"/>
                <a:gd name="connsiteX5" fmla="*/ 1828800 w 7988300"/>
                <a:gd name="connsiteY5" fmla="*/ 165100 h 203200"/>
                <a:gd name="connsiteX6" fmla="*/ 2654300 w 7988300"/>
                <a:gd name="connsiteY6" fmla="*/ 127000 h 203200"/>
                <a:gd name="connsiteX7" fmla="*/ 2717800 w 7988300"/>
                <a:gd name="connsiteY7" fmla="*/ 114300 h 203200"/>
                <a:gd name="connsiteX8" fmla="*/ 2959100 w 7988300"/>
                <a:gd name="connsiteY8" fmla="*/ 101600 h 203200"/>
                <a:gd name="connsiteX9" fmla="*/ 3695700 w 7988300"/>
                <a:gd name="connsiteY9" fmla="*/ 127000 h 203200"/>
                <a:gd name="connsiteX10" fmla="*/ 4483100 w 7988300"/>
                <a:gd name="connsiteY10" fmla="*/ 114300 h 203200"/>
                <a:gd name="connsiteX11" fmla="*/ 4902200 w 7988300"/>
                <a:gd name="connsiteY11" fmla="*/ 50800 h 203200"/>
                <a:gd name="connsiteX12" fmla="*/ 5562600 w 7988300"/>
                <a:gd name="connsiteY12" fmla="*/ 0 h 203200"/>
                <a:gd name="connsiteX13" fmla="*/ 5765800 w 7988300"/>
                <a:gd name="connsiteY13" fmla="*/ 25400 h 203200"/>
                <a:gd name="connsiteX14" fmla="*/ 6108700 w 7988300"/>
                <a:gd name="connsiteY14" fmla="*/ 38100 h 203200"/>
                <a:gd name="connsiteX15" fmla="*/ 6477000 w 7988300"/>
                <a:gd name="connsiteY15" fmla="*/ 88900 h 203200"/>
                <a:gd name="connsiteX16" fmla="*/ 7035800 w 7988300"/>
                <a:gd name="connsiteY16" fmla="*/ 76200 h 203200"/>
                <a:gd name="connsiteX17" fmla="*/ 7988300 w 7988300"/>
                <a:gd name="connsiteY17" fmla="*/ 88900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88300" h="203200">
                  <a:moveTo>
                    <a:pt x="0" y="165100"/>
                  </a:moveTo>
                  <a:cubicBezTo>
                    <a:pt x="43648" y="173830"/>
                    <a:pt x="72451" y="178543"/>
                    <a:pt x="114300" y="190500"/>
                  </a:cubicBezTo>
                  <a:cubicBezTo>
                    <a:pt x="127172" y="194178"/>
                    <a:pt x="139700" y="198967"/>
                    <a:pt x="152400" y="203200"/>
                  </a:cubicBezTo>
                  <a:cubicBezTo>
                    <a:pt x="368300" y="190500"/>
                    <a:pt x="583906" y="170943"/>
                    <a:pt x="800100" y="165100"/>
                  </a:cubicBezTo>
                  <a:cubicBezTo>
                    <a:pt x="897523" y="162467"/>
                    <a:pt x="994741" y="177800"/>
                    <a:pt x="1092200" y="177800"/>
                  </a:cubicBezTo>
                  <a:cubicBezTo>
                    <a:pt x="1337770" y="177800"/>
                    <a:pt x="1583267" y="169333"/>
                    <a:pt x="1828800" y="165100"/>
                  </a:cubicBezTo>
                  <a:cubicBezTo>
                    <a:pt x="2277697" y="127692"/>
                    <a:pt x="1609845" y="181024"/>
                    <a:pt x="2654300" y="127000"/>
                  </a:cubicBezTo>
                  <a:cubicBezTo>
                    <a:pt x="2675857" y="125885"/>
                    <a:pt x="2696289" y="116093"/>
                    <a:pt x="2717800" y="114300"/>
                  </a:cubicBezTo>
                  <a:cubicBezTo>
                    <a:pt x="2798066" y="107611"/>
                    <a:pt x="2878667" y="105833"/>
                    <a:pt x="2959100" y="101600"/>
                  </a:cubicBezTo>
                  <a:cubicBezTo>
                    <a:pt x="3236345" y="157049"/>
                    <a:pt x="3066554" y="127000"/>
                    <a:pt x="3695700" y="127000"/>
                  </a:cubicBezTo>
                  <a:cubicBezTo>
                    <a:pt x="3958201" y="127000"/>
                    <a:pt x="4220633" y="118533"/>
                    <a:pt x="4483100" y="114300"/>
                  </a:cubicBezTo>
                  <a:cubicBezTo>
                    <a:pt x="4627605" y="85399"/>
                    <a:pt x="4727179" y="64263"/>
                    <a:pt x="4902200" y="50800"/>
                  </a:cubicBezTo>
                  <a:lnTo>
                    <a:pt x="5562600" y="0"/>
                  </a:lnTo>
                  <a:cubicBezTo>
                    <a:pt x="5643076" y="13413"/>
                    <a:pt x="5675447" y="20516"/>
                    <a:pt x="5765800" y="25400"/>
                  </a:cubicBezTo>
                  <a:cubicBezTo>
                    <a:pt x="5880012" y="31574"/>
                    <a:pt x="5994400" y="33867"/>
                    <a:pt x="6108700" y="38100"/>
                  </a:cubicBezTo>
                  <a:cubicBezTo>
                    <a:pt x="6220516" y="56736"/>
                    <a:pt x="6392883" y="86389"/>
                    <a:pt x="6477000" y="88900"/>
                  </a:cubicBezTo>
                  <a:lnTo>
                    <a:pt x="7035800" y="76200"/>
                  </a:lnTo>
                  <a:cubicBezTo>
                    <a:pt x="7649564" y="93736"/>
                    <a:pt x="7332073" y="88900"/>
                    <a:pt x="7988300" y="88900"/>
                  </a:cubicBezTo>
                </a:path>
              </a:pathLst>
            </a:custGeom>
            <a:noFill/>
            <a:ln w="57150" cap="flat" cmpd="sng" algn="ctr">
              <a:solidFill>
                <a:schemeClr val="tx1">
                  <a:lumMod val="50000"/>
                  <a:lumOff val="50000"/>
                </a:schemeClr>
              </a:solidFill>
              <a:prstDash val="dash"/>
              <a:round/>
              <a:headEnd type="none" w="med" len="med"/>
              <a:tailEnd type="none" w="med" len="med"/>
            </a:ln>
            <a:effectLst/>
          </p:spPr>
          <p:txBody>
            <a:bodyPr rtlCol="0" anchor="ctr"/>
            <a:lstStyle/>
            <a:p>
              <a:pPr algn="ctr" defTabSz="685709" fontAlgn="auto">
                <a:spcBef>
                  <a:spcPts val="0"/>
                </a:spcBef>
                <a:spcAft>
                  <a:spcPts val="0"/>
                </a:spcAft>
                <a:defRPr/>
              </a:pPr>
              <a:endParaRPr lang="zh-CN" altLang="en-US" sz="1350" kern="0">
                <a:solidFill>
                  <a:prstClr val="black"/>
                </a:solidFill>
                <a:latin typeface="FrutigerNext LT Medium" panose="020B0603040504020204" pitchFamily="34" charset="0"/>
              </a:endParaRPr>
            </a:p>
          </p:txBody>
        </p:sp>
        <p:sp>
          <p:nvSpPr>
            <p:cNvPr id="25" name="矩形 24"/>
            <p:cNvSpPr/>
            <p:nvPr/>
          </p:nvSpPr>
          <p:spPr>
            <a:xfrm>
              <a:off x="4053417" y="3914458"/>
              <a:ext cx="2298828" cy="285884"/>
            </a:xfrm>
            <a:prstGeom prst="rect">
              <a:avLst/>
            </a:prstGeom>
          </p:spPr>
          <p:txBody>
            <a:bodyPr wrap="square">
              <a:spAutoFit/>
            </a:bodyPr>
            <a:lstStyle/>
            <a:p>
              <a:r>
                <a:rPr lang="en-US" altLang="zh-CN" sz="1350" dirty="0">
                  <a:solidFill>
                    <a:srgbClr val="00B0F0"/>
                  </a:solidFill>
                  <a:latin typeface="FrutigerNext LT Medium" pitchFamily="34" charset="0"/>
                </a:rPr>
                <a:t>Expected energy consumption</a:t>
              </a:r>
              <a:endParaRPr lang="zh-CN" altLang="en-US" sz="1350" dirty="0">
                <a:solidFill>
                  <a:srgbClr val="00B0F0"/>
                </a:solidFill>
                <a:latin typeface="FrutigerNext LT Medium" pitchFamily="34" charset="0"/>
              </a:endParaRPr>
            </a:p>
          </p:txBody>
        </p:sp>
        <p:sp>
          <p:nvSpPr>
            <p:cNvPr id="26" name="矩形 25"/>
            <p:cNvSpPr/>
            <p:nvPr/>
          </p:nvSpPr>
          <p:spPr>
            <a:xfrm>
              <a:off x="5228742" y="4740643"/>
              <a:ext cx="1619559" cy="285884"/>
            </a:xfrm>
            <a:prstGeom prst="rect">
              <a:avLst/>
            </a:prstGeom>
          </p:spPr>
          <p:txBody>
            <a:bodyPr wrap="square">
              <a:spAutoFit/>
            </a:bodyPr>
            <a:lstStyle/>
            <a:p>
              <a:r>
                <a:rPr lang="en-US" altLang="zh-CN" sz="1350" dirty="0">
                  <a:solidFill>
                    <a:prstClr val="white"/>
                  </a:solidFill>
                  <a:latin typeface="FrutigerNext LT Medium" pitchFamily="34" charset="0"/>
                </a:rPr>
                <a:t>Traffic</a:t>
              </a:r>
              <a:endParaRPr lang="zh-CN" altLang="en-US" sz="1350" dirty="0">
                <a:solidFill>
                  <a:prstClr val="white"/>
                </a:solidFill>
                <a:latin typeface="FrutigerNext LT Medium" pitchFamily="34" charset="0"/>
              </a:endParaRPr>
            </a:p>
          </p:txBody>
        </p:sp>
        <p:sp>
          <p:nvSpPr>
            <p:cNvPr id="28" name="矩形 27"/>
            <p:cNvSpPr/>
            <p:nvPr/>
          </p:nvSpPr>
          <p:spPr>
            <a:xfrm>
              <a:off x="3972425" y="2814435"/>
              <a:ext cx="2711397" cy="285884"/>
            </a:xfrm>
            <a:prstGeom prst="rect">
              <a:avLst/>
            </a:prstGeom>
          </p:spPr>
          <p:txBody>
            <a:bodyPr wrap="square">
              <a:spAutoFit/>
            </a:bodyPr>
            <a:lstStyle/>
            <a:p>
              <a:r>
                <a:rPr lang="en-US" altLang="zh-CN" sz="1350" dirty="0">
                  <a:solidFill>
                    <a:schemeClr val="tx1">
                      <a:lumMod val="50000"/>
                      <a:lumOff val="50000"/>
                    </a:schemeClr>
                  </a:solidFill>
                  <a:latin typeface="FrutigerNext LT Medium" pitchFamily="34" charset="0"/>
                </a:rPr>
                <a:t>Real power consumption</a:t>
              </a:r>
              <a:endParaRPr lang="zh-CN" altLang="en-US" sz="1350" dirty="0">
                <a:solidFill>
                  <a:schemeClr val="tx1">
                    <a:lumMod val="50000"/>
                    <a:lumOff val="50000"/>
                  </a:schemeClr>
                </a:solidFill>
                <a:latin typeface="FrutigerNext LT Medium" pitchFamily="34" charset="0"/>
              </a:endParaRPr>
            </a:p>
          </p:txBody>
        </p:sp>
        <p:cxnSp>
          <p:nvCxnSpPr>
            <p:cNvPr id="4" name="直接连接符 3"/>
            <p:cNvCxnSpPr/>
            <p:nvPr/>
          </p:nvCxnSpPr>
          <p:spPr>
            <a:xfrm flipH="1">
              <a:off x="2309622" y="5623616"/>
              <a:ext cx="720000" cy="0"/>
            </a:xfrm>
            <a:prstGeom prst="line">
              <a:avLst/>
            </a:prstGeom>
            <a:noFill/>
            <a:ln w="57150" cap="flat" cmpd="sng" algn="ctr">
              <a:solidFill>
                <a:sysClr val="window" lastClr="FFFFFF">
                  <a:lumMod val="85000"/>
                </a:sysClr>
              </a:solidFill>
              <a:prstDash val="sysDash"/>
              <a:round/>
              <a:headEnd type="none" w="med" len="med"/>
              <a:tailEnd type="none" w="med" len="med"/>
            </a:ln>
            <a:effectLst/>
          </p:spPr>
        </p:cxnSp>
        <p:cxnSp>
          <p:nvCxnSpPr>
            <p:cNvPr id="27" name="直接连接符 26"/>
            <p:cNvCxnSpPr/>
            <p:nvPr/>
          </p:nvCxnSpPr>
          <p:spPr>
            <a:xfrm flipH="1">
              <a:off x="2298446" y="5592772"/>
              <a:ext cx="720000" cy="0"/>
            </a:xfrm>
            <a:prstGeom prst="line">
              <a:avLst/>
            </a:prstGeom>
            <a:noFill/>
            <a:ln w="57150" cap="flat" cmpd="sng" algn="ctr">
              <a:solidFill>
                <a:srgbClr val="00B0F0"/>
              </a:solidFill>
              <a:prstDash val="sysDash"/>
              <a:round/>
              <a:headEnd type="none" w="med" len="med"/>
              <a:tailEnd type="none" w="med" len="med"/>
            </a:ln>
            <a:effectLst/>
          </p:spPr>
        </p:cxnSp>
        <p:sp>
          <p:nvSpPr>
            <p:cNvPr id="15" name="矩形 14"/>
            <p:cNvSpPr/>
            <p:nvPr/>
          </p:nvSpPr>
          <p:spPr>
            <a:xfrm>
              <a:off x="2275095" y="5267494"/>
              <a:ext cx="1268569" cy="285884"/>
            </a:xfrm>
            <a:prstGeom prst="rect">
              <a:avLst/>
            </a:prstGeom>
          </p:spPr>
          <p:txBody>
            <a:bodyPr wrap="square">
              <a:spAutoFit/>
            </a:bodyPr>
            <a:lstStyle/>
            <a:p>
              <a:pPr algn="ctr"/>
              <a:r>
                <a:rPr lang="en-US" altLang="zh-CN" sz="1350" dirty="0">
                  <a:solidFill>
                    <a:prstClr val="white"/>
                  </a:solidFill>
                  <a:latin typeface="FrutigerNext LT Medium" pitchFamily="34" charset="0"/>
                </a:rPr>
                <a:t>No connection</a:t>
              </a:r>
              <a:endParaRPr lang="zh-CN" altLang="en-US" sz="1350" dirty="0">
                <a:solidFill>
                  <a:prstClr val="white"/>
                </a:solidFill>
                <a:latin typeface="FrutigerNext LT Medium" pitchFamily="34" charset="0"/>
              </a:endParaRPr>
            </a:p>
          </p:txBody>
        </p:sp>
      </p:grpSp>
    </p:spTree>
    <p:extLst>
      <p:ext uri="{BB962C8B-B14F-4D97-AF65-F5344CB8AC3E}">
        <p14:creationId xmlns:p14="http://schemas.microsoft.com/office/powerpoint/2010/main" val="323255244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00"/>
        </a:solidFill>
        <a:effectLst/>
      </p:bgPr>
    </p:bg>
    <p:spTree>
      <p:nvGrpSpPr>
        <p:cNvPr id="1" name=""/>
        <p:cNvGrpSpPr/>
        <p:nvPr/>
      </p:nvGrpSpPr>
      <p:grpSpPr>
        <a:xfrm>
          <a:off x="0" y="0"/>
          <a:ext cx="0" cy="0"/>
          <a:chOff x="0" y="0"/>
          <a:chExt cx="0" cy="0"/>
        </a:xfrm>
      </p:grpSpPr>
      <p:sp>
        <p:nvSpPr>
          <p:cNvPr id="48" name="矩形 47"/>
          <p:cNvSpPr/>
          <p:nvPr/>
        </p:nvSpPr>
        <p:spPr bwMode="auto">
          <a:xfrm rot="10800000">
            <a:off x="5111081" y="1809755"/>
            <a:ext cx="3261176" cy="3934709"/>
          </a:xfrm>
          <a:prstGeom prst="rect">
            <a:avLst/>
          </a:prstGeom>
          <a:solidFill>
            <a:srgbClr val="4F81BD">
              <a:alpha val="10000"/>
            </a:srgbClr>
          </a:solidFill>
          <a:ln w="25400" cap="flat" cmpd="sng" algn="ctr">
            <a:noFill/>
            <a:prstDash val="solid"/>
          </a:ln>
          <a:effectLst/>
          <a:extLst/>
        </p:spPr>
        <p:txBody>
          <a:bodyPr rtlCol="0" anchor="ctr"/>
          <a:lstStyle/>
          <a:p>
            <a:pPr algn="ctr" defTabSz="685417" fontAlgn="auto">
              <a:spcBef>
                <a:spcPts val="0"/>
              </a:spcBef>
              <a:spcAft>
                <a:spcPts val="0"/>
              </a:spcAft>
            </a:pPr>
            <a:endParaRPr lang="zh-CN" altLang="en-US" kern="0" dirty="0">
              <a:solidFill>
                <a:prstClr val="white"/>
              </a:solidFill>
              <a:latin typeface="Calibri"/>
              <a:sym typeface="Arial" panose="020B0604020202020204" pitchFamily="34" charset="0"/>
            </a:endParaRPr>
          </a:p>
        </p:txBody>
      </p:sp>
      <p:sp>
        <p:nvSpPr>
          <p:cNvPr id="49" name="矩形 48"/>
          <p:cNvSpPr/>
          <p:nvPr/>
        </p:nvSpPr>
        <p:spPr bwMode="auto">
          <a:xfrm rot="10800000">
            <a:off x="598254" y="1820471"/>
            <a:ext cx="3837387" cy="3934709"/>
          </a:xfrm>
          <a:prstGeom prst="rect">
            <a:avLst/>
          </a:prstGeom>
          <a:solidFill>
            <a:srgbClr val="4F81BD">
              <a:alpha val="10000"/>
            </a:srgbClr>
          </a:solidFill>
          <a:ln w="25400" cap="flat" cmpd="sng" algn="ctr">
            <a:noFill/>
            <a:prstDash val="solid"/>
          </a:ln>
          <a:effectLst/>
          <a:extLst/>
        </p:spPr>
        <p:txBody>
          <a:bodyPr rtlCol="0" anchor="ctr"/>
          <a:lstStyle/>
          <a:p>
            <a:pPr algn="ctr" defTabSz="685417" fontAlgn="auto">
              <a:spcBef>
                <a:spcPts val="0"/>
              </a:spcBef>
              <a:spcAft>
                <a:spcPts val="0"/>
              </a:spcAft>
            </a:pPr>
            <a:endParaRPr lang="zh-CN" altLang="en-US" kern="0" dirty="0">
              <a:solidFill>
                <a:prstClr val="white"/>
              </a:solidFill>
              <a:latin typeface="Calibri"/>
              <a:sym typeface="Arial" panose="020B0604020202020204" pitchFamily="34" charset="0"/>
            </a:endParaRPr>
          </a:p>
        </p:txBody>
      </p:sp>
      <p:sp>
        <p:nvSpPr>
          <p:cNvPr id="55" name="矩形 54"/>
          <p:cNvSpPr/>
          <p:nvPr/>
        </p:nvSpPr>
        <p:spPr>
          <a:xfrm>
            <a:off x="1054997" y="2881836"/>
            <a:ext cx="2944349" cy="929204"/>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61" fontAlgn="auto">
              <a:spcBef>
                <a:spcPts val="0"/>
              </a:spcBef>
              <a:spcAft>
                <a:spcPts val="0"/>
              </a:spcAft>
            </a:pPr>
            <a:endParaRPr lang="en-US">
              <a:solidFill>
                <a:prstClr val="white"/>
              </a:solidFill>
            </a:endParaRPr>
          </a:p>
        </p:txBody>
      </p:sp>
      <p:sp>
        <p:nvSpPr>
          <p:cNvPr id="5" name="TextBox 37"/>
          <p:cNvSpPr txBox="1"/>
          <p:nvPr/>
        </p:nvSpPr>
        <p:spPr>
          <a:xfrm>
            <a:off x="782220" y="1949548"/>
            <a:ext cx="3753091" cy="369332"/>
          </a:xfrm>
          <a:prstGeom prst="rect">
            <a:avLst/>
          </a:prstGeom>
          <a:noFill/>
        </p:spPr>
        <p:txBody>
          <a:bodyPr wrap="square" rtlCol="0">
            <a:spAutoFit/>
          </a:bodyPr>
          <a:lstStyle/>
          <a:p>
            <a:pPr defTabSz="914461" fontAlgn="auto">
              <a:spcBef>
                <a:spcPts val="0"/>
              </a:spcBef>
              <a:spcAft>
                <a:spcPts val="0"/>
              </a:spcAft>
            </a:pPr>
            <a:r>
              <a:rPr lang="en-US" b="1" dirty="0">
                <a:solidFill>
                  <a:srgbClr val="FFC000"/>
                </a:solidFill>
                <a:latin typeface="Arial"/>
                <a:ea typeface="Arial Unicode MS" panose="020B0604020202020204" pitchFamily="34" charset="-122"/>
                <a:cs typeface="Arial" panose="020B0604020202020204" pitchFamily="34" charset="0"/>
              </a:rPr>
              <a:t>Envelope Tracking Algorithm</a:t>
            </a:r>
          </a:p>
        </p:txBody>
      </p:sp>
      <p:pic>
        <p:nvPicPr>
          <p:cNvPr id="9" name="图片 49" descr="Variable-Supply-Variable-Env.png"/>
          <p:cNvPicPr>
            <a:picLocks noChangeAspect="1"/>
          </p:cNvPicPr>
          <p:nvPr/>
        </p:nvPicPr>
        <p:blipFill>
          <a:blip r:embed="rId3" cstate="print">
            <a:clrChange>
              <a:clrFrom>
                <a:srgbClr val="FFFFFF"/>
              </a:clrFrom>
              <a:clrTo>
                <a:srgbClr val="FFFFFF">
                  <a:alpha val="0"/>
                </a:srgbClr>
              </a:clrTo>
            </a:clrChange>
          </a:blip>
          <a:srcRect/>
          <a:stretch>
            <a:fillRect/>
          </a:stretch>
        </p:blipFill>
        <p:spPr>
          <a:xfrm>
            <a:off x="1054996" y="4140273"/>
            <a:ext cx="2944349" cy="975841"/>
          </a:xfrm>
          <a:prstGeom prst="rect">
            <a:avLst/>
          </a:prstGeom>
        </p:spPr>
      </p:pic>
      <p:cxnSp>
        <p:nvCxnSpPr>
          <p:cNvPr id="10" name="直接连接符 65"/>
          <p:cNvCxnSpPr/>
          <p:nvPr/>
        </p:nvCxnSpPr>
        <p:spPr>
          <a:xfrm>
            <a:off x="925798" y="2883372"/>
            <a:ext cx="3189753" cy="0"/>
          </a:xfrm>
          <a:prstGeom prst="line">
            <a:avLst/>
          </a:prstGeom>
          <a:ln w="38100">
            <a:solidFill>
              <a:srgbClr val="FA0103"/>
            </a:solidFill>
            <a:prstDash val="solid"/>
          </a:ln>
        </p:spPr>
        <p:style>
          <a:lnRef idx="1">
            <a:schemeClr val="accent1"/>
          </a:lnRef>
          <a:fillRef idx="0">
            <a:schemeClr val="accent1"/>
          </a:fillRef>
          <a:effectRef idx="0">
            <a:schemeClr val="accent1"/>
          </a:effectRef>
          <a:fontRef idx="minor">
            <a:schemeClr val="tx1"/>
          </a:fontRef>
        </p:style>
      </p:cxnSp>
      <p:cxnSp>
        <p:nvCxnSpPr>
          <p:cNvPr id="11" name="直接连接符 65"/>
          <p:cNvCxnSpPr/>
          <p:nvPr/>
        </p:nvCxnSpPr>
        <p:spPr>
          <a:xfrm>
            <a:off x="937790" y="3811041"/>
            <a:ext cx="3177761" cy="0"/>
          </a:xfrm>
          <a:prstGeom prst="line">
            <a:avLst/>
          </a:prstGeom>
          <a:ln w="38100">
            <a:solidFill>
              <a:srgbClr val="FA0103"/>
            </a:solidFill>
            <a:prstDash val="solid"/>
          </a:ln>
        </p:spPr>
        <p:style>
          <a:lnRef idx="1">
            <a:schemeClr val="accent1"/>
          </a:lnRef>
          <a:fillRef idx="0">
            <a:schemeClr val="accent1"/>
          </a:fillRef>
          <a:effectRef idx="0">
            <a:schemeClr val="accent1"/>
          </a:effectRef>
          <a:fontRef idx="minor">
            <a:schemeClr val="tx1"/>
          </a:fontRef>
        </p:style>
      </p:cxnSp>
      <p:sp>
        <p:nvSpPr>
          <p:cNvPr id="12" name="矩形 11"/>
          <p:cNvSpPr/>
          <p:nvPr/>
        </p:nvSpPr>
        <p:spPr>
          <a:xfrm>
            <a:off x="916300" y="2584996"/>
            <a:ext cx="466794" cy="230832"/>
          </a:xfrm>
          <a:prstGeom prst="rect">
            <a:avLst/>
          </a:prstGeom>
        </p:spPr>
        <p:txBody>
          <a:bodyPr wrap="none">
            <a:spAutoFit/>
          </a:bodyPr>
          <a:lstStyle/>
          <a:p>
            <a:pPr marL="0" lvl="1" defTabSz="914461" fontAlgn="auto">
              <a:spcBef>
                <a:spcPts val="0"/>
              </a:spcBef>
              <a:spcAft>
                <a:spcPts val="0"/>
              </a:spcAft>
            </a:pPr>
            <a:r>
              <a:rPr lang="en-US" altLang="zh-CN" sz="900">
                <a:solidFill>
                  <a:prstClr val="white"/>
                </a:solidFill>
                <a:latin typeface="Arial"/>
                <a:ea typeface="微软雅黑"/>
                <a:cs typeface="Arial" panose="020B0604020202020204" pitchFamily="34" charset="0"/>
              </a:rPr>
              <a:t>Fixed</a:t>
            </a:r>
            <a:endParaRPr lang="zh-CN" altLang="en-US" sz="900" dirty="0">
              <a:solidFill>
                <a:prstClr val="white"/>
              </a:solidFill>
              <a:latin typeface="Arial"/>
              <a:ea typeface="微软雅黑"/>
              <a:cs typeface="Arial" panose="020B0604020202020204" pitchFamily="34" charset="0"/>
            </a:endParaRPr>
          </a:p>
        </p:txBody>
      </p:sp>
      <p:sp>
        <p:nvSpPr>
          <p:cNvPr id="13" name="矩形 12"/>
          <p:cNvSpPr/>
          <p:nvPr/>
        </p:nvSpPr>
        <p:spPr>
          <a:xfrm>
            <a:off x="2330495" y="4988129"/>
            <a:ext cx="1140056" cy="230832"/>
          </a:xfrm>
          <a:prstGeom prst="rect">
            <a:avLst/>
          </a:prstGeom>
        </p:spPr>
        <p:txBody>
          <a:bodyPr wrap="none">
            <a:spAutoFit/>
          </a:bodyPr>
          <a:lstStyle/>
          <a:p>
            <a:pPr marL="0" lvl="1" defTabSz="914461" fontAlgn="auto">
              <a:spcBef>
                <a:spcPts val="0"/>
              </a:spcBef>
              <a:spcAft>
                <a:spcPts val="0"/>
              </a:spcAft>
            </a:pPr>
            <a:r>
              <a:rPr lang="en-US" altLang="zh-CN" sz="900" dirty="0">
                <a:solidFill>
                  <a:prstClr val="white"/>
                </a:solidFill>
                <a:latin typeface="Arial"/>
                <a:ea typeface="微软雅黑"/>
                <a:cs typeface="Arial" panose="020B0604020202020204" pitchFamily="34" charset="0"/>
              </a:rPr>
              <a:t>Envelope Tracking</a:t>
            </a:r>
            <a:endParaRPr lang="zh-CN" altLang="en-US" sz="900" dirty="0">
              <a:solidFill>
                <a:prstClr val="white"/>
              </a:solidFill>
              <a:latin typeface="Arial"/>
              <a:ea typeface="微软雅黑"/>
              <a:cs typeface="Arial" panose="020B0604020202020204" pitchFamily="34" charset="0"/>
            </a:endParaRPr>
          </a:p>
        </p:txBody>
      </p:sp>
      <p:cxnSp>
        <p:nvCxnSpPr>
          <p:cNvPr id="14" name="直接箭头连接符 13"/>
          <p:cNvCxnSpPr/>
          <p:nvPr/>
        </p:nvCxnSpPr>
        <p:spPr bwMode="auto">
          <a:xfrm>
            <a:off x="1370290" y="2710129"/>
            <a:ext cx="119137" cy="149594"/>
          </a:xfrm>
          <a:prstGeom prst="straightConnector1">
            <a:avLst/>
          </a:prstGeom>
          <a:noFill/>
          <a:ln w="28575" cap="flat" cmpd="sng" algn="ctr">
            <a:solidFill>
              <a:srgbClr val="FFFF00"/>
            </a:solidFill>
            <a:prstDash val="solid"/>
            <a:round/>
            <a:headEnd type="none" w="med" len="med"/>
            <a:tailEnd type="triangle" w="med" len="med"/>
          </a:ln>
          <a:effectLst/>
        </p:spPr>
      </p:cxnSp>
      <p:cxnSp>
        <p:nvCxnSpPr>
          <p:cNvPr id="15" name="直接箭头连接符 14"/>
          <p:cNvCxnSpPr/>
          <p:nvPr/>
        </p:nvCxnSpPr>
        <p:spPr bwMode="auto">
          <a:xfrm flipH="1" flipV="1">
            <a:off x="2330096" y="4874613"/>
            <a:ext cx="186852" cy="166222"/>
          </a:xfrm>
          <a:prstGeom prst="straightConnector1">
            <a:avLst/>
          </a:prstGeom>
          <a:noFill/>
          <a:ln w="28575" cap="flat" cmpd="sng" algn="ctr">
            <a:solidFill>
              <a:srgbClr val="FFFF00"/>
            </a:solidFill>
            <a:prstDash val="solid"/>
            <a:round/>
            <a:headEnd type="none" w="med" len="med"/>
            <a:tailEnd type="triangle" w="med" len="med"/>
          </a:ln>
          <a:effectLst/>
        </p:spPr>
      </p:cxnSp>
      <p:sp>
        <p:nvSpPr>
          <p:cNvPr id="32" name="TextBox 37"/>
          <p:cNvSpPr txBox="1"/>
          <p:nvPr/>
        </p:nvSpPr>
        <p:spPr>
          <a:xfrm>
            <a:off x="5327090" y="1949548"/>
            <a:ext cx="2604513" cy="369332"/>
          </a:xfrm>
          <a:prstGeom prst="rect">
            <a:avLst/>
          </a:prstGeom>
          <a:noFill/>
        </p:spPr>
        <p:txBody>
          <a:bodyPr wrap="square" rtlCol="0">
            <a:spAutoFit/>
          </a:bodyPr>
          <a:lstStyle/>
          <a:p>
            <a:pPr defTabSz="914461" fontAlgn="auto">
              <a:spcBef>
                <a:spcPts val="0"/>
              </a:spcBef>
              <a:spcAft>
                <a:spcPts val="0"/>
              </a:spcAft>
            </a:pPr>
            <a:r>
              <a:rPr lang="en-US" b="1" dirty="0">
                <a:solidFill>
                  <a:srgbClr val="FFC000"/>
                </a:solidFill>
                <a:latin typeface="Arial"/>
                <a:ea typeface="Arial Unicode MS" panose="020B0604020202020204" pitchFamily="34" charset="-122"/>
                <a:cs typeface="Arial" panose="020B0604020202020204" pitchFamily="34" charset="0"/>
              </a:rPr>
              <a:t>Power Consumption</a:t>
            </a:r>
            <a:endParaRPr lang="en-US" b="1" dirty="0">
              <a:solidFill>
                <a:srgbClr val="FFC000"/>
              </a:solidFill>
              <a:latin typeface="Arial"/>
              <a:ea typeface="Arial Unicode MS" panose="020B0604020202020204" pitchFamily="34" charset="-122"/>
              <a:cs typeface="Arial" panose="020B0604020202020204" pitchFamily="34" charset="0"/>
            </a:endParaRPr>
          </a:p>
        </p:txBody>
      </p:sp>
      <p:sp>
        <p:nvSpPr>
          <p:cNvPr id="2" name="标题 1"/>
          <p:cNvSpPr>
            <a:spLocks noGrp="1"/>
          </p:cNvSpPr>
          <p:nvPr>
            <p:ph type="ctrTitle"/>
          </p:nvPr>
        </p:nvSpPr>
        <p:spPr>
          <a:xfrm>
            <a:off x="377146" y="1260836"/>
            <a:ext cx="7921739" cy="504232"/>
          </a:xfrm>
        </p:spPr>
        <p:txBody>
          <a:bodyPr/>
          <a:lstStyle/>
          <a:p>
            <a:r>
              <a:rPr lang="en-US" altLang="zh-CN" sz="2400" dirty="0"/>
              <a:t>Breathing </a:t>
            </a:r>
            <a:r>
              <a:rPr lang="en-US" altLang="zh-CN" sz="2400" dirty="0"/>
              <a:t>Technology Realizes Synergy</a:t>
            </a:r>
            <a:endParaRPr lang="zh-CN" altLang="en-US" sz="2400" dirty="0"/>
          </a:p>
        </p:txBody>
      </p:sp>
      <p:sp>
        <p:nvSpPr>
          <p:cNvPr id="25" name="文本框 60"/>
          <p:cNvSpPr txBox="1"/>
          <p:nvPr/>
        </p:nvSpPr>
        <p:spPr>
          <a:xfrm>
            <a:off x="6338083" y="4049432"/>
            <a:ext cx="1929233" cy="415498"/>
          </a:xfrm>
          <a:prstGeom prst="rect">
            <a:avLst/>
          </a:prstGeom>
          <a:noFill/>
        </p:spPr>
        <p:txBody>
          <a:bodyPr wrap="square" rtlCol="0">
            <a:spAutoFit/>
          </a:bodyPr>
          <a:lstStyle/>
          <a:p>
            <a:pPr algn="ctr" defTabSz="914461" fontAlgn="auto">
              <a:spcBef>
                <a:spcPts val="0"/>
              </a:spcBef>
              <a:spcAft>
                <a:spcPts val="0"/>
              </a:spcAft>
            </a:pPr>
            <a:r>
              <a:rPr lang="en-US" altLang="zh-CN" sz="2100" b="1" dirty="0">
                <a:solidFill>
                  <a:srgbClr val="FFFF00"/>
                </a:solidFill>
                <a:latin typeface="Arial"/>
                <a:ea typeface="微软雅黑"/>
                <a:cs typeface="Arial" panose="020B0604020202020204" pitchFamily="34" charset="0"/>
              </a:rPr>
              <a:t>10%</a:t>
            </a:r>
            <a:r>
              <a:rPr lang="en-US" altLang="zh-CN" sz="2100" dirty="0">
                <a:solidFill>
                  <a:srgbClr val="FFFF00"/>
                </a:solidFill>
                <a:latin typeface="Arial"/>
                <a:ea typeface="微软雅黑"/>
                <a:cs typeface="Arial" panose="020B0604020202020204" pitchFamily="34" charset="0"/>
              </a:rPr>
              <a:t> </a:t>
            </a:r>
            <a:r>
              <a:rPr lang="en-US" altLang="zh-CN" sz="1200" dirty="0">
                <a:solidFill>
                  <a:prstClr val="white"/>
                </a:solidFill>
                <a:latin typeface="Arial"/>
                <a:ea typeface="微软雅黑"/>
                <a:cs typeface="Arial" panose="020B0604020202020204" pitchFamily="34" charset="0"/>
              </a:rPr>
              <a:t>Energy Saving</a:t>
            </a:r>
          </a:p>
        </p:txBody>
      </p:sp>
      <p:sp>
        <p:nvSpPr>
          <p:cNvPr id="19" name="矩形 18"/>
          <p:cNvSpPr/>
          <p:nvPr/>
        </p:nvSpPr>
        <p:spPr>
          <a:xfrm>
            <a:off x="5218163" y="2832866"/>
            <a:ext cx="2587029" cy="977309"/>
          </a:xfrm>
          <a:prstGeom prst="rect">
            <a:avLst/>
          </a:prstGeom>
          <a:solidFill>
            <a:srgbClr val="E6AF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61" fontAlgn="auto">
              <a:spcBef>
                <a:spcPts val="0"/>
              </a:spcBef>
              <a:spcAft>
                <a:spcPts val="0"/>
              </a:spcAft>
            </a:pPr>
            <a:endParaRPr lang="zh-CN" altLang="en-US" dirty="0">
              <a:solidFill>
                <a:prstClr val="white"/>
              </a:solidFill>
            </a:endParaRPr>
          </a:p>
        </p:txBody>
      </p:sp>
      <p:cxnSp>
        <p:nvCxnSpPr>
          <p:cNvPr id="3" name="直接箭头连接符 2"/>
          <p:cNvCxnSpPr/>
          <p:nvPr/>
        </p:nvCxnSpPr>
        <p:spPr>
          <a:xfrm flipV="1">
            <a:off x="5218572" y="2549245"/>
            <a:ext cx="0" cy="12616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直接箭头连接符 33"/>
          <p:cNvCxnSpPr/>
          <p:nvPr/>
        </p:nvCxnSpPr>
        <p:spPr>
          <a:xfrm flipV="1">
            <a:off x="5211032" y="3805017"/>
            <a:ext cx="272770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5228534" y="2523869"/>
            <a:ext cx="511679" cy="230832"/>
          </a:xfrm>
          <a:prstGeom prst="rect">
            <a:avLst/>
          </a:prstGeom>
        </p:spPr>
        <p:txBody>
          <a:bodyPr wrap="none">
            <a:spAutoFit/>
          </a:bodyPr>
          <a:lstStyle/>
          <a:p>
            <a:pPr marL="0" lvl="1" defTabSz="914461" fontAlgn="auto">
              <a:spcBef>
                <a:spcPts val="0"/>
              </a:spcBef>
              <a:spcAft>
                <a:spcPts val="0"/>
              </a:spcAft>
            </a:pPr>
            <a:r>
              <a:rPr lang="en-US" altLang="zh-CN" sz="900" dirty="0">
                <a:solidFill>
                  <a:prstClr val="white"/>
                </a:solidFill>
                <a:latin typeface="Arial"/>
                <a:ea typeface="微软雅黑"/>
                <a:cs typeface="Arial" panose="020B0604020202020204" pitchFamily="34" charset="0"/>
              </a:rPr>
              <a:t>Power</a:t>
            </a:r>
            <a:endParaRPr lang="zh-CN" altLang="en-US" sz="900" dirty="0">
              <a:solidFill>
                <a:prstClr val="white"/>
              </a:solidFill>
              <a:latin typeface="Arial"/>
              <a:ea typeface="微软雅黑"/>
              <a:cs typeface="Arial" panose="020B0604020202020204" pitchFamily="34" charset="0"/>
            </a:endParaRPr>
          </a:p>
        </p:txBody>
      </p:sp>
      <p:sp>
        <p:nvSpPr>
          <p:cNvPr id="35" name="矩形 34"/>
          <p:cNvSpPr/>
          <p:nvPr/>
        </p:nvSpPr>
        <p:spPr>
          <a:xfrm>
            <a:off x="7981991" y="3701571"/>
            <a:ext cx="441146" cy="230832"/>
          </a:xfrm>
          <a:prstGeom prst="rect">
            <a:avLst/>
          </a:prstGeom>
        </p:spPr>
        <p:txBody>
          <a:bodyPr wrap="none">
            <a:spAutoFit/>
          </a:bodyPr>
          <a:lstStyle/>
          <a:p>
            <a:pPr marL="0" lvl="1" defTabSz="914461" fontAlgn="auto">
              <a:spcBef>
                <a:spcPts val="0"/>
              </a:spcBef>
              <a:spcAft>
                <a:spcPts val="0"/>
              </a:spcAft>
            </a:pPr>
            <a:r>
              <a:rPr lang="en-US" altLang="zh-CN" sz="900" dirty="0">
                <a:solidFill>
                  <a:prstClr val="white"/>
                </a:solidFill>
                <a:latin typeface="Arial"/>
                <a:ea typeface="微软雅黑"/>
                <a:cs typeface="Arial" panose="020B0604020202020204" pitchFamily="34" charset="0"/>
              </a:rPr>
              <a:t>Time</a:t>
            </a:r>
            <a:endParaRPr lang="zh-CN" altLang="en-US" sz="900" dirty="0">
              <a:solidFill>
                <a:prstClr val="white"/>
              </a:solidFill>
              <a:latin typeface="Arial"/>
              <a:ea typeface="微软雅黑"/>
              <a:cs typeface="Arial" panose="020B0604020202020204" pitchFamily="34" charset="0"/>
            </a:endParaRPr>
          </a:p>
        </p:txBody>
      </p:sp>
      <p:sp>
        <p:nvSpPr>
          <p:cNvPr id="42" name="矩形 41"/>
          <p:cNvSpPr/>
          <p:nvPr/>
        </p:nvSpPr>
        <p:spPr>
          <a:xfrm>
            <a:off x="5202285" y="3126968"/>
            <a:ext cx="2404826" cy="253916"/>
          </a:xfrm>
          <a:prstGeom prst="rect">
            <a:avLst/>
          </a:prstGeom>
        </p:spPr>
        <p:txBody>
          <a:bodyPr wrap="none">
            <a:spAutoFit/>
          </a:bodyPr>
          <a:lstStyle/>
          <a:p>
            <a:pPr marL="0" lvl="1" defTabSz="914461" fontAlgn="auto">
              <a:spcBef>
                <a:spcPts val="0"/>
              </a:spcBef>
              <a:spcAft>
                <a:spcPts val="0"/>
              </a:spcAft>
            </a:pPr>
            <a:r>
              <a:rPr lang="en-US" altLang="zh-CN" sz="1050" dirty="0">
                <a:solidFill>
                  <a:prstClr val="white"/>
                </a:solidFill>
                <a:latin typeface="Arial"/>
                <a:ea typeface="微软雅黑"/>
                <a:cs typeface="Arial" panose="020B0604020202020204" pitchFamily="34" charset="0"/>
              </a:rPr>
              <a:t>Without Envelope Tracking Algorithm</a:t>
            </a:r>
          </a:p>
        </p:txBody>
      </p:sp>
      <p:pic>
        <p:nvPicPr>
          <p:cNvPr id="24" name="图片 23"/>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03902" y="4495055"/>
            <a:ext cx="2583461" cy="985409"/>
          </a:xfrm>
          <a:prstGeom prst="rect">
            <a:avLst/>
          </a:prstGeom>
        </p:spPr>
      </p:pic>
      <p:cxnSp>
        <p:nvCxnSpPr>
          <p:cNvPr id="26" name="直接箭头连接符 25"/>
          <p:cNvCxnSpPr/>
          <p:nvPr/>
        </p:nvCxnSpPr>
        <p:spPr>
          <a:xfrm flipV="1">
            <a:off x="5211442" y="4143155"/>
            <a:ext cx="0" cy="12144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p:nvPr/>
        </p:nvCxnSpPr>
        <p:spPr>
          <a:xfrm flipV="1">
            <a:off x="5203902" y="5480464"/>
            <a:ext cx="272770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矩形 27"/>
          <p:cNvSpPr/>
          <p:nvPr/>
        </p:nvSpPr>
        <p:spPr>
          <a:xfrm>
            <a:off x="5211032" y="4201436"/>
            <a:ext cx="511679" cy="230832"/>
          </a:xfrm>
          <a:prstGeom prst="rect">
            <a:avLst/>
          </a:prstGeom>
        </p:spPr>
        <p:txBody>
          <a:bodyPr wrap="none">
            <a:spAutoFit/>
          </a:bodyPr>
          <a:lstStyle/>
          <a:p>
            <a:pPr marL="0" lvl="1" defTabSz="914461" fontAlgn="auto">
              <a:spcBef>
                <a:spcPts val="0"/>
              </a:spcBef>
              <a:spcAft>
                <a:spcPts val="0"/>
              </a:spcAft>
            </a:pPr>
            <a:r>
              <a:rPr lang="en-US" altLang="zh-CN" sz="900" dirty="0">
                <a:solidFill>
                  <a:prstClr val="white"/>
                </a:solidFill>
                <a:latin typeface="Arial"/>
                <a:ea typeface="微软雅黑"/>
                <a:cs typeface="Arial" panose="020B0604020202020204" pitchFamily="34" charset="0"/>
              </a:rPr>
              <a:t>Power</a:t>
            </a:r>
            <a:endParaRPr lang="zh-CN" altLang="en-US" sz="900" dirty="0">
              <a:solidFill>
                <a:prstClr val="white"/>
              </a:solidFill>
              <a:latin typeface="Arial"/>
              <a:ea typeface="微软雅黑"/>
              <a:cs typeface="Arial" panose="020B0604020202020204" pitchFamily="34" charset="0"/>
            </a:endParaRPr>
          </a:p>
        </p:txBody>
      </p:sp>
      <p:sp>
        <p:nvSpPr>
          <p:cNvPr id="29" name="矩形 28"/>
          <p:cNvSpPr/>
          <p:nvPr/>
        </p:nvSpPr>
        <p:spPr>
          <a:xfrm>
            <a:off x="7974861" y="5371859"/>
            <a:ext cx="441146" cy="230832"/>
          </a:xfrm>
          <a:prstGeom prst="rect">
            <a:avLst/>
          </a:prstGeom>
        </p:spPr>
        <p:txBody>
          <a:bodyPr wrap="none">
            <a:spAutoFit/>
          </a:bodyPr>
          <a:lstStyle/>
          <a:p>
            <a:pPr marL="0" lvl="1" defTabSz="914461" fontAlgn="auto">
              <a:spcBef>
                <a:spcPts val="0"/>
              </a:spcBef>
              <a:spcAft>
                <a:spcPts val="0"/>
              </a:spcAft>
            </a:pPr>
            <a:r>
              <a:rPr lang="en-US" altLang="zh-CN" sz="900" dirty="0">
                <a:solidFill>
                  <a:prstClr val="white"/>
                </a:solidFill>
                <a:latin typeface="Arial"/>
                <a:ea typeface="微软雅黑"/>
                <a:cs typeface="Arial" panose="020B0604020202020204" pitchFamily="34" charset="0"/>
              </a:rPr>
              <a:t>Time</a:t>
            </a:r>
            <a:endParaRPr lang="zh-CN" altLang="en-US" sz="900" dirty="0">
              <a:solidFill>
                <a:prstClr val="white"/>
              </a:solidFill>
              <a:latin typeface="Arial"/>
              <a:ea typeface="微软雅黑"/>
              <a:cs typeface="Arial" panose="020B0604020202020204" pitchFamily="34" charset="0"/>
            </a:endParaRPr>
          </a:p>
        </p:txBody>
      </p:sp>
      <p:sp>
        <p:nvSpPr>
          <p:cNvPr id="30" name="矩形 29"/>
          <p:cNvSpPr/>
          <p:nvPr/>
        </p:nvSpPr>
        <p:spPr>
          <a:xfrm>
            <a:off x="5597386" y="4960036"/>
            <a:ext cx="1911101" cy="484748"/>
          </a:xfrm>
          <a:prstGeom prst="rect">
            <a:avLst/>
          </a:prstGeom>
        </p:spPr>
        <p:txBody>
          <a:bodyPr wrap="none">
            <a:spAutoFit/>
          </a:bodyPr>
          <a:lstStyle/>
          <a:p>
            <a:pPr marL="0" lvl="1" defTabSz="914461" fontAlgn="auto">
              <a:spcBef>
                <a:spcPts val="0"/>
              </a:spcBef>
              <a:spcAft>
                <a:spcPts val="0"/>
              </a:spcAft>
            </a:pPr>
            <a:r>
              <a:rPr lang="en-US" altLang="zh-CN" sz="1050" dirty="0">
                <a:solidFill>
                  <a:prstClr val="white"/>
                </a:solidFill>
                <a:latin typeface="Arial"/>
                <a:ea typeface="微软雅黑"/>
                <a:cs typeface="Arial" panose="020B0604020202020204" pitchFamily="34" charset="0"/>
              </a:rPr>
              <a:t>Envelope Tracking Algorithm</a:t>
            </a:r>
          </a:p>
          <a:p>
            <a:pPr marL="0" lvl="1" algn="ctr" defTabSz="914461" fontAlgn="auto">
              <a:spcBef>
                <a:spcPts val="0"/>
              </a:spcBef>
              <a:spcAft>
                <a:spcPts val="0"/>
              </a:spcAft>
            </a:pPr>
            <a:r>
              <a:rPr lang="en-US" altLang="zh-CN" sz="1500" b="1" dirty="0">
                <a:solidFill>
                  <a:prstClr val="white"/>
                </a:solidFill>
                <a:latin typeface="Arial"/>
                <a:ea typeface="微软雅黑"/>
                <a:cs typeface="Arial" panose="020B0604020202020204" pitchFamily="34" charset="0"/>
              </a:rPr>
              <a:t>ON</a:t>
            </a:r>
          </a:p>
        </p:txBody>
      </p:sp>
      <p:cxnSp>
        <p:nvCxnSpPr>
          <p:cNvPr id="36" name="直接连接符 65"/>
          <p:cNvCxnSpPr/>
          <p:nvPr/>
        </p:nvCxnSpPr>
        <p:spPr>
          <a:xfrm>
            <a:off x="5228534" y="4495055"/>
            <a:ext cx="2583461" cy="0"/>
          </a:xfrm>
          <a:prstGeom prst="line">
            <a:avLst/>
          </a:prstGeom>
          <a:ln w="3810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17" name="任意多边形 16"/>
          <p:cNvSpPr/>
          <p:nvPr/>
        </p:nvSpPr>
        <p:spPr>
          <a:xfrm>
            <a:off x="1046096" y="2949806"/>
            <a:ext cx="2944350" cy="808011"/>
          </a:xfrm>
          <a:custGeom>
            <a:avLst/>
            <a:gdLst>
              <a:gd name="connsiteX0" fmla="*/ 0 w 4341973"/>
              <a:gd name="connsiteY0" fmla="*/ 625456 h 1556056"/>
              <a:gd name="connsiteX1" fmla="*/ 243840 w 4341973"/>
              <a:gd name="connsiteY1" fmla="*/ 854056 h 1556056"/>
              <a:gd name="connsiteX2" fmla="*/ 365760 w 4341973"/>
              <a:gd name="connsiteY2" fmla="*/ 838816 h 1556056"/>
              <a:gd name="connsiteX3" fmla="*/ 472440 w 4341973"/>
              <a:gd name="connsiteY3" fmla="*/ 625456 h 1556056"/>
              <a:gd name="connsiteX4" fmla="*/ 685800 w 4341973"/>
              <a:gd name="connsiteY4" fmla="*/ 930256 h 1556056"/>
              <a:gd name="connsiteX5" fmla="*/ 838200 w 4341973"/>
              <a:gd name="connsiteY5" fmla="*/ 488296 h 1556056"/>
              <a:gd name="connsiteX6" fmla="*/ 914400 w 4341973"/>
              <a:gd name="connsiteY6" fmla="*/ 518776 h 1556056"/>
              <a:gd name="connsiteX7" fmla="*/ 1051560 w 4341973"/>
              <a:gd name="connsiteY7" fmla="*/ 1356976 h 1556056"/>
              <a:gd name="connsiteX8" fmla="*/ 1264920 w 4341973"/>
              <a:gd name="connsiteY8" fmla="*/ 616 h 1556056"/>
              <a:gd name="connsiteX9" fmla="*/ 1493520 w 4341973"/>
              <a:gd name="connsiteY9" fmla="*/ 1555096 h 1556056"/>
              <a:gd name="connsiteX10" fmla="*/ 1722120 w 4341973"/>
              <a:gd name="connsiteY10" fmla="*/ 244456 h 1556056"/>
              <a:gd name="connsiteX11" fmla="*/ 1920240 w 4341973"/>
              <a:gd name="connsiteY11" fmla="*/ 1021696 h 1556056"/>
              <a:gd name="connsiteX12" fmla="*/ 2072640 w 4341973"/>
              <a:gd name="connsiteY12" fmla="*/ 640696 h 1556056"/>
              <a:gd name="connsiteX13" fmla="*/ 2301240 w 4341973"/>
              <a:gd name="connsiteY13" fmla="*/ 884536 h 1556056"/>
              <a:gd name="connsiteX14" fmla="*/ 2468880 w 4341973"/>
              <a:gd name="connsiteY14" fmla="*/ 579736 h 1556056"/>
              <a:gd name="connsiteX15" fmla="*/ 2697480 w 4341973"/>
              <a:gd name="connsiteY15" fmla="*/ 1097896 h 1556056"/>
              <a:gd name="connsiteX16" fmla="*/ 2865120 w 4341973"/>
              <a:gd name="connsiteY16" fmla="*/ 320656 h 1556056"/>
              <a:gd name="connsiteX17" fmla="*/ 3124200 w 4341973"/>
              <a:gd name="connsiteY17" fmla="*/ 1296016 h 1556056"/>
              <a:gd name="connsiteX18" fmla="*/ 3307080 w 4341973"/>
              <a:gd name="connsiteY18" fmla="*/ 351136 h 1556056"/>
              <a:gd name="connsiteX19" fmla="*/ 3489960 w 4341973"/>
              <a:gd name="connsiteY19" fmla="*/ 1067416 h 1556056"/>
              <a:gd name="connsiteX20" fmla="*/ 3672840 w 4341973"/>
              <a:gd name="connsiteY20" fmla="*/ 625456 h 1556056"/>
              <a:gd name="connsiteX21" fmla="*/ 3886200 w 4341973"/>
              <a:gd name="connsiteY21" fmla="*/ 899776 h 1556056"/>
              <a:gd name="connsiteX22" fmla="*/ 4069080 w 4341973"/>
              <a:gd name="connsiteY22" fmla="*/ 655936 h 1556056"/>
              <a:gd name="connsiteX23" fmla="*/ 4312920 w 4341973"/>
              <a:gd name="connsiteY23" fmla="*/ 930256 h 1556056"/>
              <a:gd name="connsiteX24" fmla="*/ 4328160 w 4341973"/>
              <a:gd name="connsiteY24" fmla="*/ 945496 h 155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41973" h="1556056">
                <a:moveTo>
                  <a:pt x="0" y="625456"/>
                </a:moveTo>
                <a:cubicBezTo>
                  <a:pt x="91440" y="721976"/>
                  <a:pt x="182880" y="818496"/>
                  <a:pt x="243840" y="854056"/>
                </a:cubicBezTo>
                <a:cubicBezTo>
                  <a:pt x="304800" y="889616"/>
                  <a:pt x="327660" y="876916"/>
                  <a:pt x="365760" y="838816"/>
                </a:cubicBezTo>
                <a:cubicBezTo>
                  <a:pt x="403860" y="800716"/>
                  <a:pt x="419100" y="610216"/>
                  <a:pt x="472440" y="625456"/>
                </a:cubicBezTo>
                <a:cubicBezTo>
                  <a:pt x="525780" y="640696"/>
                  <a:pt x="624840" y="953116"/>
                  <a:pt x="685800" y="930256"/>
                </a:cubicBezTo>
                <a:cubicBezTo>
                  <a:pt x="746760" y="907396"/>
                  <a:pt x="800100" y="556876"/>
                  <a:pt x="838200" y="488296"/>
                </a:cubicBezTo>
                <a:cubicBezTo>
                  <a:pt x="876300" y="419716"/>
                  <a:pt x="878840" y="373996"/>
                  <a:pt x="914400" y="518776"/>
                </a:cubicBezTo>
                <a:cubicBezTo>
                  <a:pt x="949960" y="663556"/>
                  <a:pt x="993140" y="1443336"/>
                  <a:pt x="1051560" y="1356976"/>
                </a:cubicBezTo>
                <a:cubicBezTo>
                  <a:pt x="1109980" y="1270616"/>
                  <a:pt x="1191260" y="-32404"/>
                  <a:pt x="1264920" y="616"/>
                </a:cubicBezTo>
                <a:cubicBezTo>
                  <a:pt x="1338580" y="33636"/>
                  <a:pt x="1417320" y="1514456"/>
                  <a:pt x="1493520" y="1555096"/>
                </a:cubicBezTo>
                <a:cubicBezTo>
                  <a:pt x="1569720" y="1595736"/>
                  <a:pt x="1651000" y="333356"/>
                  <a:pt x="1722120" y="244456"/>
                </a:cubicBezTo>
                <a:cubicBezTo>
                  <a:pt x="1793240" y="155556"/>
                  <a:pt x="1861820" y="955656"/>
                  <a:pt x="1920240" y="1021696"/>
                </a:cubicBezTo>
                <a:cubicBezTo>
                  <a:pt x="1978660" y="1087736"/>
                  <a:pt x="2009140" y="663556"/>
                  <a:pt x="2072640" y="640696"/>
                </a:cubicBezTo>
                <a:cubicBezTo>
                  <a:pt x="2136140" y="617836"/>
                  <a:pt x="2235200" y="894696"/>
                  <a:pt x="2301240" y="884536"/>
                </a:cubicBezTo>
                <a:cubicBezTo>
                  <a:pt x="2367280" y="874376"/>
                  <a:pt x="2402840" y="544176"/>
                  <a:pt x="2468880" y="579736"/>
                </a:cubicBezTo>
                <a:cubicBezTo>
                  <a:pt x="2534920" y="615296"/>
                  <a:pt x="2631440" y="1141076"/>
                  <a:pt x="2697480" y="1097896"/>
                </a:cubicBezTo>
                <a:cubicBezTo>
                  <a:pt x="2763520" y="1054716"/>
                  <a:pt x="2794000" y="287636"/>
                  <a:pt x="2865120" y="320656"/>
                </a:cubicBezTo>
                <a:cubicBezTo>
                  <a:pt x="2936240" y="353676"/>
                  <a:pt x="3050540" y="1290936"/>
                  <a:pt x="3124200" y="1296016"/>
                </a:cubicBezTo>
                <a:cubicBezTo>
                  <a:pt x="3197860" y="1301096"/>
                  <a:pt x="3246120" y="389236"/>
                  <a:pt x="3307080" y="351136"/>
                </a:cubicBezTo>
                <a:cubicBezTo>
                  <a:pt x="3368040" y="313036"/>
                  <a:pt x="3429000" y="1021696"/>
                  <a:pt x="3489960" y="1067416"/>
                </a:cubicBezTo>
                <a:cubicBezTo>
                  <a:pt x="3550920" y="1113136"/>
                  <a:pt x="3606800" y="653396"/>
                  <a:pt x="3672840" y="625456"/>
                </a:cubicBezTo>
                <a:cubicBezTo>
                  <a:pt x="3738880" y="597516"/>
                  <a:pt x="3820160" y="894696"/>
                  <a:pt x="3886200" y="899776"/>
                </a:cubicBezTo>
                <a:cubicBezTo>
                  <a:pt x="3952240" y="904856"/>
                  <a:pt x="3997960" y="650856"/>
                  <a:pt x="4069080" y="655936"/>
                </a:cubicBezTo>
                <a:cubicBezTo>
                  <a:pt x="4140200" y="661016"/>
                  <a:pt x="4269740" y="881996"/>
                  <a:pt x="4312920" y="930256"/>
                </a:cubicBezTo>
                <a:cubicBezTo>
                  <a:pt x="4356100" y="978516"/>
                  <a:pt x="4342130" y="962006"/>
                  <a:pt x="4328160" y="945496"/>
                </a:cubicBezTo>
              </a:path>
            </a:pathLst>
          </a:custGeom>
          <a:noFill/>
          <a:ln w="44450">
            <a:solidFill>
              <a:srgbClr val="03A8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61" fontAlgn="auto">
              <a:spcBef>
                <a:spcPts val="0"/>
              </a:spcBef>
              <a:spcAft>
                <a:spcPts val="0"/>
              </a:spcAft>
            </a:pPr>
            <a:endParaRPr lang="en-US">
              <a:solidFill>
                <a:prstClr val="white"/>
              </a:solidFill>
            </a:endParaRPr>
          </a:p>
        </p:txBody>
      </p:sp>
      <p:grpSp>
        <p:nvGrpSpPr>
          <p:cNvPr id="74" name="组合 73"/>
          <p:cNvGrpSpPr/>
          <p:nvPr/>
        </p:nvGrpSpPr>
        <p:grpSpPr>
          <a:xfrm>
            <a:off x="2791411" y="2457773"/>
            <a:ext cx="1403405" cy="409289"/>
            <a:chOff x="4297387" y="2005166"/>
            <a:chExt cx="1871369" cy="545765"/>
          </a:xfrm>
        </p:grpSpPr>
        <p:grpSp>
          <p:nvGrpSpPr>
            <p:cNvPr id="69" name="组合 68"/>
            <p:cNvGrpSpPr/>
            <p:nvPr/>
          </p:nvGrpSpPr>
          <p:grpSpPr>
            <a:xfrm>
              <a:off x="4297387" y="2005166"/>
              <a:ext cx="1760217" cy="376463"/>
              <a:chOff x="4297387" y="2005166"/>
              <a:chExt cx="1760217" cy="376463"/>
            </a:xfrm>
          </p:grpSpPr>
          <p:cxnSp>
            <p:nvCxnSpPr>
              <p:cNvPr id="50" name="直接连接符 65"/>
              <p:cNvCxnSpPr/>
              <p:nvPr/>
            </p:nvCxnSpPr>
            <p:spPr>
              <a:xfrm>
                <a:off x="4297387" y="2141500"/>
                <a:ext cx="390892" cy="0"/>
              </a:xfrm>
              <a:prstGeom prst="line">
                <a:avLst/>
              </a:prstGeom>
              <a:ln w="38100">
                <a:solidFill>
                  <a:srgbClr val="FA0103"/>
                </a:solidFill>
                <a:prstDash val="solid"/>
              </a:ln>
            </p:spPr>
            <p:style>
              <a:lnRef idx="1">
                <a:schemeClr val="accent1"/>
              </a:lnRef>
              <a:fillRef idx="0">
                <a:schemeClr val="accent1"/>
              </a:fillRef>
              <a:effectRef idx="0">
                <a:schemeClr val="accent1"/>
              </a:effectRef>
              <a:fontRef idx="minor">
                <a:schemeClr val="tx1"/>
              </a:fontRef>
            </p:style>
          </p:cxnSp>
          <p:cxnSp>
            <p:nvCxnSpPr>
              <p:cNvPr id="52" name="直接连接符 65"/>
              <p:cNvCxnSpPr/>
              <p:nvPr/>
            </p:nvCxnSpPr>
            <p:spPr>
              <a:xfrm>
                <a:off x="4297387" y="2381629"/>
                <a:ext cx="390892" cy="0"/>
              </a:xfrm>
              <a:prstGeom prst="line">
                <a:avLst/>
              </a:prstGeom>
              <a:ln w="38100">
                <a:solidFill>
                  <a:srgbClr val="0896D2"/>
                </a:solidFill>
                <a:prstDash val="solid"/>
              </a:ln>
            </p:spPr>
            <p:style>
              <a:lnRef idx="1">
                <a:schemeClr val="accent1"/>
              </a:lnRef>
              <a:fillRef idx="0">
                <a:schemeClr val="accent1"/>
              </a:fillRef>
              <a:effectRef idx="0">
                <a:schemeClr val="accent1"/>
              </a:effectRef>
              <a:fontRef idx="minor">
                <a:schemeClr val="tx1"/>
              </a:fontRef>
            </p:style>
          </p:cxnSp>
          <p:sp>
            <p:nvSpPr>
              <p:cNvPr id="53" name="矩形 52"/>
              <p:cNvSpPr/>
              <p:nvPr/>
            </p:nvSpPr>
            <p:spPr>
              <a:xfrm>
                <a:off x="4742601" y="2005166"/>
                <a:ext cx="1315003" cy="307802"/>
              </a:xfrm>
              <a:prstGeom prst="rect">
                <a:avLst/>
              </a:prstGeom>
            </p:spPr>
            <p:txBody>
              <a:bodyPr wrap="none">
                <a:spAutoFit/>
              </a:bodyPr>
              <a:lstStyle/>
              <a:p>
                <a:pPr marL="0" lvl="1" defTabSz="914461" fontAlgn="auto">
                  <a:spcBef>
                    <a:spcPts val="0"/>
                  </a:spcBef>
                  <a:spcAft>
                    <a:spcPts val="0"/>
                  </a:spcAft>
                </a:pPr>
                <a:r>
                  <a:rPr lang="en-US" altLang="zh-CN" sz="900">
                    <a:solidFill>
                      <a:prstClr val="white"/>
                    </a:solidFill>
                    <a:latin typeface="Arial"/>
                    <a:ea typeface="微软雅黑"/>
                    <a:cs typeface="Arial" panose="020B0604020202020204" pitchFamily="34" charset="0"/>
                  </a:rPr>
                  <a:t>PA Input Power</a:t>
                </a:r>
                <a:endParaRPr lang="zh-CN" altLang="en-US" sz="900" dirty="0">
                  <a:solidFill>
                    <a:prstClr val="white"/>
                  </a:solidFill>
                  <a:latin typeface="Arial"/>
                  <a:ea typeface="微软雅黑"/>
                  <a:cs typeface="Arial" panose="020B0604020202020204" pitchFamily="34" charset="0"/>
                </a:endParaRPr>
              </a:p>
            </p:txBody>
          </p:sp>
        </p:grpSp>
        <p:sp>
          <p:nvSpPr>
            <p:cNvPr id="54" name="矩形 53"/>
            <p:cNvSpPr/>
            <p:nvPr/>
          </p:nvSpPr>
          <p:spPr>
            <a:xfrm>
              <a:off x="4742600" y="2243129"/>
              <a:ext cx="1426156" cy="307802"/>
            </a:xfrm>
            <a:prstGeom prst="rect">
              <a:avLst/>
            </a:prstGeom>
          </p:spPr>
          <p:txBody>
            <a:bodyPr wrap="none">
              <a:spAutoFit/>
            </a:bodyPr>
            <a:lstStyle/>
            <a:p>
              <a:pPr marL="0" lvl="1" defTabSz="914461" fontAlgn="auto">
                <a:spcBef>
                  <a:spcPts val="0"/>
                </a:spcBef>
                <a:spcAft>
                  <a:spcPts val="0"/>
                </a:spcAft>
              </a:pPr>
              <a:r>
                <a:rPr lang="en-US" altLang="zh-CN" sz="900" dirty="0">
                  <a:solidFill>
                    <a:prstClr val="white"/>
                  </a:solidFill>
                  <a:latin typeface="Arial"/>
                  <a:ea typeface="微软雅黑"/>
                  <a:cs typeface="Arial" panose="020B0604020202020204" pitchFamily="34" charset="0"/>
                </a:rPr>
                <a:t>PA Output Signal</a:t>
              </a:r>
              <a:endParaRPr lang="zh-CN" altLang="en-US" sz="900" dirty="0">
                <a:solidFill>
                  <a:prstClr val="white"/>
                </a:solidFill>
                <a:latin typeface="Arial"/>
                <a:ea typeface="微软雅黑"/>
                <a:cs typeface="Arial" panose="020B0604020202020204" pitchFamily="34" charset="0"/>
              </a:endParaRPr>
            </a:p>
          </p:txBody>
        </p:sp>
      </p:grpSp>
      <p:sp>
        <p:nvSpPr>
          <p:cNvPr id="56" name="Rectangle 1"/>
          <p:cNvSpPr>
            <a:spLocks noChangeArrowheads="1"/>
          </p:cNvSpPr>
          <p:nvPr/>
        </p:nvSpPr>
        <p:spPr bwMode="auto">
          <a:xfrm>
            <a:off x="911821" y="4057863"/>
            <a:ext cx="1418275" cy="207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anchor="ctr" anchorCtr="0" compatLnSpc="1">
            <a:prstTxWarp prst="textNoShape">
              <a:avLst/>
            </a:prstTxWarp>
            <a:spAutoFit/>
          </a:bodyPr>
          <a:lstStyle/>
          <a:p>
            <a:pPr eaLnBrk="0" hangingPunct="0"/>
            <a:r>
              <a:rPr lang="en-US" altLang="en-US" sz="900">
                <a:solidFill>
                  <a:prstClr val="white"/>
                </a:solidFill>
                <a:latin typeface="Arial" panose="020B0604020202020204" pitchFamily="34" charset="0"/>
                <a:ea typeface="微软雅黑"/>
              </a:rPr>
              <a:t>Self-adaption </a:t>
            </a:r>
          </a:p>
        </p:txBody>
      </p:sp>
      <p:cxnSp>
        <p:nvCxnSpPr>
          <p:cNvPr id="58" name="直接箭头连接符 57"/>
          <p:cNvCxnSpPr/>
          <p:nvPr/>
        </p:nvCxnSpPr>
        <p:spPr bwMode="auto">
          <a:xfrm>
            <a:off x="1489426" y="4268294"/>
            <a:ext cx="75134" cy="164270"/>
          </a:xfrm>
          <a:prstGeom prst="straightConnector1">
            <a:avLst/>
          </a:prstGeom>
          <a:noFill/>
          <a:ln w="28575" cap="flat" cmpd="sng" algn="ctr">
            <a:solidFill>
              <a:srgbClr val="FFFF00"/>
            </a:solidFill>
            <a:prstDash val="solid"/>
            <a:round/>
            <a:headEnd type="none" w="med" len="med"/>
            <a:tailEnd type="triangle" w="med" len="med"/>
          </a:ln>
          <a:effectLst/>
        </p:spPr>
      </p:cxnSp>
      <p:sp>
        <p:nvSpPr>
          <p:cNvPr id="63" name="矩形 62"/>
          <p:cNvSpPr/>
          <p:nvPr/>
        </p:nvSpPr>
        <p:spPr>
          <a:xfrm>
            <a:off x="2450527" y="2860663"/>
            <a:ext cx="893899" cy="276999"/>
          </a:xfrm>
          <a:prstGeom prst="rect">
            <a:avLst/>
          </a:prstGeom>
        </p:spPr>
        <p:txBody>
          <a:bodyPr wrap="none">
            <a:spAutoFit/>
          </a:bodyPr>
          <a:lstStyle/>
          <a:p>
            <a:pPr marL="0" lvl="1" defTabSz="914461" fontAlgn="auto">
              <a:spcBef>
                <a:spcPts val="0"/>
              </a:spcBef>
              <a:spcAft>
                <a:spcPts val="0"/>
              </a:spcAft>
            </a:pPr>
            <a:r>
              <a:rPr lang="en-US" altLang="zh-CN" sz="1200">
                <a:solidFill>
                  <a:prstClr val="white"/>
                </a:solidFill>
                <a:latin typeface="Arial"/>
                <a:ea typeface="微软雅黑"/>
                <a:cs typeface="Arial" panose="020B0604020202020204" pitchFamily="34" charset="0"/>
              </a:rPr>
              <a:t>Traditional</a:t>
            </a:r>
            <a:endParaRPr lang="zh-CN" altLang="en-US" sz="1200" dirty="0">
              <a:solidFill>
                <a:prstClr val="white"/>
              </a:solidFill>
              <a:latin typeface="Arial"/>
              <a:ea typeface="微软雅黑"/>
              <a:cs typeface="Arial" panose="020B0604020202020204" pitchFamily="34" charset="0"/>
            </a:endParaRPr>
          </a:p>
        </p:txBody>
      </p:sp>
      <p:sp>
        <p:nvSpPr>
          <p:cNvPr id="64" name="矩形 63"/>
          <p:cNvSpPr/>
          <p:nvPr/>
        </p:nvSpPr>
        <p:spPr>
          <a:xfrm>
            <a:off x="2362506" y="4015535"/>
            <a:ext cx="1624163" cy="276999"/>
          </a:xfrm>
          <a:prstGeom prst="rect">
            <a:avLst/>
          </a:prstGeom>
        </p:spPr>
        <p:txBody>
          <a:bodyPr wrap="none">
            <a:spAutoFit/>
          </a:bodyPr>
          <a:lstStyle/>
          <a:p>
            <a:pPr marL="0" lvl="1" defTabSz="914461" fontAlgn="auto">
              <a:spcBef>
                <a:spcPts val="0"/>
              </a:spcBef>
              <a:spcAft>
                <a:spcPts val="0"/>
              </a:spcAft>
            </a:pPr>
            <a:r>
              <a:rPr lang="en-US" altLang="zh-CN" sz="1200" dirty="0">
                <a:solidFill>
                  <a:prstClr val="white"/>
                </a:solidFill>
                <a:latin typeface="Arial"/>
                <a:ea typeface="微软雅黑"/>
                <a:cs typeface="Arial" panose="020B0604020202020204" pitchFamily="34" charset="0"/>
              </a:rPr>
              <a:t>Breathing technology</a:t>
            </a:r>
            <a:endParaRPr lang="zh-CN" altLang="en-US" sz="1200" dirty="0">
              <a:solidFill>
                <a:prstClr val="white"/>
              </a:solidFill>
              <a:latin typeface="Arial"/>
              <a:ea typeface="微软雅黑"/>
              <a:cs typeface="Arial" panose="020B0604020202020204" pitchFamily="34" charset="0"/>
            </a:endParaRPr>
          </a:p>
        </p:txBody>
      </p:sp>
      <p:sp>
        <p:nvSpPr>
          <p:cNvPr id="68" name="矩形 67"/>
          <p:cNvSpPr/>
          <p:nvPr/>
        </p:nvSpPr>
        <p:spPr>
          <a:xfrm>
            <a:off x="900705" y="5319840"/>
            <a:ext cx="3510085" cy="415498"/>
          </a:xfrm>
          <a:prstGeom prst="rect">
            <a:avLst/>
          </a:prstGeom>
        </p:spPr>
        <p:txBody>
          <a:bodyPr wrap="square">
            <a:spAutoFit/>
          </a:bodyPr>
          <a:lstStyle/>
          <a:p>
            <a:pPr marL="0" lvl="1" defTabSz="914461" fontAlgn="auto">
              <a:spcBef>
                <a:spcPts val="0"/>
              </a:spcBef>
              <a:spcAft>
                <a:spcPts val="0"/>
              </a:spcAft>
            </a:pPr>
            <a:r>
              <a:rPr lang="en-US" altLang="zh-CN" sz="1050" dirty="0">
                <a:solidFill>
                  <a:prstClr val="white"/>
                </a:solidFill>
                <a:latin typeface="Arial"/>
                <a:ea typeface="微软雅黑"/>
                <a:cs typeface="Arial" panose="020B0604020202020204" pitchFamily="34" charset="0"/>
              </a:rPr>
              <a:t>With Envelope Tracking Algorithm, the PA input voltage will adapt to the change of Output signal, like breathing.</a:t>
            </a:r>
            <a:endParaRPr lang="zh-CN" altLang="en-US" sz="1050" dirty="0">
              <a:solidFill>
                <a:prstClr val="white"/>
              </a:solidFill>
              <a:latin typeface="Arial"/>
              <a:ea typeface="微软雅黑"/>
              <a:cs typeface="Arial" panose="020B0604020202020204" pitchFamily="34" charset="0"/>
            </a:endParaRPr>
          </a:p>
        </p:txBody>
      </p:sp>
      <p:grpSp>
        <p:nvGrpSpPr>
          <p:cNvPr id="6" name="组合 5"/>
          <p:cNvGrpSpPr/>
          <p:nvPr/>
        </p:nvGrpSpPr>
        <p:grpSpPr>
          <a:xfrm>
            <a:off x="6454109" y="4346856"/>
            <a:ext cx="484052" cy="277897"/>
            <a:chOff x="10507442" y="4412219"/>
            <a:chExt cx="786720" cy="572812"/>
          </a:xfrm>
        </p:grpSpPr>
        <p:pic>
          <p:nvPicPr>
            <p:cNvPr id="4" name="图片 3"/>
            <p:cNvPicPr>
              <a:picLocks noChangeAspect="1"/>
            </p:cNvPicPr>
            <p:nvPr/>
          </p:nvPicPr>
          <p:blipFill>
            <a:blip r:embed="rId5" cstate="print">
              <a:clrChange>
                <a:clrFrom>
                  <a:srgbClr val="FFFFFF"/>
                </a:clrFrom>
                <a:clrTo>
                  <a:srgbClr val="FFFFFF">
                    <a:alpha val="0"/>
                  </a:srgbClr>
                </a:clrTo>
              </a:clrChange>
            </a:blip>
            <a:stretch>
              <a:fillRect/>
            </a:stretch>
          </p:blipFill>
          <p:spPr>
            <a:xfrm>
              <a:off x="10507442" y="4483940"/>
              <a:ext cx="600063" cy="438046"/>
            </a:xfrm>
            <a:prstGeom prst="rect">
              <a:avLst/>
            </a:prstGeom>
          </p:spPr>
        </p:pic>
        <p:pic>
          <p:nvPicPr>
            <p:cNvPr id="44" name="图片 43"/>
            <p:cNvPicPr>
              <a:picLocks noChangeAspect="1"/>
            </p:cNvPicPr>
            <p:nvPr/>
          </p:nvPicPr>
          <p:blipFill>
            <a:blip r:embed="rId5" cstate="print">
              <a:clrChange>
                <a:clrFrom>
                  <a:srgbClr val="FFFFFF"/>
                </a:clrFrom>
                <a:clrTo>
                  <a:srgbClr val="FFFFFF">
                    <a:alpha val="0"/>
                  </a:srgbClr>
                </a:clrTo>
              </a:clrChange>
            </a:blip>
            <a:stretch>
              <a:fillRect/>
            </a:stretch>
          </p:blipFill>
          <p:spPr>
            <a:xfrm>
              <a:off x="10659842" y="4546985"/>
              <a:ext cx="600063" cy="438046"/>
            </a:xfrm>
            <a:prstGeom prst="rect">
              <a:avLst/>
            </a:prstGeom>
          </p:spPr>
        </p:pic>
        <p:pic>
          <p:nvPicPr>
            <p:cNvPr id="45" name="图片 44"/>
            <p:cNvPicPr>
              <a:picLocks noChangeAspect="1"/>
            </p:cNvPicPr>
            <p:nvPr/>
          </p:nvPicPr>
          <p:blipFill>
            <a:blip r:embed="rId5" cstate="print">
              <a:clrChange>
                <a:clrFrom>
                  <a:srgbClr val="FFFFFF"/>
                </a:clrFrom>
                <a:clrTo>
                  <a:srgbClr val="FFFFFF">
                    <a:alpha val="0"/>
                  </a:srgbClr>
                </a:clrTo>
              </a:clrChange>
            </a:blip>
            <a:stretch>
              <a:fillRect/>
            </a:stretch>
          </p:blipFill>
          <p:spPr>
            <a:xfrm>
              <a:off x="10585955" y="4412219"/>
              <a:ext cx="600063" cy="438046"/>
            </a:xfrm>
            <a:prstGeom prst="rect">
              <a:avLst/>
            </a:prstGeom>
          </p:spPr>
        </p:pic>
        <p:pic>
          <p:nvPicPr>
            <p:cNvPr id="46" name="图片 45"/>
            <p:cNvPicPr>
              <a:picLocks noChangeAspect="1"/>
            </p:cNvPicPr>
            <p:nvPr/>
          </p:nvPicPr>
          <p:blipFill>
            <a:blip r:embed="rId5" cstate="print">
              <a:clrChange>
                <a:clrFrom>
                  <a:srgbClr val="FFFFFF"/>
                </a:clrFrom>
                <a:clrTo>
                  <a:srgbClr val="FFFFFF">
                    <a:alpha val="0"/>
                  </a:srgbClr>
                </a:clrTo>
              </a:clrChange>
            </a:blip>
            <a:stretch>
              <a:fillRect/>
            </a:stretch>
          </p:blipFill>
          <p:spPr>
            <a:xfrm>
              <a:off x="10694099" y="4458739"/>
              <a:ext cx="600063" cy="438046"/>
            </a:xfrm>
            <a:prstGeom prst="rect">
              <a:avLst/>
            </a:prstGeom>
          </p:spPr>
        </p:pic>
      </p:grpSp>
      <p:sp>
        <p:nvSpPr>
          <p:cNvPr id="51" name="等腰三角形 50"/>
          <p:cNvSpPr/>
          <p:nvPr/>
        </p:nvSpPr>
        <p:spPr>
          <a:xfrm rot="5400000">
            <a:off x="3422947" y="3629357"/>
            <a:ext cx="2698356" cy="473628"/>
          </a:xfrm>
          <a:prstGeom prst="triangle">
            <a:avLst>
              <a:gd name="adj" fmla="val 49576"/>
            </a:avLst>
          </a:prstGeom>
          <a:gradFill flip="none" rotWithShape="1">
            <a:gsLst>
              <a:gs pos="0">
                <a:schemeClr val="accent1">
                  <a:lumMod val="5000"/>
                  <a:lumOff val="95000"/>
                </a:schemeClr>
              </a:gs>
              <a:gs pos="95000">
                <a:schemeClr val="accent1">
                  <a:lumMod val="30000"/>
                  <a:lumOff val="7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61" fontAlgn="auto">
              <a:spcBef>
                <a:spcPts val="0"/>
              </a:spcBef>
              <a:spcAft>
                <a:spcPts val="0"/>
              </a:spcAft>
            </a:pPr>
            <a:endParaRPr lang="en-US">
              <a:solidFill>
                <a:prstClr val="white"/>
              </a:solidFill>
            </a:endParaRPr>
          </a:p>
        </p:txBody>
      </p:sp>
    </p:spTree>
    <p:extLst>
      <p:ext uri="{BB962C8B-B14F-4D97-AF65-F5344CB8AC3E}">
        <p14:creationId xmlns:p14="http://schemas.microsoft.com/office/powerpoint/2010/main" val="20689643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 name="Line 243"/>
          <p:cNvSpPr>
            <a:spLocks noChangeShapeType="1"/>
          </p:cNvSpPr>
          <p:nvPr/>
        </p:nvSpPr>
        <p:spPr bwMode="auto">
          <a:xfrm flipV="1">
            <a:off x="6817904" y="3230182"/>
            <a:ext cx="1619859" cy="11817"/>
          </a:xfrm>
          <a:prstGeom prst="line">
            <a:avLst/>
          </a:prstGeom>
          <a:noFill/>
          <a:ln w="9525">
            <a:solidFill>
              <a:srgbClr val="FFC000"/>
            </a:solidFill>
            <a:round/>
            <a:headEnd/>
            <a:tailEnd/>
          </a:ln>
          <a:effectLst/>
        </p:spPr>
        <p:txBody>
          <a:bodyPr wrap="square" lIns="59395" tIns="29697" rIns="59395" bIns="29697">
            <a:spAutoFit/>
          </a:bodyPr>
          <a:lstStyle/>
          <a:p>
            <a:pPr algn="ctr" fontAlgn="base">
              <a:spcBef>
                <a:spcPct val="0"/>
              </a:spcBef>
              <a:spcAft>
                <a:spcPct val="0"/>
              </a:spcAft>
            </a:pPr>
            <a:endParaRPr lang="zh-CN" altLang="en-US" sz="900">
              <a:solidFill>
                <a:srgbClr val="FFC000"/>
              </a:solidFill>
              <a:latin typeface="FrutigerNext LT Medium" pitchFamily="34" charset="0"/>
              <a:ea typeface="MS PGothic" pitchFamily="34" charset="-128"/>
            </a:endParaRPr>
          </a:p>
        </p:txBody>
      </p:sp>
      <p:sp>
        <p:nvSpPr>
          <p:cNvPr id="104" name="矩形 103"/>
          <p:cNvSpPr/>
          <p:nvPr/>
        </p:nvSpPr>
        <p:spPr bwMode="auto">
          <a:xfrm>
            <a:off x="415035" y="2039983"/>
            <a:ext cx="8369826" cy="1938990"/>
          </a:xfrm>
          <a:prstGeom prst="rect">
            <a:avLst/>
          </a:prstGeom>
          <a:solidFill>
            <a:schemeClr val="bg1">
              <a:lumMod val="65000"/>
              <a:alpha val="17000"/>
            </a:schemeClr>
          </a:solidFill>
          <a:ln w="12700" algn="ctr">
            <a:noFill/>
            <a:miter lim="800000"/>
            <a:headEnd/>
            <a:tailEnd/>
          </a:ln>
        </p:spPr>
        <p:txBody>
          <a:bodyPr wrap="square" lIns="26998" tIns="33335" rIns="26998" bIns="33335" rtlCol="0" anchor="ctr"/>
          <a:lstStyle/>
          <a:p>
            <a:pPr marL="805946" indent="-130951" defTabSz="601186">
              <a:spcBef>
                <a:spcPct val="20000"/>
              </a:spcBef>
            </a:pPr>
            <a:endParaRPr lang="en-US" altLang="zh-CN" sz="900" dirty="0">
              <a:solidFill>
                <a:schemeClr val="bg1"/>
              </a:solidFill>
              <a:latin typeface="FrutigerNext LT Medium" pitchFamily="34" charset="0"/>
              <a:ea typeface="黑体" pitchFamily="2" charset="-122"/>
              <a:cs typeface="Calibri" pitchFamily="34" charset="0"/>
            </a:endParaRPr>
          </a:p>
        </p:txBody>
      </p:sp>
      <p:sp>
        <p:nvSpPr>
          <p:cNvPr id="129" name="椭圆 128"/>
          <p:cNvSpPr/>
          <p:nvPr/>
        </p:nvSpPr>
        <p:spPr bwMode="auto">
          <a:xfrm rot="21205887">
            <a:off x="2768247" y="3231138"/>
            <a:ext cx="756449" cy="225334"/>
          </a:xfrm>
          <a:prstGeom prst="ellipse">
            <a:avLst/>
          </a:prstGeom>
          <a:noFill/>
          <a:ln w="19050" cap="flat" cmpd="sng" algn="ctr">
            <a:solidFill>
              <a:srgbClr val="FFC000"/>
            </a:solidFill>
            <a:prstDash val="dash"/>
            <a:round/>
            <a:headEnd type="none" w="med" len="med"/>
            <a:tailEnd type="none" w="med" len="med"/>
          </a:ln>
          <a:effectLst/>
        </p:spPr>
        <p:txBody>
          <a:bodyPr vert="horz" wrap="square" lIns="59395" tIns="29697" rIns="59395" bIns="29697" numCol="1" rtlCol="0" anchor="t" anchorCtr="0" compatLnSpc="1">
            <a:prstTxWarp prst="textNoShape">
              <a:avLst/>
            </a:prstTxWarp>
            <a:noAutofit/>
          </a:bodyPr>
          <a:lstStyle/>
          <a:p>
            <a:pPr algn="ctr" defTabSz="601186"/>
            <a:endParaRPr lang="zh-CN" altLang="en-US" sz="900">
              <a:solidFill>
                <a:srgbClr val="FFC000"/>
              </a:solidFill>
              <a:latin typeface="FrutigerNext LT Medium" pitchFamily="34" charset="0"/>
              <a:ea typeface="MS PGothic" pitchFamily="34" charset="-128"/>
            </a:endParaRPr>
          </a:p>
        </p:txBody>
      </p:sp>
      <p:sp>
        <p:nvSpPr>
          <p:cNvPr id="69" name="椭圆 68"/>
          <p:cNvSpPr/>
          <p:nvPr/>
        </p:nvSpPr>
        <p:spPr bwMode="auto">
          <a:xfrm>
            <a:off x="1089688" y="3262685"/>
            <a:ext cx="1368390" cy="349140"/>
          </a:xfrm>
          <a:prstGeom prst="ellipse">
            <a:avLst/>
          </a:prstGeom>
          <a:noFill/>
          <a:ln w="12700" algn="ctr">
            <a:solidFill>
              <a:srgbClr val="FFC000"/>
            </a:solidFill>
            <a:prstDash val="dash"/>
            <a:miter lim="800000"/>
            <a:headEnd/>
            <a:tailEnd/>
          </a:ln>
        </p:spPr>
        <p:txBody>
          <a:bodyPr wrap="square" lIns="26998" tIns="33335" rIns="26998" bIns="33335" rtlCol="0" anchor="ctr"/>
          <a:lstStyle/>
          <a:p>
            <a:pPr marL="805946" indent="-130951" defTabSz="601186">
              <a:spcBef>
                <a:spcPct val="20000"/>
              </a:spcBef>
            </a:pPr>
            <a:endParaRPr lang="zh-CN" altLang="en-US" sz="900">
              <a:solidFill>
                <a:schemeClr val="bg1"/>
              </a:solidFill>
              <a:latin typeface="FrutigerNext LT Medium" pitchFamily="34" charset="0"/>
              <a:ea typeface="黑体" pitchFamily="2" charset="-122"/>
              <a:cs typeface="Calibri" pitchFamily="34" charset="0"/>
            </a:endParaRPr>
          </a:p>
        </p:txBody>
      </p:sp>
      <p:sp>
        <p:nvSpPr>
          <p:cNvPr id="65" name="椭圆 64"/>
          <p:cNvSpPr/>
          <p:nvPr/>
        </p:nvSpPr>
        <p:spPr bwMode="auto">
          <a:xfrm>
            <a:off x="2093709" y="3271508"/>
            <a:ext cx="1106003" cy="282126"/>
          </a:xfrm>
          <a:prstGeom prst="ellipse">
            <a:avLst/>
          </a:prstGeom>
          <a:noFill/>
          <a:ln w="19050" cap="flat" cmpd="sng" algn="ctr">
            <a:solidFill>
              <a:srgbClr val="FFC000"/>
            </a:solidFill>
            <a:prstDash val="dash"/>
            <a:round/>
            <a:headEnd type="none" w="med" len="med"/>
            <a:tailEnd type="none" w="med" len="med"/>
          </a:ln>
          <a:effectLst/>
        </p:spPr>
        <p:txBody>
          <a:bodyPr vert="horz" wrap="square" lIns="59395" tIns="29697" rIns="59395" bIns="29697" numCol="1" rtlCol="0" anchor="t" anchorCtr="0" compatLnSpc="1">
            <a:prstTxWarp prst="textNoShape">
              <a:avLst/>
            </a:prstTxWarp>
            <a:noAutofit/>
          </a:bodyPr>
          <a:lstStyle/>
          <a:p>
            <a:pPr algn="ctr" defTabSz="601186"/>
            <a:endParaRPr lang="zh-CN" altLang="en-US" sz="900">
              <a:solidFill>
                <a:srgbClr val="FFC000"/>
              </a:solidFill>
              <a:latin typeface="FrutigerNext LT Medium" pitchFamily="34" charset="0"/>
              <a:ea typeface="MS PGothic" pitchFamily="34" charset="-128"/>
            </a:endParaRPr>
          </a:p>
        </p:txBody>
      </p:sp>
      <p:sp>
        <p:nvSpPr>
          <p:cNvPr id="61" name="椭圆 60"/>
          <p:cNvSpPr/>
          <p:nvPr/>
        </p:nvSpPr>
        <p:spPr bwMode="auto">
          <a:xfrm rot="2470325">
            <a:off x="1157769" y="2595603"/>
            <a:ext cx="291321" cy="615772"/>
          </a:xfrm>
          <a:prstGeom prst="ellipse">
            <a:avLst/>
          </a:prstGeom>
          <a:noFill/>
          <a:ln w="12700" algn="ctr">
            <a:solidFill>
              <a:srgbClr val="FFC000"/>
            </a:solidFill>
            <a:prstDash val="dash"/>
            <a:miter lim="800000"/>
            <a:headEnd/>
            <a:tailEnd/>
          </a:ln>
        </p:spPr>
        <p:txBody>
          <a:bodyPr wrap="square" lIns="26998" tIns="33335" rIns="26998" bIns="33335" rtlCol="0" anchor="ctr"/>
          <a:lstStyle/>
          <a:p>
            <a:pPr marL="805946" indent="-130951" defTabSz="601186">
              <a:spcBef>
                <a:spcPct val="20000"/>
              </a:spcBef>
            </a:pPr>
            <a:endParaRPr lang="zh-CN" altLang="en-US" sz="900">
              <a:solidFill>
                <a:schemeClr val="bg1"/>
              </a:solidFill>
              <a:latin typeface="FrutigerNext LT Medium" pitchFamily="34" charset="0"/>
              <a:ea typeface="黑体" pitchFamily="2" charset="-122"/>
              <a:cs typeface="Calibri" pitchFamily="34" charset="0"/>
            </a:endParaRPr>
          </a:p>
        </p:txBody>
      </p:sp>
      <p:sp>
        <p:nvSpPr>
          <p:cNvPr id="57" name="椭圆 56"/>
          <p:cNvSpPr/>
          <p:nvPr/>
        </p:nvSpPr>
        <p:spPr bwMode="auto">
          <a:xfrm>
            <a:off x="1471011" y="2473129"/>
            <a:ext cx="1368390" cy="349140"/>
          </a:xfrm>
          <a:prstGeom prst="ellipse">
            <a:avLst/>
          </a:prstGeom>
          <a:noFill/>
          <a:ln w="12700" algn="ctr">
            <a:solidFill>
              <a:srgbClr val="FFC000"/>
            </a:solidFill>
            <a:prstDash val="dash"/>
            <a:miter lim="800000"/>
            <a:headEnd/>
            <a:tailEnd/>
          </a:ln>
        </p:spPr>
        <p:txBody>
          <a:bodyPr wrap="square" lIns="26998" tIns="33335" rIns="26998" bIns="33335" rtlCol="0" anchor="ctr"/>
          <a:lstStyle/>
          <a:p>
            <a:pPr marL="805946" indent="-130951" defTabSz="601186">
              <a:spcBef>
                <a:spcPct val="20000"/>
              </a:spcBef>
            </a:pPr>
            <a:endParaRPr lang="zh-CN" altLang="en-US" sz="900">
              <a:solidFill>
                <a:schemeClr val="bg1"/>
              </a:solidFill>
              <a:latin typeface="FrutigerNext LT Medium" pitchFamily="34" charset="0"/>
              <a:ea typeface="黑体" pitchFamily="2" charset="-122"/>
              <a:cs typeface="Calibri" pitchFamily="34" charset="0"/>
            </a:endParaRPr>
          </a:p>
        </p:txBody>
      </p:sp>
      <p:sp>
        <p:nvSpPr>
          <p:cNvPr id="56" name="椭圆 55"/>
          <p:cNvSpPr/>
          <p:nvPr/>
        </p:nvSpPr>
        <p:spPr bwMode="auto">
          <a:xfrm>
            <a:off x="2149642" y="2506216"/>
            <a:ext cx="1944553" cy="279091"/>
          </a:xfrm>
          <a:prstGeom prst="ellipse">
            <a:avLst/>
          </a:prstGeom>
          <a:noFill/>
          <a:ln w="19050" cap="flat" cmpd="sng" algn="ctr">
            <a:solidFill>
              <a:srgbClr val="FFC000"/>
            </a:solidFill>
            <a:prstDash val="dash"/>
            <a:round/>
            <a:headEnd type="none" w="med" len="med"/>
            <a:tailEnd type="none" w="med" len="med"/>
          </a:ln>
          <a:effectLst/>
        </p:spPr>
        <p:txBody>
          <a:bodyPr vert="horz" wrap="square" lIns="59395" tIns="29697" rIns="59395" bIns="29697" numCol="1" rtlCol="0" anchor="t" anchorCtr="0" compatLnSpc="1">
            <a:prstTxWarp prst="textNoShape">
              <a:avLst/>
            </a:prstTxWarp>
            <a:spAutoFit/>
          </a:bodyPr>
          <a:lstStyle/>
          <a:p>
            <a:pPr algn="ctr" defTabSz="601186"/>
            <a:endParaRPr lang="zh-CN" altLang="en-US" sz="900">
              <a:solidFill>
                <a:srgbClr val="FFC000"/>
              </a:solidFill>
              <a:latin typeface="FrutigerNext LT Medium" pitchFamily="34" charset="0"/>
              <a:ea typeface="MS PGothic" pitchFamily="34" charset="-128"/>
            </a:endParaRPr>
          </a:p>
        </p:txBody>
      </p:sp>
      <p:sp>
        <p:nvSpPr>
          <p:cNvPr id="70" name="Rectangle 24"/>
          <p:cNvSpPr>
            <a:spLocks noChangeArrowheads="1"/>
          </p:cNvSpPr>
          <p:nvPr/>
        </p:nvSpPr>
        <p:spPr bwMode="auto">
          <a:xfrm>
            <a:off x="2570883" y="3557095"/>
            <a:ext cx="1010207" cy="346230"/>
          </a:xfrm>
          <a:prstGeom prst="rect">
            <a:avLst/>
          </a:prstGeom>
          <a:noFill/>
          <a:ln w="9525" algn="ctr">
            <a:noFill/>
            <a:miter lim="800000"/>
            <a:headEnd/>
            <a:tailEnd/>
          </a:ln>
          <a:effectLst/>
        </p:spPr>
        <p:txBody>
          <a:bodyPr wrap="square" lIns="68561" tIns="34281" rIns="68561" bIns="34281">
            <a:spAutoFit/>
          </a:bodyPr>
          <a:lstStyle/>
          <a:p>
            <a:pPr fontAlgn="base">
              <a:spcBef>
                <a:spcPct val="0"/>
              </a:spcBef>
              <a:spcAft>
                <a:spcPct val="0"/>
              </a:spcAft>
            </a:pPr>
            <a:r>
              <a:rPr lang="en-US" altLang="zh-CN" sz="900" dirty="0">
                <a:solidFill>
                  <a:schemeClr val="bg1"/>
                </a:solidFill>
                <a:latin typeface="FrutigerNext LT Medium" pitchFamily="34" charset="0"/>
              </a:rPr>
              <a:t>Diesel Generation plant</a:t>
            </a:r>
            <a:endParaRPr lang="en-US" altLang="zh-CN" sz="900" dirty="0">
              <a:solidFill>
                <a:schemeClr val="bg1"/>
              </a:solidFill>
              <a:latin typeface="FrutigerNext LT Medium" pitchFamily="34" charset="0"/>
            </a:endParaRPr>
          </a:p>
        </p:txBody>
      </p:sp>
      <p:sp>
        <p:nvSpPr>
          <p:cNvPr id="71" name="Rectangle 24"/>
          <p:cNvSpPr>
            <a:spLocks noChangeArrowheads="1"/>
          </p:cNvSpPr>
          <p:nvPr/>
        </p:nvSpPr>
        <p:spPr bwMode="auto">
          <a:xfrm>
            <a:off x="1312886" y="3592351"/>
            <a:ext cx="1292623" cy="207731"/>
          </a:xfrm>
          <a:prstGeom prst="rect">
            <a:avLst/>
          </a:prstGeom>
          <a:noFill/>
          <a:ln w="9525" algn="ctr">
            <a:noFill/>
            <a:miter lim="800000"/>
            <a:headEnd/>
            <a:tailEnd/>
          </a:ln>
          <a:effectLst/>
        </p:spPr>
        <p:txBody>
          <a:bodyPr wrap="none" lIns="68561" tIns="34281" rIns="68561" bIns="34281">
            <a:spAutoFit/>
          </a:bodyPr>
          <a:lstStyle/>
          <a:p>
            <a:pPr fontAlgn="base">
              <a:spcBef>
                <a:spcPct val="0"/>
              </a:spcBef>
              <a:spcAft>
                <a:spcPct val="0"/>
              </a:spcAft>
            </a:pPr>
            <a:r>
              <a:rPr lang="en-US" altLang="zh-CN" sz="900" dirty="0">
                <a:solidFill>
                  <a:schemeClr val="bg1"/>
                </a:solidFill>
                <a:latin typeface="FrutigerNext LT Medium" pitchFamily="34" charset="0"/>
              </a:rPr>
              <a:t>Energy </a:t>
            </a:r>
            <a:r>
              <a:rPr lang="en-US" altLang="zh-CN" sz="900" dirty="0">
                <a:solidFill>
                  <a:schemeClr val="bg1"/>
                </a:solidFill>
                <a:latin typeface="FrutigerNext LT Medium" pitchFamily="34" charset="0"/>
              </a:rPr>
              <a:t>storage </a:t>
            </a:r>
            <a:r>
              <a:rPr lang="en-US" altLang="zh-CN" sz="900" dirty="0">
                <a:solidFill>
                  <a:schemeClr val="bg1"/>
                </a:solidFill>
                <a:latin typeface="FrutigerNext LT Medium" pitchFamily="34" charset="0"/>
              </a:rPr>
              <a:t>station</a:t>
            </a:r>
            <a:endParaRPr lang="en-US" altLang="zh-CN" sz="900" dirty="0">
              <a:solidFill>
                <a:schemeClr val="bg1"/>
              </a:solidFill>
              <a:latin typeface="FrutigerNext LT Medium" pitchFamily="34" charset="0"/>
            </a:endParaRPr>
          </a:p>
        </p:txBody>
      </p:sp>
      <p:sp>
        <p:nvSpPr>
          <p:cNvPr id="72" name="Rectangle 24"/>
          <p:cNvSpPr>
            <a:spLocks noChangeArrowheads="1"/>
          </p:cNvSpPr>
          <p:nvPr/>
        </p:nvSpPr>
        <p:spPr bwMode="auto">
          <a:xfrm>
            <a:off x="963350" y="2349064"/>
            <a:ext cx="401355" cy="346230"/>
          </a:xfrm>
          <a:prstGeom prst="rect">
            <a:avLst/>
          </a:prstGeom>
          <a:noFill/>
          <a:ln w="9525" algn="ctr">
            <a:noFill/>
            <a:miter lim="800000"/>
            <a:headEnd/>
            <a:tailEnd/>
          </a:ln>
          <a:effectLst/>
        </p:spPr>
        <p:txBody>
          <a:bodyPr wrap="none" lIns="68561" tIns="34281" rIns="68561" bIns="34281">
            <a:spAutoFit/>
          </a:bodyPr>
          <a:lstStyle/>
          <a:p>
            <a:pPr algn="ctr" fontAlgn="base">
              <a:spcBef>
                <a:spcPct val="0"/>
              </a:spcBef>
              <a:spcAft>
                <a:spcPct val="0"/>
              </a:spcAft>
            </a:pPr>
            <a:r>
              <a:rPr lang="en-US" altLang="zh-CN" sz="900" dirty="0">
                <a:solidFill>
                  <a:schemeClr val="bg1"/>
                </a:solidFill>
                <a:latin typeface="FrutigerNext LT Medium" pitchFamily="34" charset="0"/>
              </a:rPr>
              <a:t>Wind</a:t>
            </a:r>
          </a:p>
          <a:p>
            <a:pPr algn="ctr" fontAlgn="base">
              <a:spcBef>
                <a:spcPct val="0"/>
              </a:spcBef>
              <a:spcAft>
                <a:spcPct val="0"/>
              </a:spcAft>
            </a:pPr>
            <a:r>
              <a:rPr lang="en-US" altLang="zh-CN" sz="900" dirty="0">
                <a:solidFill>
                  <a:schemeClr val="bg1"/>
                </a:solidFill>
                <a:latin typeface="FrutigerNext LT Medium" pitchFamily="34" charset="0"/>
              </a:rPr>
              <a:t>plant</a:t>
            </a:r>
          </a:p>
        </p:txBody>
      </p:sp>
      <p:sp>
        <p:nvSpPr>
          <p:cNvPr id="73" name="Rectangle 24"/>
          <p:cNvSpPr>
            <a:spLocks noChangeArrowheads="1"/>
          </p:cNvSpPr>
          <p:nvPr/>
        </p:nvSpPr>
        <p:spPr bwMode="auto">
          <a:xfrm>
            <a:off x="495034" y="3437362"/>
            <a:ext cx="658753" cy="346230"/>
          </a:xfrm>
          <a:prstGeom prst="rect">
            <a:avLst/>
          </a:prstGeom>
          <a:noFill/>
          <a:ln w="9525" algn="ctr">
            <a:noFill/>
            <a:miter lim="800000"/>
            <a:headEnd/>
            <a:tailEnd/>
          </a:ln>
          <a:effectLst/>
        </p:spPr>
        <p:txBody>
          <a:bodyPr wrap="square" lIns="68561" tIns="34281" rIns="68561" bIns="34281">
            <a:spAutoFit/>
          </a:bodyPr>
          <a:lstStyle/>
          <a:p>
            <a:pPr algn="ctr" fontAlgn="base">
              <a:spcBef>
                <a:spcPct val="0"/>
              </a:spcBef>
              <a:spcAft>
                <a:spcPct val="0"/>
              </a:spcAft>
            </a:pPr>
            <a:r>
              <a:rPr lang="en-US" altLang="zh-CN" sz="900" dirty="0">
                <a:solidFill>
                  <a:schemeClr val="bg1"/>
                </a:solidFill>
                <a:latin typeface="FrutigerNext LT Medium" pitchFamily="34" charset="0"/>
              </a:rPr>
              <a:t>Ground PV plant</a:t>
            </a:r>
            <a:endParaRPr lang="en-US" altLang="zh-CN" sz="900" dirty="0">
              <a:solidFill>
                <a:schemeClr val="bg1"/>
              </a:solidFill>
              <a:latin typeface="FrutigerNext LT Medium" pitchFamily="34" charset="0"/>
            </a:endParaRPr>
          </a:p>
        </p:txBody>
      </p:sp>
      <p:sp>
        <p:nvSpPr>
          <p:cNvPr id="74" name="Rectangle 24"/>
          <p:cNvSpPr>
            <a:spLocks noChangeArrowheads="1"/>
          </p:cNvSpPr>
          <p:nvPr/>
        </p:nvSpPr>
        <p:spPr bwMode="auto">
          <a:xfrm>
            <a:off x="1872946" y="2802995"/>
            <a:ext cx="1190031" cy="207731"/>
          </a:xfrm>
          <a:prstGeom prst="rect">
            <a:avLst/>
          </a:prstGeom>
          <a:noFill/>
          <a:ln w="9525" algn="ctr">
            <a:noFill/>
            <a:miter lim="800000"/>
            <a:headEnd/>
            <a:tailEnd/>
          </a:ln>
          <a:effectLst/>
        </p:spPr>
        <p:txBody>
          <a:bodyPr wrap="none" lIns="68561" tIns="34281" rIns="68561" bIns="34281">
            <a:spAutoFit/>
          </a:bodyPr>
          <a:lstStyle/>
          <a:p>
            <a:pPr fontAlgn="base">
              <a:spcBef>
                <a:spcPct val="0"/>
              </a:spcBef>
              <a:spcAft>
                <a:spcPct val="0"/>
              </a:spcAft>
            </a:pPr>
            <a:r>
              <a:rPr lang="en-US" altLang="zh-CN" sz="900" dirty="0">
                <a:solidFill>
                  <a:schemeClr val="bg1"/>
                </a:solidFill>
                <a:latin typeface="FrutigerNext LT Medium" pitchFamily="34" charset="0"/>
              </a:rPr>
              <a:t>Thermal power plant</a:t>
            </a:r>
          </a:p>
        </p:txBody>
      </p:sp>
      <p:sp>
        <p:nvSpPr>
          <p:cNvPr id="76" name="Rectangle 24"/>
          <p:cNvSpPr>
            <a:spLocks noChangeArrowheads="1"/>
          </p:cNvSpPr>
          <p:nvPr/>
        </p:nvSpPr>
        <p:spPr bwMode="auto">
          <a:xfrm>
            <a:off x="3480990" y="3459132"/>
            <a:ext cx="807610" cy="346230"/>
          </a:xfrm>
          <a:prstGeom prst="rect">
            <a:avLst/>
          </a:prstGeom>
          <a:noFill/>
          <a:ln w="9525" algn="ctr">
            <a:noFill/>
            <a:miter lim="800000"/>
            <a:headEnd/>
            <a:tailEnd/>
          </a:ln>
          <a:effectLst/>
        </p:spPr>
        <p:txBody>
          <a:bodyPr wrap="square" lIns="68561" tIns="34281" rIns="68561" bIns="34281">
            <a:spAutoFit/>
          </a:bodyPr>
          <a:lstStyle/>
          <a:p>
            <a:pPr fontAlgn="base">
              <a:spcBef>
                <a:spcPct val="0"/>
              </a:spcBef>
              <a:spcAft>
                <a:spcPct val="0"/>
              </a:spcAft>
            </a:pPr>
            <a:r>
              <a:rPr lang="en-US" altLang="zh-CN" sz="900" dirty="0">
                <a:solidFill>
                  <a:schemeClr val="bg1"/>
                </a:solidFill>
                <a:latin typeface="FrutigerNext LT Medium" pitchFamily="34" charset="0"/>
              </a:rPr>
              <a:t>Distributed PV plant</a:t>
            </a:r>
            <a:endParaRPr lang="en-US" altLang="zh-CN" sz="900" dirty="0">
              <a:solidFill>
                <a:schemeClr val="bg1"/>
              </a:solidFill>
              <a:latin typeface="FrutigerNext LT Medium" pitchFamily="34" charset="0"/>
            </a:endParaRPr>
          </a:p>
        </p:txBody>
      </p:sp>
      <p:sp>
        <p:nvSpPr>
          <p:cNvPr id="77" name="Rectangle 24"/>
          <p:cNvSpPr>
            <a:spLocks noChangeArrowheads="1"/>
          </p:cNvSpPr>
          <p:nvPr/>
        </p:nvSpPr>
        <p:spPr bwMode="auto">
          <a:xfrm>
            <a:off x="4084854" y="3091380"/>
            <a:ext cx="696306" cy="207731"/>
          </a:xfrm>
          <a:prstGeom prst="rect">
            <a:avLst/>
          </a:prstGeom>
          <a:noFill/>
          <a:ln w="9525" algn="ctr">
            <a:noFill/>
            <a:miter lim="800000"/>
            <a:headEnd/>
            <a:tailEnd/>
          </a:ln>
          <a:effectLst/>
        </p:spPr>
        <p:txBody>
          <a:bodyPr wrap="none" lIns="68561" tIns="34281" rIns="68561" bIns="34281">
            <a:spAutoFit/>
          </a:bodyPr>
          <a:lstStyle/>
          <a:p>
            <a:pPr fontAlgn="base">
              <a:spcBef>
                <a:spcPct val="0"/>
              </a:spcBef>
              <a:spcAft>
                <a:spcPct val="0"/>
              </a:spcAft>
            </a:pPr>
            <a:r>
              <a:rPr lang="en-US" altLang="zh-CN" sz="900" dirty="0">
                <a:solidFill>
                  <a:schemeClr val="bg1"/>
                </a:solidFill>
                <a:latin typeface="FrutigerNext LT Medium" pitchFamily="34" charset="0"/>
              </a:rPr>
              <a:t>EV or HEV</a:t>
            </a:r>
          </a:p>
        </p:txBody>
      </p:sp>
      <p:sp>
        <p:nvSpPr>
          <p:cNvPr id="80" name="Rectangle 2"/>
          <p:cNvSpPr>
            <a:spLocks noChangeArrowheads="1"/>
          </p:cNvSpPr>
          <p:nvPr/>
        </p:nvSpPr>
        <p:spPr bwMode="auto">
          <a:xfrm>
            <a:off x="547508" y="1636355"/>
            <a:ext cx="8048177" cy="339653"/>
          </a:xfrm>
          <a:prstGeom prst="rect">
            <a:avLst/>
          </a:prstGeom>
          <a:noFill/>
          <a:ln w="9525" algn="ctr">
            <a:noFill/>
            <a:miter lim="800000"/>
            <a:headEnd/>
            <a:tailEnd/>
          </a:ln>
        </p:spPr>
        <p:txBody>
          <a:bodyPr wrap="none" lIns="68561" tIns="34281" rIns="68561" bIns="34281" anchor="ctr"/>
          <a:lstStyle/>
          <a:p>
            <a:pPr algn="ctr">
              <a:buClrTx/>
              <a:buSzTx/>
              <a:buFontTx/>
              <a:buNone/>
            </a:pPr>
            <a:r>
              <a:rPr lang="en-US" altLang="zh-CN" b="1" dirty="0" smtClean="0">
                <a:solidFill>
                  <a:srgbClr val="FFFF00"/>
                </a:solidFill>
                <a:latin typeface="FrutigerNext LT Medium" pitchFamily="34" charset="0"/>
                <a:cs typeface="Arial" pitchFamily="34" charset="0"/>
              </a:rPr>
              <a:t>Wide Solutions Scope From Pan-Sun to Grid, From Grid to Chip</a:t>
            </a:r>
            <a:endParaRPr lang="zh-CN" altLang="en-US" sz="1350" b="1" dirty="0">
              <a:solidFill>
                <a:srgbClr val="FFFF00"/>
              </a:solidFill>
              <a:latin typeface="FrutigerNext LT Medium" pitchFamily="34" charset="0"/>
              <a:cs typeface="Arial" pitchFamily="34" charset="0"/>
            </a:endParaRPr>
          </a:p>
        </p:txBody>
      </p:sp>
      <p:sp>
        <p:nvSpPr>
          <p:cNvPr id="81" name="右箭头 80"/>
          <p:cNvSpPr/>
          <p:nvPr/>
        </p:nvSpPr>
        <p:spPr>
          <a:xfrm>
            <a:off x="415035" y="1876853"/>
            <a:ext cx="8369826" cy="509371"/>
          </a:xfrm>
          <a:prstGeom prst="rightArrow">
            <a:avLst>
              <a:gd name="adj1" fmla="val 50000"/>
              <a:gd name="adj2" fmla="val 3876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FrutigerNext LT Medium" pitchFamily="34" charset="0"/>
            </a:endParaRPr>
          </a:p>
        </p:txBody>
      </p:sp>
      <p:sp>
        <p:nvSpPr>
          <p:cNvPr id="83" name="AutoShape 37"/>
          <p:cNvSpPr>
            <a:spLocks noChangeArrowheads="1"/>
          </p:cNvSpPr>
          <p:nvPr/>
        </p:nvSpPr>
        <p:spPr bwMode="auto">
          <a:xfrm>
            <a:off x="1633164" y="1979235"/>
            <a:ext cx="2286397" cy="285791"/>
          </a:xfrm>
          <a:prstGeom prst="roundRect">
            <a:avLst>
              <a:gd name="adj" fmla="val 30833"/>
            </a:avLst>
          </a:prstGeom>
          <a:noFill/>
          <a:ln w="9525">
            <a:noFill/>
            <a:round/>
            <a:headEnd/>
            <a:tailEnd/>
          </a:ln>
          <a:effectLst/>
        </p:spPr>
        <p:txBody>
          <a:bodyPr wrap="none" lIns="68561" tIns="34281" rIns="68561" bIns="34281" anchor="ctr"/>
          <a:lstStyle/>
          <a:p>
            <a:pPr algn="ctr" fontAlgn="base">
              <a:spcBef>
                <a:spcPct val="0"/>
              </a:spcBef>
              <a:spcAft>
                <a:spcPct val="0"/>
              </a:spcAft>
            </a:pPr>
            <a:r>
              <a:rPr lang="en-US" altLang="zh-CN" sz="1500" b="1" dirty="0">
                <a:solidFill>
                  <a:schemeClr val="bg1"/>
                </a:solidFill>
                <a:latin typeface="FrutigerNext LT Medium" pitchFamily="34" charset="0"/>
              </a:rPr>
              <a:t>To</a:t>
            </a:r>
            <a:endParaRPr lang="en-US" altLang="zh-CN" sz="1500" b="1" dirty="0">
              <a:solidFill>
                <a:schemeClr val="bg1"/>
              </a:solidFill>
              <a:latin typeface="FrutigerNext LT Medium" pitchFamily="34" charset="0"/>
            </a:endParaRPr>
          </a:p>
        </p:txBody>
      </p:sp>
      <p:sp>
        <p:nvSpPr>
          <p:cNvPr id="84" name="AutoShape 39"/>
          <p:cNvSpPr>
            <a:spLocks noChangeArrowheads="1"/>
          </p:cNvSpPr>
          <p:nvPr/>
        </p:nvSpPr>
        <p:spPr bwMode="auto">
          <a:xfrm>
            <a:off x="309873" y="1979235"/>
            <a:ext cx="1371838" cy="285791"/>
          </a:xfrm>
          <a:prstGeom prst="roundRect">
            <a:avLst>
              <a:gd name="adj" fmla="val 30833"/>
            </a:avLst>
          </a:prstGeom>
          <a:noFill/>
          <a:ln w="9525">
            <a:noFill/>
            <a:round/>
            <a:headEnd/>
            <a:tailEnd/>
          </a:ln>
          <a:effectLst/>
        </p:spPr>
        <p:txBody>
          <a:bodyPr wrap="none" lIns="68561" tIns="34281" rIns="68561" bIns="34281" anchor="ctr"/>
          <a:lstStyle/>
          <a:p>
            <a:pPr algn="ctr" fontAlgn="base">
              <a:spcBef>
                <a:spcPct val="0"/>
              </a:spcBef>
              <a:spcAft>
                <a:spcPct val="0"/>
              </a:spcAft>
            </a:pPr>
            <a:r>
              <a:rPr lang="en-US" altLang="zh-CN" sz="1500" b="1" dirty="0">
                <a:solidFill>
                  <a:schemeClr val="bg1"/>
                </a:solidFill>
                <a:latin typeface="FrutigerNext LT Medium" pitchFamily="34" charset="0"/>
              </a:rPr>
              <a:t>Pan-sun</a:t>
            </a:r>
          </a:p>
        </p:txBody>
      </p:sp>
      <p:sp>
        <p:nvSpPr>
          <p:cNvPr id="94" name="AutoShape 41"/>
          <p:cNvSpPr>
            <a:spLocks noChangeArrowheads="1"/>
          </p:cNvSpPr>
          <p:nvPr/>
        </p:nvSpPr>
        <p:spPr bwMode="auto">
          <a:xfrm>
            <a:off x="2962214" y="1979235"/>
            <a:ext cx="1676691" cy="285791"/>
          </a:xfrm>
          <a:prstGeom prst="roundRect">
            <a:avLst>
              <a:gd name="adj" fmla="val 30833"/>
            </a:avLst>
          </a:prstGeom>
          <a:noFill/>
          <a:ln w="9525">
            <a:noFill/>
            <a:round/>
            <a:headEnd/>
            <a:tailEnd/>
          </a:ln>
          <a:effectLst/>
        </p:spPr>
        <p:txBody>
          <a:bodyPr wrap="none" lIns="68561" tIns="34281" rIns="68561" bIns="34281" anchor="ctr"/>
          <a:lstStyle/>
          <a:p>
            <a:pPr algn="ctr" fontAlgn="base">
              <a:spcBef>
                <a:spcPct val="0"/>
              </a:spcBef>
              <a:spcAft>
                <a:spcPct val="0"/>
              </a:spcAft>
            </a:pPr>
            <a:r>
              <a:rPr lang="en-US" altLang="zh-CN" sz="1500" b="1" dirty="0">
                <a:solidFill>
                  <a:schemeClr val="bg1"/>
                </a:solidFill>
                <a:latin typeface="FrutigerNext LT Medium" pitchFamily="34" charset="0"/>
              </a:rPr>
              <a:t>(Micro) Grid</a:t>
            </a:r>
            <a:endParaRPr lang="en-US" altLang="zh-CN" sz="1500" b="1" dirty="0">
              <a:solidFill>
                <a:schemeClr val="bg1"/>
              </a:solidFill>
              <a:latin typeface="FrutigerNext LT Medium" pitchFamily="34" charset="0"/>
            </a:endParaRPr>
          </a:p>
        </p:txBody>
      </p:sp>
      <p:grpSp>
        <p:nvGrpSpPr>
          <p:cNvPr id="2" name="组合 589"/>
          <p:cNvGrpSpPr/>
          <p:nvPr/>
        </p:nvGrpSpPr>
        <p:grpSpPr>
          <a:xfrm flipH="1">
            <a:off x="4109513" y="2817441"/>
            <a:ext cx="685586" cy="311657"/>
            <a:chOff x="4194175" y="5092700"/>
            <a:chExt cx="1374775" cy="658813"/>
          </a:xfrm>
          <a:solidFill>
            <a:schemeClr val="bg1"/>
          </a:solidFill>
        </p:grpSpPr>
        <p:sp>
          <p:nvSpPr>
            <p:cNvPr id="117" name="Freeform 110"/>
            <p:cNvSpPr>
              <a:spLocks noEditPoints="1"/>
            </p:cNvSpPr>
            <p:nvPr/>
          </p:nvSpPr>
          <p:spPr bwMode="auto">
            <a:xfrm>
              <a:off x="4249738" y="5646738"/>
              <a:ext cx="1263650" cy="41275"/>
            </a:xfrm>
            <a:custGeom>
              <a:avLst/>
              <a:gdLst/>
              <a:ahLst/>
              <a:cxnLst>
                <a:cxn ang="0">
                  <a:pos x="0" y="0"/>
                </a:cxn>
                <a:cxn ang="0">
                  <a:pos x="1129" y="0"/>
                </a:cxn>
                <a:cxn ang="0">
                  <a:pos x="1144" y="63"/>
                </a:cxn>
                <a:cxn ang="0">
                  <a:pos x="1161" y="127"/>
                </a:cxn>
                <a:cxn ang="0">
                  <a:pos x="1170" y="159"/>
                </a:cxn>
                <a:cxn ang="0">
                  <a:pos x="1180" y="190"/>
                </a:cxn>
                <a:cxn ang="0">
                  <a:pos x="1190" y="222"/>
                </a:cxn>
                <a:cxn ang="0">
                  <a:pos x="1200" y="252"/>
                </a:cxn>
                <a:cxn ang="0">
                  <a:pos x="1223" y="314"/>
                </a:cxn>
                <a:cxn ang="0">
                  <a:pos x="1247" y="374"/>
                </a:cxn>
                <a:cxn ang="0">
                  <a:pos x="1260" y="404"/>
                </a:cxn>
                <a:cxn ang="0">
                  <a:pos x="1272" y="434"/>
                </a:cxn>
                <a:cxn ang="0">
                  <a:pos x="1287" y="463"/>
                </a:cxn>
                <a:cxn ang="0">
                  <a:pos x="1300" y="492"/>
                </a:cxn>
                <a:cxn ang="0">
                  <a:pos x="0" y="492"/>
                </a:cxn>
                <a:cxn ang="0">
                  <a:pos x="0" y="0"/>
                </a:cxn>
                <a:cxn ang="0">
                  <a:pos x="5395" y="0"/>
                </a:cxn>
                <a:cxn ang="0">
                  <a:pos x="10024" y="0"/>
                </a:cxn>
                <a:cxn ang="0">
                  <a:pos x="10039" y="63"/>
                </a:cxn>
                <a:cxn ang="0">
                  <a:pos x="10056" y="127"/>
                </a:cxn>
                <a:cxn ang="0">
                  <a:pos x="10065" y="159"/>
                </a:cxn>
                <a:cxn ang="0">
                  <a:pos x="10074" y="190"/>
                </a:cxn>
                <a:cxn ang="0">
                  <a:pos x="10084" y="222"/>
                </a:cxn>
                <a:cxn ang="0">
                  <a:pos x="10096" y="252"/>
                </a:cxn>
                <a:cxn ang="0">
                  <a:pos x="10106" y="283"/>
                </a:cxn>
                <a:cxn ang="0">
                  <a:pos x="10117" y="314"/>
                </a:cxn>
                <a:cxn ang="0">
                  <a:pos x="10130" y="345"/>
                </a:cxn>
                <a:cxn ang="0">
                  <a:pos x="10142" y="374"/>
                </a:cxn>
                <a:cxn ang="0">
                  <a:pos x="10168" y="434"/>
                </a:cxn>
                <a:cxn ang="0">
                  <a:pos x="10196" y="492"/>
                </a:cxn>
                <a:cxn ang="0">
                  <a:pos x="5223" y="492"/>
                </a:cxn>
                <a:cxn ang="0">
                  <a:pos x="5250" y="434"/>
                </a:cxn>
                <a:cxn ang="0">
                  <a:pos x="5277" y="374"/>
                </a:cxn>
                <a:cxn ang="0">
                  <a:pos x="5300" y="314"/>
                </a:cxn>
                <a:cxn ang="0">
                  <a:pos x="5323" y="252"/>
                </a:cxn>
                <a:cxn ang="0">
                  <a:pos x="5344" y="190"/>
                </a:cxn>
                <a:cxn ang="0">
                  <a:pos x="5363" y="127"/>
                </a:cxn>
                <a:cxn ang="0">
                  <a:pos x="5380" y="63"/>
                </a:cxn>
                <a:cxn ang="0">
                  <a:pos x="5395" y="0"/>
                </a:cxn>
                <a:cxn ang="0">
                  <a:pos x="14290" y="0"/>
                </a:cxn>
                <a:cxn ang="0">
                  <a:pos x="15132" y="0"/>
                </a:cxn>
                <a:cxn ang="0">
                  <a:pos x="15132" y="492"/>
                </a:cxn>
                <a:cxn ang="0">
                  <a:pos x="14118" y="492"/>
                </a:cxn>
                <a:cxn ang="0">
                  <a:pos x="14146" y="434"/>
                </a:cxn>
                <a:cxn ang="0">
                  <a:pos x="14171" y="374"/>
                </a:cxn>
                <a:cxn ang="0">
                  <a:pos x="14196" y="314"/>
                </a:cxn>
                <a:cxn ang="0">
                  <a:pos x="14219" y="252"/>
                </a:cxn>
                <a:cxn ang="0">
                  <a:pos x="14239" y="190"/>
                </a:cxn>
                <a:cxn ang="0">
                  <a:pos x="14258" y="127"/>
                </a:cxn>
                <a:cxn ang="0">
                  <a:pos x="14274" y="63"/>
                </a:cxn>
                <a:cxn ang="0">
                  <a:pos x="14290" y="0"/>
                </a:cxn>
              </a:cxnLst>
              <a:rect l="0" t="0" r="r" b="b"/>
              <a:pathLst>
                <a:path w="15132" h="492">
                  <a:moveTo>
                    <a:pt x="0" y="0"/>
                  </a:moveTo>
                  <a:lnTo>
                    <a:pt x="1129" y="0"/>
                  </a:lnTo>
                  <a:lnTo>
                    <a:pt x="1144" y="63"/>
                  </a:lnTo>
                  <a:lnTo>
                    <a:pt x="1161" y="127"/>
                  </a:lnTo>
                  <a:lnTo>
                    <a:pt x="1170" y="159"/>
                  </a:lnTo>
                  <a:lnTo>
                    <a:pt x="1180" y="190"/>
                  </a:lnTo>
                  <a:lnTo>
                    <a:pt x="1190" y="222"/>
                  </a:lnTo>
                  <a:lnTo>
                    <a:pt x="1200" y="252"/>
                  </a:lnTo>
                  <a:lnTo>
                    <a:pt x="1223" y="314"/>
                  </a:lnTo>
                  <a:lnTo>
                    <a:pt x="1247" y="374"/>
                  </a:lnTo>
                  <a:lnTo>
                    <a:pt x="1260" y="404"/>
                  </a:lnTo>
                  <a:lnTo>
                    <a:pt x="1272" y="434"/>
                  </a:lnTo>
                  <a:lnTo>
                    <a:pt x="1287" y="463"/>
                  </a:lnTo>
                  <a:lnTo>
                    <a:pt x="1300" y="492"/>
                  </a:lnTo>
                  <a:lnTo>
                    <a:pt x="0" y="492"/>
                  </a:lnTo>
                  <a:lnTo>
                    <a:pt x="0" y="0"/>
                  </a:lnTo>
                  <a:close/>
                  <a:moveTo>
                    <a:pt x="5395" y="0"/>
                  </a:moveTo>
                  <a:lnTo>
                    <a:pt x="10024" y="0"/>
                  </a:lnTo>
                  <a:lnTo>
                    <a:pt x="10039" y="63"/>
                  </a:lnTo>
                  <a:lnTo>
                    <a:pt x="10056" y="127"/>
                  </a:lnTo>
                  <a:lnTo>
                    <a:pt x="10065" y="159"/>
                  </a:lnTo>
                  <a:lnTo>
                    <a:pt x="10074" y="190"/>
                  </a:lnTo>
                  <a:lnTo>
                    <a:pt x="10084" y="222"/>
                  </a:lnTo>
                  <a:lnTo>
                    <a:pt x="10096" y="252"/>
                  </a:lnTo>
                  <a:lnTo>
                    <a:pt x="10106" y="283"/>
                  </a:lnTo>
                  <a:lnTo>
                    <a:pt x="10117" y="314"/>
                  </a:lnTo>
                  <a:lnTo>
                    <a:pt x="10130" y="345"/>
                  </a:lnTo>
                  <a:lnTo>
                    <a:pt x="10142" y="374"/>
                  </a:lnTo>
                  <a:lnTo>
                    <a:pt x="10168" y="434"/>
                  </a:lnTo>
                  <a:lnTo>
                    <a:pt x="10196" y="492"/>
                  </a:lnTo>
                  <a:lnTo>
                    <a:pt x="5223" y="492"/>
                  </a:lnTo>
                  <a:lnTo>
                    <a:pt x="5250" y="434"/>
                  </a:lnTo>
                  <a:lnTo>
                    <a:pt x="5277" y="374"/>
                  </a:lnTo>
                  <a:lnTo>
                    <a:pt x="5300" y="314"/>
                  </a:lnTo>
                  <a:lnTo>
                    <a:pt x="5323" y="252"/>
                  </a:lnTo>
                  <a:lnTo>
                    <a:pt x="5344" y="190"/>
                  </a:lnTo>
                  <a:lnTo>
                    <a:pt x="5363" y="127"/>
                  </a:lnTo>
                  <a:lnTo>
                    <a:pt x="5380" y="63"/>
                  </a:lnTo>
                  <a:lnTo>
                    <a:pt x="5395" y="0"/>
                  </a:lnTo>
                  <a:close/>
                  <a:moveTo>
                    <a:pt x="14290" y="0"/>
                  </a:moveTo>
                  <a:lnTo>
                    <a:pt x="15132" y="0"/>
                  </a:lnTo>
                  <a:lnTo>
                    <a:pt x="15132" y="492"/>
                  </a:lnTo>
                  <a:lnTo>
                    <a:pt x="14118" y="492"/>
                  </a:lnTo>
                  <a:lnTo>
                    <a:pt x="14146" y="434"/>
                  </a:lnTo>
                  <a:lnTo>
                    <a:pt x="14171" y="374"/>
                  </a:lnTo>
                  <a:lnTo>
                    <a:pt x="14196" y="314"/>
                  </a:lnTo>
                  <a:lnTo>
                    <a:pt x="14219" y="252"/>
                  </a:lnTo>
                  <a:lnTo>
                    <a:pt x="14239" y="190"/>
                  </a:lnTo>
                  <a:lnTo>
                    <a:pt x="14258" y="127"/>
                  </a:lnTo>
                  <a:lnTo>
                    <a:pt x="14274" y="63"/>
                  </a:lnTo>
                  <a:lnTo>
                    <a:pt x="14290"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18" name="Freeform 111"/>
            <p:cNvSpPr>
              <a:spLocks noEditPoints="1"/>
            </p:cNvSpPr>
            <p:nvPr/>
          </p:nvSpPr>
          <p:spPr bwMode="auto">
            <a:xfrm>
              <a:off x="4194175" y="5092700"/>
              <a:ext cx="1374775" cy="658813"/>
            </a:xfrm>
            <a:custGeom>
              <a:avLst/>
              <a:gdLst/>
              <a:ahLst/>
              <a:cxnLst>
                <a:cxn ang="0">
                  <a:pos x="15565" y="4694"/>
                </a:cxn>
                <a:cxn ang="0">
                  <a:pos x="14497" y="6534"/>
                </a:cxn>
                <a:cxn ang="0">
                  <a:pos x="14278" y="7070"/>
                </a:cxn>
                <a:cxn ang="0">
                  <a:pos x="13902" y="7499"/>
                </a:cxn>
                <a:cxn ang="0">
                  <a:pos x="13403" y="7782"/>
                </a:cxn>
                <a:cxn ang="0">
                  <a:pos x="12819" y="7885"/>
                </a:cxn>
                <a:cxn ang="0">
                  <a:pos x="12234" y="7782"/>
                </a:cxn>
                <a:cxn ang="0">
                  <a:pos x="11735" y="7499"/>
                </a:cxn>
                <a:cxn ang="0">
                  <a:pos x="11357" y="7070"/>
                </a:cxn>
                <a:cxn ang="0">
                  <a:pos x="11139" y="6534"/>
                </a:cxn>
                <a:cxn ang="0">
                  <a:pos x="5630" y="6366"/>
                </a:cxn>
                <a:cxn ang="0">
                  <a:pos x="5464" y="6926"/>
                </a:cxn>
                <a:cxn ang="0">
                  <a:pos x="5129" y="7390"/>
                </a:cxn>
                <a:cxn ang="0">
                  <a:pos x="4661" y="7718"/>
                </a:cxn>
                <a:cxn ang="0">
                  <a:pos x="4097" y="7877"/>
                </a:cxn>
                <a:cxn ang="0">
                  <a:pos x="3499" y="7831"/>
                </a:cxn>
                <a:cxn ang="0">
                  <a:pos x="2971" y="7596"/>
                </a:cxn>
                <a:cxn ang="0">
                  <a:pos x="2556" y="7205"/>
                </a:cxn>
                <a:cxn ang="0">
                  <a:pos x="2288" y="6695"/>
                </a:cxn>
                <a:cxn ang="0">
                  <a:pos x="0" y="6192"/>
                </a:cxn>
                <a:cxn ang="0">
                  <a:pos x="12951" y="5299"/>
                </a:cxn>
                <a:cxn ang="0">
                  <a:pos x="13234" y="5395"/>
                </a:cxn>
                <a:cxn ang="0">
                  <a:pos x="13465" y="5576"/>
                </a:cxn>
                <a:cxn ang="0">
                  <a:pos x="13623" y="5823"/>
                </a:cxn>
                <a:cxn ang="0">
                  <a:pos x="13691" y="6119"/>
                </a:cxn>
                <a:cxn ang="0">
                  <a:pos x="13653" y="6424"/>
                </a:cxn>
                <a:cxn ang="0">
                  <a:pos x="13518" y="6687"/>
                </a:cxn>
                <a:cxn ang="0">
                  <a:pos x="13306" y="6889"/>
                </a:cxn>
                <a:cxn ang="0">
                  <a:pos x="13036" y="7012"/>
                </a:cxn>
                <a:cxn ang="0">
                  <a:pos x="12729" y="7034"/>
                </a:cxn>
                <a:cxn ang="0">
                  <a:pos x="12440" y="6952"/>
                </a:cxn>
                <a:cxn ang="0">
                  <a:pos x="12201" y="6782"/>
                </a:cxn>
                <a:cxn ang="0">
                  <a:pos x="12031" y="6542"/>
                </a:cxn>
                <a:cxn ang="0">
                  <a:pos x="11949" y="6253"/>
                </a:cxn>
                <a:cxn ang="0">
                  <a:pos x="11972" y="5946"/>
                </a:cxn>
                <a:cxn ang="0">
                  <a:pos x="12094" y="5675"/>
                </a:cxn>
                <a:cxn ang="0">
                  <a:pos x="12296" y="5463"/>
                </a:cxn>
                <a:cxn ang="0">
                  <a:pos x="12559" y="5328"/>
                </a:cxn>
                <a:cxn ang="0">
                  <a:pos x="3923" y="5289"/>
                </a:cxn>
                <a:cxn ang="0">
                  <a:pos x="4224" y="5342"/>
                </a:cxn>
                <a:cxn ang="0">
                  <a:pos x="4479" y="5489"/>
                </a:cxn>
                <a:cxn ang="0">
                  <a:pos x="4670" y="5711"/>
                </a:cxn>
                <a:cxn ang="0">
                  <a:pos x="4779" y="5988"/>
                </a:cxn>
                <a:cxn ang="0">
                  <a:pos x="4787" y="6297"/>
                </a:cxn>
                <a:cxn ang="0">
                  <a:pos x="4691" y="6580"/>
                </a:cxn>
                <a:cxn ang="0">
                  <a:pos x="4510" y="6811"/>
                </a:cxn>
                <a:cxn ang="0">
                  <a:pos x="4263" y="6969"/>
                </a:cxn>
                <a:cxn ang="0">
                  <a:pos x="3968" y="7037"/>
                </a:cxn>
                <a:cxn ang="0">
                  <a:pos x="3664" y="6999"/>
                </a:cxn>
                <a:cxn ang="0">
                  <a:pos x="3401" y="6864"/>
                </a:cxn>
                <a:cxn ang="0">
                  <a:pos x="3199" y="6652"/>
                </a:cxn>
                <a:cxn ang="0">
                  <a:pos x="3077" y="6382"/>
                </a:cxn>
                <a:cxn ang="0">
                  <a:pos x="3054" y="6074"/>
                </a:cxn>
                <a:cxn ang="0">
                  <a:pos x="3136" y="5785"/>
                </a:cxn>
                <a:cxn ang="0">
                  <a:pos x="3306" y="5545"/>
                </a:cxn>
                <a:cxn ang="0">
                  <a:pos x="3545" y="5375"/>
                </a:cxn>
                <a:cxn ang="0">
                  <a:pos x="3834" y="5293"/>
                </a:cxn>
                <a:cxn ang="0">
                  <a:pos x="4469" y="944"/>
                </a:cxn>
              </a:cxnLst>
              <a:rect l="0" t="0" r="r" b="b"/>
              <a:pathLst>
                <a:path w="16454" h="7885">
                  <a:moveTo>
                    <a:pt x="889" y="3618"/>
                  </a:moveTo>
                  <a:lnTo>
                    <a:pt x="2425" y="2994"/>
                  </a:lnTo>
                  <a:lnTo>
                    <a:pt x="4207" y="61"/>
                  </a:lnTo>
                  <a:lnTo>
                    <a:pt x="10146" y="0"/>
                  </a:lnTo>
                  <a:lnTo>
                    <a:pt x="11966" y="2775"/>
                  </a:lnTo>
                  <a:lnTo>
                    <a:pt x="15565" y="3618"/>
                  </a:lnTo>
                  <a:lnTo>
                    <a:pt x="15565" y="4694"/>
                  </a:lnTo>
                  <a:lnTo>
                    <a:pt x="16454" y="4694"/>
                  </a:lnTo>
                  <a:lnTo>
                    <a:pt x="16454" y="6192"/>
                  </a:lnTo>
                  <a:lnTo>
                    <a:pt x="14537" y="6192"/>
                  </a:lnTo>
                  <a:lnTo>
                    <a:pt x="14533" y="6279"/>
                  </a:lnTo>
                  <a:lnTo>
                    <a:pt x="14525" y="6366"/>
                  </a:lnTo>
                  <a:lnTo>
                    <a:pt x="14513" y="6450"/>
                  </a:lnTo>
                  <a:lnTo>
                    <a:pt x="14497" y="6534"/>
                  </a:lnTo>
                  <a:lnTo>
                    <a:pt x="14476" y="6615"/>
                  </a:lnTo>
                  <a:lnTo>
                    <a:pt x="14453" y="6695"/>
                  </a:lnTo>
                  <a:lnTo>
                    <a:pt x="14425" y="6775"/>
                  </a:lnTo>
                  <a:lnTo>
                    <a:pt x="14393" y="6851"/>
                  </a:lnTo>
                  <a:lnTo>
                    <a:pt x="14358" y="6926"/>
                  </a:lnTo>
                  <a:lnTo>
                    <a:pt x="14320" y="6999"/>
                  </a:lnTo>
                  <a:lnTo>
                    <a:pt x="14278" y="7070"/>
                  </a:lnTo>
                  <a:lnTo>
                    <a:pt x="14234" y="7139"/>
                  </a:lnTo>
                  <a:lnTo>
                    <a:pt x="14185" y="7205"/>
                  </a:lnTo>
                  <a:lnTo>
                    <a:pt x="14134" y="7269"/>
                  </a:lnTo>
                  <a:lnTo>
                    <a:pt x="14081" y="7331"/>
                  </a:lnTo>
                  <a:lnTo>
                    <a:pt x="14023" y="7390"/>
                  </a:lnTo>
                  <a:lnTo>
                    <a:pt x="13963" y="7445"/>
                  </a:lnTo>
                  <a:lnTo>
                    <a:pt x="13902" y="7499"/>
                  </a:lnTo>
                  <a:lnTo>
                    <a:pt x="13837" y="7549"/>
                  </a:lnTo>
                  <a:lnTo>
                    <a:pt x="13770" y="7596"/>
                  </a:lnTo>
                  <a:lnTo>
                    <a:pt x="13700" y="7640"/>
                  </a:lnTo>
                  <a:lnTo>
                    <a:pt x="13629" y="7681"/>
                  </a:lnTo>
                  <a:lnTo>
                    <a:pt x="13556" y="7718"/>
                  </a:lnTo>
                  <a:lnTo>
                    <a:pt x="13480" y="7752"/>
                  </a:lnTo>
                  <a:lnTo>
                    <a:pt x="13403" y="7782"/>
                  </a:lnTo>
                  <a:lnTo>
                    <a:pt x="13324" y="7809"/>
                  </a:lnTo>
                  <a:lnTo>
                    <a:pt x="13242" y="7831"/>
                  </a:lnTo>
                  <a:lnTo>
                    <a:pt x="13161" y="7851"/>
                  </a:lnTo>
                  <a:lnTo>
                    <a:pt x="13077" y="7865"/>
                  </a:lnTo>
                  <a:lnTo>
                    <a:pt x="12991" y="7877"/>
                  </a:lnTo>
                  <a:lnTo>
                    <a:pt x="12906" y="7883"/>
                  </a:lnTo>
                  <a:lnTo>
                    <a:pt x="12819" y="7885"/>
                  </a:lnTo>
                  <a:lnTo>
                    <a:pt x="12731" y="7883"/>
                  </a:lnTo>
                  <a:lnTo>
                    <a:pt x="12645" y="7877"/>
                  </a:lnTo>
                  <a:lnTo>
                    <a:pt x="12560" y="7865"/>
                  </a:lnTo>
                  <a:lnTo>
                    <a:pt x="12476" y="7851"/>
                  </a:lnTo>
                  <a:lnTo>
                    <a:pt x="12393" y="7831"/>
                  </a:lnTo>
                  <a:lnTo>
                    <a:pt x="12313" y="7809"/>
                  </a:lnTo>
                  <a:lnTo>
                    <a:pt x="12234" y="7782"/>
                  </a:lnTo>
                  <a:lnTo>
                    <a:pt x="12156" y="7752"/>
                  </a:lnTo>
                  <a:lnTo>
                    <a:pt x="12080" y="7718"/>
                  </a:lnTo>
                  <a:lnTo>
                    <a:pt x="12007" y="7681"/>
                  </a:lnTo>
                  <a:lnTo>
                    <a:pt x="11935" y="7640"/>
                  </a:lnTo>
                  <a:lnTo>
                    <a:pt x="11866" y="7596"/>
                  </a:lnTo>
                  <a:lnTo>
                    <a:pt x="11800" y="7549"/>
                  </a:lnTo>
                  <a:lnTo>
                    <a:pt x="11735" y="7499"/>
                  </a:lnTo>
                  <a:lnTo>
                    <a:pt x="11672" y="7445"/>
                  </a:lnTo>
                  <a:lnTo>
                    <a:pt x="11613" y="7390"/>
                  </a:lnTo>
                  <a:lnTo>
                    <a:pt x="11556" y="7331"/>
                  </a:lnTo>
                  <a:lnTo>
                    <a:pt x="11502" y="7269"/>
                  </a:lnTo>
                  <a:lnTo>
                    <a:pt x="11451" y="7205"/>
                  </a:lnTo>
                  <a:lnTo>
                    <a:pt x="11403" y="7139"/>
                  </a:lnTo>
                  <a:lnTo>
                    <a:pt x="11357" y="7070"/>
                  </a:lnTo>
                  <a:lnTo>
                    <a:pt x="11316" y="6999"/>
                  </a:lnTo>
                  <a:lnTo>
                    <a:pt x="11277" y="6926"/>
                  </a:lnTo>
                  <a:lnTo>
                    <a:pt x="11242" y="6851"/>
                  </a:lnTo>
                  <a:lnTo>
                    <a:pt x="11211" y="6775"/>
                  </a:lnTo>
                  <a:lnTo>
                    <a:pt x="11184" y="6695"/>
                  </a:lnTo>
                  <a:lnTo>
                    <a:pt x="11159" y="6615"/>
                  </a:lnTo>
                  <a:lnTo>
                    <a:pt x="11139" y="6534"/>
                  </a:lnTo>
                  <a:lnTo>
                    <a:pt x="11123" y="6450"/>
                  </a:lnTo>
                  <a:lnTo>
                    <a:pt x="11111" y="6366"/>
                  </a:lnTo>
                  <a:lnTo>
                    <a:pt x="11103" y="6279"/>
                  </a:lnTo>
                  <a:lnTo>
                    <a:pt x="11099" y="6192"/>
                  </a:lnTo>
                  <a:lnTo>
                    <a:pt x="5642" y="6192"/>
                  </a:lnTo>
                  <a:lnTo>
                    <a:pt x="5639" y="6279"/>
                  </a:lnTo>
                  <a:lnTo>
                    <a:pt x="5630" y="6366"/>
                  </a:lnTo>
                  <a:lnTo>
                    <a:pt x="5618" y="6450"/>
                  </a:lnTo>
                  <a:lnTo>
                    <a:pt x="5602" y="6534"/>
                  </a:lnTo>
                  <a:lnTo>
                    <a:pt x="5582" y="6615"/>
                  </a:lnTo>
                  <a:lnTo>
                    <a:pt x="5557" y="6695"/>
                  </a:lnTo>
                  <a:lnTo>
                    <a:pt x="5530" y="6775"/>
                  </a:lnTo>
                  <a:lnTo>
                    <a:pt x="5499" y="6851"/>
                  </a:lnTo>
                  <a:lnTo>
                    <a:pt x="5464" y="6926"/>
                  </a:lnTo>
                  <a:lnTo>
                    <a:pt x="5425" y="6999"/>
                  </a:lnTo>
                  <a:lnTo>
                    <a:pt x="5384" y="7070"/>
                  </a:lnTo>
                  <a:lnTo>
                    <a:pt x="5338" y="7139"/>
                  </a:lnTo>
                  <a:lnTo>
                    <a:pt x="5290" y="7205"/>
                  </a:lnTo>
                  <a:lnTo>
                    <a:pt x="5240" y="7269"/>
                  </a:lnTo>
                  <a:lnTo>
                    <a:pt x="5185" y="7331"/>
                  </a:lnTo>
                  <a:lnTo>
                    <a:pt x="5129" y="7390"/>
                  </a:lnTo>
                  <a:lnTo>
                    <a:pt x="5069" y="7445"/>
                  </a:lnTo>
                  <a:lnTo>
                    <a:pt x="5006" y="7499"/>
                  </a:lnTo>
                  <a:lnTo>
                    <a:pt x="4942" y="7549"/>
                  </a:lnTo>
                  <a:lnTo>
                    <a:pt x="4874" y="7596"/>
                  </a:lnTo>
                  <a:lnTo>
                    <a:pt x="4806" y="7640"/>
                  </a:lnTo>
                  <a:lnTo>
                    <a:pt x="4734" y="7681"/>
                  </a:lnTo>
                  <a:lnTo>
                    <a:pt x="4661" y="7718"/>
                  </a:lnTo>
                  <a:lnTo>
                    <a:pt x="4586" y="7752"/>
                  </a:lnTo>
                  <a:lnTo>
                    <a:pt x="4507" y="7782"/>
                  </a:lnTo>
                  <a:lnTo>
                    <a:pt x="4428" y="7809"/>
                  </a:lnTo>
                  <a:lnTo>
                    <a:pt x="4348" y="7831"/>
                  </a:lnTo>
                  <a:lnTo>
                    <a:pt x="4266" y="7851"/>
                  </a:lnTo>
                  <a:lnTo>
                    <a:pt x="4182" y="7865"/>
                  </a:lnTo>
                  <a:lnTo>
                    <a:pt x="4097" y="7877"/>
                  </a:lnTo>
                  <a:lnTo>
                    <a:pt x="4011" y="7883"/>
                  </a:lnTo>
                  <a:lnTo>
                    <a:pt x="3923" y="7885"/>
                  </a:lnTo>
                  <a:lnTo>
                    <a:pt x="3836" y="7883"/>
                  </a:lnTo>
                  <a:lnTo>
                    <a:pt x="3749" y="7877"/>
                  </a:lnTo>
                  <a:lnTo>
                    <a:pt x="3664" y="7865"/>
                  </a:lnTo>
                  <a:lnTo>
                    <a:pt x="3581" y="7851"/>
                  </a:lnTo>
                  <a:lnTo>
                    <a:pt x="3499" y="7831"/>
                  </a:lnTo>
                  <a:lnTo>
                    <a:pt x="3417" y="7809"/>
                  </a:lnTo>
                  <a:lnTo>
                    <a:pt x="3339" y="7782"/>
                  </a:lnTo>
                  <a:lnTo>
                    <a:pt x="3261" y="7752"/>
                  </a:lnTo>
                  <a:lnTo>
                    <a:pt x="3186" y="7718"/>
                  </a:lnTo>
                  <a:lnTo>
                    <a:pt x="3112" y="7681"/>
                  </a:lnTo>
                  <a:lnTo>
                    <a:pt x="3041" y="7640"/>
                  </a:lnTo>
                  <a:lnTo>
                    <a:pt x="2971" y="7596"/>
                  </a:lnTo>
                  <a:lnTo>
                    <a:pt x="2904" y="7549"/>
                  </a:lnTo>
                  <a:lnTo>
                    <a:pt x="2839" y="7499"/>
                  </a:lnTo>
                  <a:lnTo>
                    <a:pt x="2778" y="7445"/>
                  </a:lnTo>
                  <a:lnTo>
                    <a:pt x="2718" y="7390"/>
                  </a:lnTo>
                  <a:lnTo>
                    <a:pt x="2661" y="7331"/>
                  </a:lnTo>
                  <a:lnTo>
                    <a:pt x="2607" y="7269"/>
                  </a:lnTo>
                  <a:lnTo>
                    <a:pt x="2556" y="7205"/>
                  </a:lnTo>
                  <a:lnTo>
                    <a:pt x="2508" y="7139"/>
                  </a:lnTo>
                  <a:lnTo>
                    <a:pt x="2463" y="7070"/>
                  </a:lnTo>
                  <a:lnTo>
                    <a:pt x="2421" y="6999"/>
                  </a:lnTo>
                  <a:lnTo>
                    <a:pt x="2383" y="6926"/>
                  </a:lnTo>
                  <a:lnTo>
                    <a:pt x="2348" y="6851"/>
                  </a:lnTo>
                  <a:lnTo>
                    <a:pt x="2316" y="6775"/>
                  </a:lnTo>
                  <a:lnTo>
                    <a:pt x="2288" y="6695"/>
                  </a:lnTo>
                  <a:lnTo>
                    <a:pt x="2264" y="6615"/>
                  </a:lnTo>
                  <a:lnTo>
                    <a:pt x="2244" y="6534"/>
                  </a:lnTo>
                  <a:lnTo>
                    <a:pt x="2228" y="6450"/>
                  </a:lnTo>
                  <a:lnTo>
                    <a:pt x="2216" y="6366"/>
                  </a:lnTo>
                  <a:lnTo>
                    <a:pt x="2208" y="6279"/>
                  </a:lnTo>
                  <a:lnTo>
                    <a:pt x="2205" y="6192"/>
                  </a:lnTo>
                  <a:lnTo>
                    <a:pt x="0" y="6192"/>
                  </a:lnTo>
                  <a:lnTo>
                    <a:pt x="0" y="4694"/>
                  </a:lnTo>
                  <a:lnTo>
                    <a:pt x="889" y="4694"/>
                  </a:lnTo>
                  <a:lnTo>
                    <a:pt x="889" y="3618"/>
                  </a:lnTo>
                  <a:close/>
                  <a:moveTo>
                    <a:pt x="12819" y="5289"/>
                  </a:moveTo>
                  <a:lnTo>
                    <a:pt x="12863" y="5290"/>
                  </a:lnTo>
                  <a:lnTo>
                    <a:pt x="12907" y="5293"/>
                  </a:lnTo>
                  <a:lnTo>
                    <a:pt x="12951" y="5299"/>
                  </a:lnTo>
                  <a:lnTo>
                    <a:pt x="12994" y="5306"/>
                  </a:lnTo>
                  <a:lnTo>
                    <a:pt x="13036" y="5316"/>
                  </a:lnTo>
                  <a:lnTo>
                    <a:pt x="13078" y="5328"/>
                  </a:lnTo>
                  <a:lnTo>
                    <a:pt x="13118" y="5342"/>
                  </a:lnTo>
                  <a:lnTo>
                    <a:pt x="13158" y="5358"/>
                  </a:lnTo>
                  <a:lnTo>
                    <a:pt x="13196" y="5375"/>
                  </a:lnTo>
                  <a:lnTo>
                    <a:pt x="13234" y="5395"/>
                  </a:lnTo>
                  <a:lnTo>
                    <a:pt x="13270" y="5416"/>
                  </a:lnTo>
                  <a:lnTo>
                    <a:pt x="13306" y="5439"/>
                  </a:lnTo>
                  <a:lnTo>
                    <a:pt x="13340" y="5463"/>
                  </a:lnTo>
                  <a:lnTo>
                    <a:pt x="13373" y="5489"/>
                  </a:lnTo>
                  <a:lnTo>
                    <a:pt x="13405" y="5516"/>
                  </a:lnTo>
                  <a:lnTo>
                    <a:pt x="13436" y="5545"/>
                  </a:lnTo>
                  <a:lnTo>
                    <a:pt x="13465" y="5576"/>
                  </a:lnTo>
                  <a:lnTo>
                    <a:pt x="13492" y="5608"/>
                  </a:lnTo>
                  <a:lnTo>
                    <a:pt x="13518" y="5641"/>
                  </a:lnTo>
                  <a:lnTo>
                    <a:pt x="13543" y="5675"/>
                  </a:lnTo>
                  <a:lnTo>
                    <a:pt x="13565" y="5711"/>
                  </a:lnTo>
                  <a:lnTo>
                    <a:pt x="13586" y="5747"/>
                  </a:lnTo>
                  <a:lnTo>
                    <a:pt x="13605" y="5785"/>
                  </a:lnTo>
                  <a:lnTo>
                    <a:pt x="13623" y="5823"/>
                  </a:lnTo>
                  <a:lnTo>
                    <a:pt x="13638" y="5863"/>
                  </a:lnTo>
                  <a:lnTo>
                    <a:pt x="13653" y="5904"/>
                  </a:lnTo>
                  <a:lnTo>
                    <a:pt x="13664" y="5946"/>
                  </a:lnTo>
                  <a:lnTo>
                    <a:pt x="13674" y="5988"/>
                  </a:lnTo>
                  <a:lnTo>
                    <a:pt x="13682" y="6031"/>
                  </a:lnTo>
                  <a:lnTo>
                    <a:pt x="13688" y="6074"/>
                  </a:lnTo>
                  <a:lnTo>
                    <a:pt x="13691" y="6119"/>
                  </a:lnTo>
                  <a:lnTo>
                    <a:pt x="13692" y="6164"/>
                  </a:lnTo>
                  <a:lnTo>
                    <a:pt x="13691" y="6208"/>
                  </a:lnTo>
                  <a:lnTo>
                    <a:pt x="13688" y="6253"/>
                  </a:lnTo>
                  <a:lnTo>
                    <a:pt x="13682" y="6297"/>
                  </a:lnTo>
                  <a:lnTo>
                    <a:pt x="13674" y="6340"/>
                  </a:lnTo>
                  <a:lnTo>
                    <a:pt x="13664" y="6382"/>
                  </a:lnTo>
                  <a:lnTo>
                    <a:pt x="13653" y="6424"/>
                  </a:lnTo>
                  <a:lnTo>
                    <a:pt x="13638" y="6464"/>
                  </a:lnTo>
                  <a:lnTo>
                    <a:pt x="13623" y="6504"/>
                  </a:lnTo>
                  <a:lnTo>
                    <a:pt x="13605" y="6542"/>
                  </a:lnTo>
                  <a:lnTo>
                    <a:pt x="13586" y="6580"/>
                  </a:lnTo>
                  <a:lnTo>
                    <a:pt x="13565" y="6617"/>
                  </a:lnTo>
                  <a:lnTo>
                    <a:pt x="13543" y="6652"/>
                  </a:lnTo>
                  <a:lnTo>
                    <a:pt x="13518" y="6687"/>
                  </a:lnTo>
                  <a:lnTo>
                    <a:pt x="13492" y="6720"/>
                  </a:lnTo>
                  <a:lnTo>
                    <a:pt x="13465" y="6751"/>
                  </a:lnTo>
                  <a:lnTo>
                    <a:pt x="13436" y="6782"/>
                  </a:lnTo>
                  <a:lnTo>
                    <a:pt x="13405" y="6811"/>
                  </a:lnTo>
                  <a:lnTo>
                    <a:pt x="13373" y="6839"/>
                  </a:lnTo>
                  <a:lnTo>
                    <a:pt x="13340" y="6864"/>
                  </a:lnTo>
                  <a:lnTo>
                    <a:pt x="13306" y="6889"/>
                  </a:lnTo>
                  <a:lnTo>
                    <a:pt x="13270" y="6912"/>
                  </a:lnTo>
                  <a:lnTo>
                    <a:pt x="13234" y="6933"/>
                  </a:lnTo>
                  <a:lnTo>
                    <a:pt x="13196" y="6952"/>
                  </a:lnTo>
                  <a:lnTo>
                    <a:pt x="13158" y="6969"/>
                  </a:lnTo>
                  <a:lnTo>
                    <a:pt x="13118" y="6986"/>
                  </a:lnTo>
                  <a:lnTo>
                    <a:pt x="13078" y="6999"/>
                  </a:lnTo>
                  <a:lnTo>
                    <a:pt x="13036" y="7012"/>
                  </a:lnTo>
                  <a:lnTo>
                    <a:pt x="12994" y="7021"/>
                  </a:lnTo>
                  <a:lnTo>
                    <a:pt x="12951" y="7028"/>
                  </a:lnTo>
                  <a:lnTo>
                    <a:pt x="12907" y="7034"/>
                  </a:lnTo>
                  <a:lnTo>
                    <a:pt x="12863" y="7037"/>
                  </a:lnTo>
                  <a:lnTo>
                    <a:pt x="12819" y="7038"/>
                  </a:lnTo>
                  <a:lnTo>
                    <a:pt x="12773" y="7037"/>
                  </a:lnTo>
                  <a:lnTo>
                    <a:pt x="12729" y="7034"/>
                  </a:lnTo>
                  <a:lnTo>
                    <a:pt x="12685" y="7028"/>
                  </a:lnTo>
                  <a:lnTo>
                    <a:pt x="12643" y="7021"/>
                  </a:lnTo>
                  <a:lnTo>
                    <a:pt x="12601" y="7012"/>
                  </a:lnTo>
                  <a:lnTo>
                    <a:pt x="12559" y="6999"/>
                  </a:lnTo>
                  <a:lnTo>
                    <a:pt x="12518" y="6986"/>
                  </a:lnTo>
                  <a:lnTo>
                    <a:pt x="12478" y="6969"/>
                  </a:lnTo>
                  <a:lnTo>
                    <a:pt x="12440" y="6952"/>
                  </a:lnTo>
                  <a:lnTo>
                    <a:pt x="12402" y="6933"/>
                  </a:lnTo>
                  <a:lnTo>
                    <a:pt x="12366" y="6912"/>
                  </a:lnTo>
                  <a:lnTo>
                    <a:pt x="12330" y="6889"/>
                  </a:lnTo>
                  <a:lnTo>
                    <a:pt x="12296" y="6864"/>
                  </a:lnTo>
                  <a:lnTo>
                    <a:pt x="12263" y="6839"/>
                  </a:lnTo>
                  <a:lnTo>
                    <a:pt x="12231" y="6811"/>
                  </a:lnTo>
                  <a:lnTo>
                    <a:pt x="12201" y="6782"/>
                  </a:lnTo>
                  <a:lnTo>
                    <a:pt x="12172" y="6751"/>
                  </a:lnTo>
                  <a:lnTo>
                    <a:pt x="12144" y="6720"/>
                  </a:lnTo>
                  <a:lnTo>
                    <a:pt x="12118" y="6687"/>
                  </a:lnTo>
                  <a:lnTo>
                    <a:pt x="12094" y="6652"/>
                  </a:lnTo>
                  <a:lnTo>
                    <a:pt x="12071" y="6617"/>
                  </a:lnTo>
                  <a:lnTo>
                    <a:pt x="12050" y="6580"/>
                  </a:lnTo>
                  <a:lnTo>
                    <a:pt x="12031" y="6542"/>
                  </a:lnTo>
                  <a:lnTo>
                    <a:pt x="12013" y="6504"/>
                  </a:lnTo>
                  <a:lnTo>
                    <a:pt x="11997" y="6464"/>
                  </a:lnTo>
                  <a:lnTo>
                    <a:pt x="11984" y="6424"/>
                  </a:lnTo>
                  <a:lnTo>
                    <a:pt x="11972" y="6382"/>
                  </a:lnTo>
                  <a:lnTo>
                    <a:pt x="11962" y="6340"/>
                  </a:lnTo>
                  <a:lnTo>
                    <a:pt x="11955" y="6297"/>
                  </a:lnTo>
                  <a:lnTo>
                    <a:pt x="11949" y="6253"/>
                  </a:lnTo>
                  <a:lnTo>
                    <a:pt x="11946" y="6208"/>
                  </a:lnTo>
                  <a:lnTo>
                    <a:pt x="11945" y="6164"/>
                  </a:lnTo>
                  <a:lnTo>
                    <a:pt x="11946" y="6119"/>
                  </a:lnTo>
                  <a:lnTo>
                    <a:pt x="11949" y="6074"/>
                  </a:lnTo>
                  <a:lnTo>
                    <a:pt x="11955" y="6031"/>
                  </a:lnTo>
                  <a:lnTo>
                    <a:pt x="11962" y="5988"/>
                  </a:lnTo>
                  <a:lnTo>
                    <a:pt x="11972" y="5946"/>
                  </a:lnTo>
                  <a:lnTo>
                    <a:pt x="11984" y="5904"/>
                  </a:lnTo>
                  <a:lnTo>
                    <a:pt x="11997" y="5863"/>
                  </a:lnTo>
                  <a:lnTo>
                    <a:pt x="12013" y="5823"/>
                  </a:lnTo>
                  <a:lnTo>
                    <a:pt x="12031" y="5785"/>
                  </a:lnTo>
                  <a:lnTo>
                    <a:pt x="12050" y="5747"/>
                  </a:lnTo>
                  <a:lnTo>
                    <a:pt x="12071" y="5711"/>
                  </a:lnTo>
                  <a:lnTo>
                    <a:pt x="12094" y="5675"/>
                  </a:lnTo>
                  <a:lnTo>
                    <a:pt x="12118" y="5641"/>
                  </a:lnTo>
                  <a:lnTo>
                    <a:pt x="12144" y="5608"/>
                  </a:lnTo>
                  <a:lnTo>
                    <a:pt x="12172" y="5576"/>
                  </a:lnTo>
                  <a:lnTo>
                    <a:pt x="12201" y="5545"/>
                  </a:lnTo>
                  <a:lnTo>
                    <a:pt x="12231" y="5516"/>
                  </a:lnTo>
                  <a:lnTo>
                    <a:pt x="12263" y="5489"/>
                  </a:lnTo>
                  <a:lnTo>
                    <a:pt x="12296" y="5463"/>
                  </a:lnTo>
                  <a:lnTo>
                    <a:pt x="12330" y="5439"/>
                  </a:lnTo>
                  <a:lnTo>
                    <a:pt x="12366" y="5416"/>
                  </a:lnTo>
                  <a:lnTo>
                    <a:pt x="12402" y="5395"/>
                  </a:lnTo>
                  <a:lnTo>
                    <a:pt x="12440" y="5375"/>
                  </a:lnTo>
                  <a:lnTo>
                    <a:pt x="12478" y="5358"/>
                  </a:lnTo>
                  <a:lnTo>
                    <a:pt x="12518" y="5342"/>
                  </a:lnTo>
                  <a:lnTo>
                    <a:pt x="12559" y="5328"/>
                  </a:lnTo>
                  <a:lnTo>
                    <a:pt x="12601" y="5316"/>
                  </a:lnTo>
                  <a:lnTo>
                    <a:pt x="12643" y="5306"/>
                  </a:lnTo>
                  <a:lnTo>
                    <a:pt x="12685" y="5299"/>
                  </a:lnTo>
                  <a:lnTo>
                    <a:pt x="12729" y="5293"/>
                  </a:lnTo>
                  <a:lnTo>
                    <a:pt x="12773" y="5290"/>
                  </a:lnTo>
                  <a:lnTo>
                    <a:pt x="12819" y="5289"/>
                  </a:lnTo>
                  <a:close/>
                  <a:moveTo>
                    <a:pt x="3923" y="5289"/>
                  </a:moveTo>
                  <a:lnTo>
                    <a:pt x="3968" y="5290"/>
                  </a:lnTo>
                  <a:lnTo>
                    <a:pt x="4013" y="5293"/>
                  </a:lnTo>
                  <a:lnTo>
                    <a:pt x="4056" y="5299"/>
                  </a:lnTo>
                  <a:lnTo>
                    <a:pt x="4099" y="5306"/>
                  </a:lnTo>
                  <a:lnTo>
                    <a:pt x="4141" y="5316"/>
                  </a:lnTo>
                  <a:lnTo>
                    <a:pt x="4182" y="5328"/>
                  </a:lnTo>
                  <a:lnTo>
                    <a:pt x="4224" y="5342"/>
                  </a:lnTo>
                  <a:lnTo>
                    <a:pt x="4263" y="5358"/>
                  </a:lnTo>
                  <a:lnTo>
                    <a:pt x="4302" y="5375"/>
                  </a:lnTo>
                  <a:lnTo>
                    <a:pt x="4339" y="5395"/>
                  </a:lnTo>
                  <a:lnTo>
                    <a:pt x="4376" y="5416"/>
                  </a:lnTo>
                  <a:lnTo>
                    <a:pt x="4411" y="5439"/>
                  </a:lnTo>
                  <a:lnTo>
                    <a:pt x="4446" y="5463"/>
                  </a:lnTo>
                  <a:lnTo>
                    <a:pt x="4479" y="5489"/>
                  </a:lnTo>
                  <a:lnTo>
                    <a:pt x="4510" y="5516"/>
                  </a:lnTo>
                  <a:lnTo>
                    <a:pt x="4540" y="5545"/>
                  </a:lnTo>
                  <a:lnTo>
                    <a:pt x="4569" y="5576"/>
                  </a:lnTo>
                  <a:lnTo>
                    <a:pt x="4597" y="5608"/>
                  </a:lnTo>
                  <a:lnTo>
                    <a:pt x="4623" y="5641"/>
                  </a:lnTo>
                  <a:lnTo>
                    <a:pt x="4647" y="5675"/>
                  </a:lnTo>
                  <a:lnTo>
                    <a:pt x="4670" y="5711"/>
                  </a:lnTo>
                  <a:lnTo>
                    <a:pt x="4691" y="5747"/>
                  </a:lnTo>
                  <a:lnTo>
                    <a:pt x="4711" y="5785"/>
                  </a:lnTo>
                  <a:lnTo>
                    <a:pt x="4728" y="5823"/>
                  </a:lnTo>
                  <a:lnTo>
                    <a:pt x="4744" y="5863"/>
                  </a:lnTo>
                  <a:lnTo>
                    <a:pt x="4757" y="5904"/>
                  </a:lnTo>
                  <a:lnTo>
                    <a:pt x="4770" y="5946"/>
                  </a:lnTo>
                  <a:lnTo>
                    <a:pt x="4779" y="5988"/>
                  </a:lnTo>
                  <a:lnTo>
                    <a:pt x="4787" y="6031"/>
                  </a:lnTo>
                  <a:lnTo>
                    <a:pt x="4792" y="6074"/>
                  </a:lnTo>
                  <a:lnTo>
                    <a:pt x="4796" y="6119"/>
                  </a:lnTo>
                  <a:lnTo>
                    <a:pt x="4797" y="6164"/>
                  </a:lnTo>
                  <a:lnTo>
                    <a:pt x="4796" y="6208"/>
                  </a:lnTo>
                  <a:lnTo>
                    <a:pt x="4792" y="6253"/>
                  </a:lnTo>
                  <a:lnTo>
                    <a:pt x="4787" y="6297"/>
                  </a:lnTo>
                  <a:lnTo>
                    <a:pt x="4779" y="6340"/>
                  </a:lnTo>
                  <a:lnTo>
                    <a:pt x="4770" y="6382"/>
                  </a:lnTo>
                  <a:lnTo>
                    <a:pt x="4757" y="6424"/>
                  </a:lnTo>
                  <a:lnTo>
                    <a:pt x="4744" y="6464"/>
                  </a:lnTo>
                  <a:lnTo>
                    <a:pt x="4728" y="6504"/>
                  </a:lnTo>
                  <a:lnTo>
                    <a:pt x="4711" y="6542"/>
                  </a:lnTo>
                  <a:lnTo>
                    <a:pt x="4691" y="6580"/>
                  </a:lnTo>
                  <a:lnTo>
                    <a:pt x="4670" y="6617"/>
                  </a:lnTo>
                  <a:lnTo>
                    <a:pt x="4647" y="6652"/>
                  </a:lnTo>
                  <a:lnTo>
                    <a:pt x="4623" y="6687"/>
                  </a:lnTo>
                  <a:lnTo>
                    <a:pt x="4597" y="6720"/>
                  </a:lnTo>
                  <a:lnTo>
                    <a:pt x="4569" y="6751"/>
                  </a:lnTo>
                  <a:lnTo>
                    <a:pt x="4540" y="6782"/>
                  </a:lnTo>
                  <a:lnTo>
                    <a:pt x="4510" y="6811"/>
                  </a:lnTo>
                  <a:lnTo>
                    <a:pt x="4479" y="6839"/>
                  </a:lnTo>
                  <a:lnTo>
                    <a:pt x="4446" y="6864"/>
                  </a:lnTo>
                  <a:lnTo>
                    <a:pt x="4411" y="6889"/>
                  </a:lnTo>
                  <a:lnTo>
                    <a:pt x="4376" y="6912"/>
                  </a:lnTo>
                  <a:lnTo>
                    <a:pt x="4339" y="6933"/>
                  </a:lnTo>
                  <a:lnTo>
                    <a:pt x="4302" y="6952"/>
                  </a:lnTo>
                  <a:lnTo>
                    <a:pt x="4263" y="6969"/>
                  </a:lnTo>
                  <a:lnTo>
                    <a:pt x="4224" y="6986"/>
                  </a:lnTo>
                  <a:lnTo>
                    <a:pt x="4182" y="6999"/>
                  </a:lnTo>
                  <a:lnTo>
                    <a:pt x="4141" y="7012"/>
                  </a:lnTo>
                  <a:lnTo>
                    <a:pt x="4099" y="7021"/>
                  </a:lnTo>
                  <a:lnTo>
                    <a:pt x="4056" y="7028"/>
                  </a:lnTo>
                  <a:lnTo>
                    <a:pt x="4013" y="7034"/>
                  </a:lnTo>
                  <a:lnTo>
                    <a:pt x="3968" y="7037"/>
                  </a:lnTo>
                  <a:lnTo>
                    <a:pt x="3923" y="7038"/>
                  </a:lnTo>
                  <a:lnTo>
                    <a:pt x="3878" y="7037"/>
                  </a:lnTo>
                  <a:lnTo>
                    <a:pt x="3834" y="7034"/>
                  </a:lnTo>
                  <a:lnTo>
                    <a:pt x="3791" y="7028"/>
                  </a:lnTo>
                  <a:lnTo>
                    <a:pt x="3747" y="7021"/>
                  </a:lnTo>
                  <a:lnTo>
                    <a:pt x="3705" y="7012"/>
                  </a:lnTo>
                  <a:lnTo>
                    <a:pt x="3664" y="6999"/>
                  </a:lnTo>
                  <a:lnTo>
                    <a:pt x="3623" y="6986"/>
                  </a:lnTo>
                  <a:lnTo>
                    <a:pt x="3584" y="6969"/>
                  </a:lnTo>
                  <a:lnTo>
                    <a:pt x="3545" y="6952"/>
                  </a:lnTo>
                  <a:lnTo>
                    <a:pt x="3508" y="6933"/>
                  </a:lnTo>
                  <a:lnTo>
                    <a:pt x="3471" y="6912"/>
                  </a:lnTo>
                  <a:lnTo>
                    <a:pt x="3435" y="6889"/>
                  </a:lnTo>
                  <a:lnTo>
                    <a:pt x="3401" y="6864"/>
                  </a:lnTo>
                  <a:lnTo>
                    <a:pt x="3368" y="6839"/>
                  </a:lnTo>
                  <a:lnTo>
                    <a:pt x="3336" y="6811"/>
                  </a:lnTo>
                  <a:lnTo>
                    <a:pt x="3306" y="6782"/>
                  </a:lnTo>
                  <a:lnTo>
                    <a:pt x="3276" y="6751"/>
                  </a:lnTo>
                  <a:lnTo>
                    <a:pt x="3250" y="6720"/>
                  </a:lnTo>
                  <a:lnTo>
                    <a:pt x="3223" y="6687"/>
                  </a:lnTo>
                  <a:lnTo>
                    <a:pt x="3199" y="6652"/>
                  </a:lnTo>
                  <a:lnTo>
                    <a:pt x="3177" y="6617"/>
                  </a:lnTo>
                  <a:lnTo>
                    <a:pt x="3155" y="6580"/>
                  </a:lnTo>
                  <a:lnTo>
                    <a:pt x="3136" y="6542"/>
                  </a:lnTo>
                  <a:lnTo>
                    <a:pt x="3118" y="6504"/>
                  </a:lnTo>
                  <a:lnTo>
                    <a:pt x="3103" y="6464"/>
                  </a:lnTo>
                  <a:lnTo>
                    <a:pt x="3089" y="6424"/>
                  </a:lnTo>
                  <a:lnTo>
                    <a:pt x="3077" y="6382"/>
                  </a:lnTo>
                  <a:lnTo>
                    <a:pt x="3068" y="6340"/>
                  </a:lnTo>
                  <a:lnTo>
                    <a:pt x="3059" y="6297"/>
                  </a:lnTo>
                  <a:lnTo>
                    <a:pt x="3054" y="6253"/>
                  </a:lnTo>
                  <a:lnTo>
                    <a:pt x="3050" y="6208"/>
                  </a:lnTo>
                  <a:lnTo>
                    <a:pt x="3049" y="6164"/>
                  </a:lnTo>
                  <a:lnTo>
                    <a:pt x="3050" y="6119"/>
                  </a:lnTo>
                  <a:lnTo>
                    <a:pt x="3054" y="6074"/>
                  </a:lnTo>
                  <a:lnTo>
                    <a:pt x="3059" y="6031"/>
                  </a:lnTo>
                  <a:lnTo>
                    <a:pt x="3068" y="5988"/>
                  </a:lnTo>
                  <a:lnTo>
                    <a:pt x="3077" y="5946"/>
                  </a:lnTo>
                  <a:lnTo>
                    <a:pt x="3089" y="5904"/>
                  </a:lnTo>
                  <a:lnTo>
                    <a:pt x="3103" y="5863"/>
                  </a:lnTo>
                  <a:lnTo>
                    <a:pt x="3118" y="5823"/>
                  </a:lnTo>
                  <a:lnTo>
                    <a:pt x="3136" y="5785"/>
                  </a:lnTo>
                  <a:lnTo>
                    <a:pt x="3155" y="5747"/>
                  </a:lnTo>
                  <a:lnTo>
                    <a:pt x="3177" y="5711"/>
                  </a:lnTo>
                  <a:lnTo>
                    <a:pt x="3199" y="5675"/>
                  </a:lnTo>
                  <a:lnTo>
                    <a:pt x="3223" y="5641"/>
                  </a:lnTo>
                  <a:lnTo>
                    <a:pt x="3250" y="5608"/>
                  </a:lnTo>
                  <a:lnTo>
                    <a:pt x="3276" y="5576"/>
                  </a:lnTo>
                  <a:lnTo>
                    <a:pt x="3306" y="5545"/>
                  </a:lnTo>
                  <a:lnTo>
                    <a:pt x="3336" y="5516"/>
                  </a:lnTo>
                  <a:lnTo>
                    <a:pt x="3368" y="5489"/>
                  </a:lnTo>
                  <a:lnTo>
                    <a:pt x="3401" y="5463"/>
                  </a:lnTo>
                  <a:lnTo>
                    <a:pt x="3435" y="5439"/>
                  </a:lnTo>
                  <a:lnTo>
                    <a:pt x="3471" y="5416"/>
                  </a:lnTo>
                  <a:lnTo>
                    <a:pt x="3508" y="5395"/>
                  </a:lnTo>
                  <a:lnTo>
                    <a:pt x="3545" y="5375"/>
                  </a:lnTo>
                  <a:lnTo>
                    <a:pt x="3584" y="5358"/>
                  </a:lnTo>
                  <a:lnTo>
                    <a:pt x="3623" y="5342"/>
                  </a:lnTo>
                  <a:lnTo>
                    <a:pt x="3664" y="5328"/>
                  </a:lnTo>
                  <a:lnTo>
                    <a:pt x="3705" y="5316"/>
                  </a:lnTo>
                  <a:lnTo>
                    <a:pt x="3747" y="5306"/>
                  </a:lnTo>
                  <a:lnTo>
                    <a:pt x="3791" y="5299"/>
                  </a:lnTo>
                  <a:lnTo>
                    <a:pt x="3834" y="5293"/>
                  </a:lnTo>
                  <a:lnTo>
                    <a:pt x="3878" y="5290"/>
                  </a:lnTo>
                  <a:lnTo>
                    <a:pt x="3923" y="5289"/>
                  </a:lnTo>
                  <a:close/>
                  <a:moveTo>
                    <a:pt x="4469" y="944"/>
                  </a:moveTo>
                  <a:lnTo>
                    <a:pt x="7037" y="944"/>
                  </a:lnTo>
                  <a:lnTo>
                    <a:pt x="6517" y="3103"/>
                  </a:lnTo>
                  <a:lnTo>
                    <a:pt x="3542" y="3103"/>
                  </a:lnTo>
                  <a:lnTo>
                    <a:pt x="4469" y="944"/>
                  </a:lnTo>
                  <a:close/>
                  <a:moveTo>
                    <a:pt x="7815" y="944"/>
                  </a:moveTo>
                  <a:lnTo>
                    <a:pt x="9490" y="944"/>
                  </a:lnTo>
                  <a:lnTo>
                    <a:pt x="10718" y="3103"/>
                  </a:lnTo>
                  <a:lnTo>
                    <a:pt x="7204" y="3103"/>
                  </a:lnTo>
                  <a:lnTo>
                    <a:pt x="7815" y="94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grpSp>
      <p:grpSp>
        <p:nvGrpSpPr>
          <p:cNvPr id="4" name="组合 277"/>
          <p:cNvGrpSpPr/>
          <p:nvPr/>
        </p:nvGrpSpPr>
        <p:grpSpPr>
          <a:xfrm>
            <a:off x="3616275" y="2393021"/>
            <a:ext cx="465127" cy="417665"/>
            <a:chOff x="10283185" y="2636380"/>
            <a:chExt cx="734142" cy="715155"/>
          </a:xfrm>
          <a:solidFill>
            <a:schemeClr val="bg1"/>
          </a:solidFill>
        </p:grpSpPr>
        <p:sp>
          <p:nvSpPr>
            <p:cNvPr id="120" name="Freeform 102"/>
            <p:cNvSpPr>
              <a:spLocks noEditPoints="1"/>
            </p:cNvSpPr>
            <p:nvPr/>
          </p:nvSpPr>
          <p:spPr bwMode="auto">
            <a:xfrm>
              <a:off x="10397104" y="2794600"/>
              <a:ext cx="506305" cy="556935"/>
            </a:xfrm>
            <a:custGeom>
              <a:avLst/>
              <a:gdLst/>
              <a:ahLst/>
              <a:cxnLst>
                <a:cxn ang="0">
                  <a:pos x="80" y="0"/>
                </a:cxn>
                <a:cxn ang="0">
                  <a:pos x="0" y="72"/>
                </a:cxn>
                <a:cxn ang="0">
                  <a:pos x="0" y="166"/>
                </a:cxn>
                <a:cxn ang="0">
                  <a:pos x="0" y="166"/>
                </a:cxn>
                <a:cxn ang="0">
                  <a:pos x="2" y="172"/>
                </a:cxn>
                <a:cxn ang="0">
                  <a:pos x="4" y="174"/>
                </a:cxn>
                <a:cxn ang="0">
                  <a:pos x="4" y="174"/>
                </a:cxn>
                <a:cxn ang="0">
                  <a:pos x="10" y="176"/>
                </a:cxn>
                <a:cxn ang="0">
                  <a:pos x="54" y="176"/>
                </a:cxn>
                <a:cxn ang="0">
                  <a:pos x="54" y="176"/>
                </a:cxn>
                <a:cxn ang="0">
                  <a:pos x="58" y="174"/>
                </a:cxn>
                <a:cxn ang="0">
                  <a:pos x="58" y="174"/>
                </a:cxn>
                <a:cxn ang="0">
                  <a:pos x="58" y="170"/>
                </a:cxn>
                <a:cxn ang="0">
                  <a:pos x="58" y="124"/>
                </a:cxn>
                <a:cxn ang="0">
                  <a:pos x="102" y="124"/>
                </a:cxn>
                <a:cxn ang="0">
                  <a:pos x="102" y="170"/>
                </a:cxn>
                <a:cxn ang="0">
                  <a:pos x="102" y="170"/>
                </a:cxn>
                <a:cxn ang="0">
                  <a:pos x="102" y="174"/>
                </a:cxn>
                <a:cxn ang="0">
                  <a:pos x="102" y="174"/>
                </a:cxn>
                <a:cxn ang="0">
                  <a:pos x="106" y="176"/>
                </a:cxn>
                <a:cxn ang="0">
                  <a:pos x="150" y="176"/>
                </a:cxn>
                <a:cxn ang="0">
                  <a:pos x="150" y="176"/>
                </a:cxn>
                <a:cxn ang="0">
                  <a:pos x="156" y="174"/>
                </a:cxn>
                <a:cxn ang="0">
                  <a:pos x="156" y="174"/>
                </a:cxn>
                <a:cxn ang="0">
                  <a:pos x="158" y="172"/>
                </a:cxn>
                <a:cxn ang="0">
                  <a:pos x="160" y="166"/>
                </a:cxn>
                <a:cxn ang="0">
                  <a:pos x="160" y="72"/>
                </a:cxn>
                <a:cxn ang="0">
                  <a:pos x="80" y="0"/>
                </a:cxn>
                <a:cxn ang="0">
                  <a:pos x="80" y="78"/>
                </a:cxn>
                <a:cxn ang="0">
                  <a:pos x="80" y="78"/>
                </a:cxn>
                <a:cxn ang="0">
                  <a:pos x="72" y="76"/>
                </a:cxn>
                <a:cxn ang="0">
                  <a:pos x="64" y="72"/>
                </a:cxn>
                <a:cxn ang="0">
                  <a:pos x="58" y="64"/>
                </a:cxn>
                <a:cxn ang="0">
                  <a:pos x="58" y="54"/>
                </a:cxn>
                <a:cxn ang="0">
                  <a:pos x="58" y="54"/>
                </a:cxn>
                <a:cxn ang="0">
                  <a:pos x="58" y="46"/>
                </a:cxn>
                <a:cxn ang="0">
                  <a:pos x="64" y="38"/>
                </a:cxn>
                <a:cxn ang="0">
                  <a:pos x="72" y="34"/>
                </a:cxn>
                <a:cxn ang="0">
                  <a:pos x="80" y="32"/>
                </a:cxn>
                <a:cxn ang="0">
                  <a:pos x="80" y="32"/>
                </a:cxn>
                <a:cxn ang="0">
                  <a:pos x="88" y="34"/>
                </a:cxn>
                <a:cxn ang="0">
                  <a:pos x="96" y="38"/>
                </a:cxn>
                <a:cxn ang="0">
                  <a:pos x="100" y="46"/>
                </a:cxn>
                <a:cxn ang="0">
                  <a:pos x="102" y="54"/>
                </a:cxn>
                <a:cxn ang="0">
                  <a:pos x="102" y="54"/>
                </a:cxn>
                <a:cxn ang="0">
                  <a:pos x="100" y="64"/>
                </a:cxn>
                <a:cxn ang="0">
                  <a:pos x="96" y="72"/>
                </a:cxn>
                <a:cxn ang="0">
                  <a:pos x="88" y="76"/>
                </a:cxn>
                <a:cxn ang="0">
                  <a:pos x="80" y="78"/>
                </a:cxn>
                <a:cxn ang="0">
                  <a:pos x="80" y="78"/>
                </a:cxn>
              </a:cxnLst>
              <a:rect l="0" t="0" r="r" b="b"/>
              <a:pathLst>
                <a:path w="160" h="176">
                  <a:moveTo>
                    <a:pt x="80" y="0"/>
                  </a:moveTo>
                  <a:lnTo>
                    <a:pt x="0" y="72"/>
                  </a:lnTo>
                  <a:lnTo>
                    <a:pt x="0" y="166"/>
                  </a:lnTo>
                  <a:lnTo>
                    <a:pt x="0" y="166"/>
                  </a:lnTo>
                  <a:lnTo>
                    <a:pt x="2" y="172"/>
                  </a:lnTo>
                  <a:lnTo>
                    <a:pt x="4" y="174"/>
                  </a:lnTo>
                  <a:lnTo>
                    <a:pt x="4" y="174"/>
                  </a:lnTo>
                  <a:lnTo>
                    <a:pt x="10" y="176"/>
                  </a:lnTo>
                  <a:lnTo>
                    <a:pt x="54" y="176"/>
                  </a:lnTo>
                  <a:lnTo>
                    <a:pt x="54" y="176"/>
                  </a:lnTo>
                  <a:lnTo>
                    <a:pt x="58" y="174"/>
                  </a:lnTo>
                  <a:lnTo>
                    <a:pt x="58" y="174"/>
                  </a:lnTo>
                  <a:lnTo>
                    <a:pt x="58" y="170"/>
                  </a:lnTo>
                  <a:lnTo>
                    <a:pt x="58" y="124"/>
                  </a:lnTo>
                  <a:lnTo>
                    <a:pt x="102" y="124"/>
                  </a:lnTo>
                  <a:lnTo>
                    <a:pt x="102" y="170"/>
                  </a:lnTo>
                  <a:lnTo>
                    <a:pt x="102" y="170"/>
                  </a:lnTo>
                  <a:lnTo>
                    <a:pt x="102" y="174"/>
                  </a:lnTo>
                  <a:lnTo>
                    <a:pt x="102" y="174"/>
                  </a:lnTo>
                  <a:lnTo>
                    <a:pt x="106" y="176"/>
                  </a:lnTo>
                  <a:lnTo>
                    <a:pt x="150" y="176"/>
                  </a:lnTo>
                  <a:lnTo>
                    <a:pt x="150" y="176"/>
                  </a:lnTo>
                  <a:lnTo>
                    <a:pt x="156" y="174"/>
                  </a:lnTo>
                  <a:lnTo>
                    <a:pt x="156" y="174"/>
                  </a:lnTo>
                  <a:lnTo>
                    <a:pt x="158" y="172"/>
                  </a:lnTo>
                  <a:lnTo>
                    <a:pt x="160" y="166"/>
                  </a:lnTo>
                  <a:lnTo>
                    <a:pt x="160" y="72"/>
                  </a:lnTo>
                  <a:lnTo>
                    <a:pt x="80" y="0"/>
                  </a:lnTo>
                  <a:close/>
                  <a:moveTo>
                    <a:pt x="80" y="78"/>
                  </a:moveTo>
                  <a:lnTo>
                    <a:pt x="80" y="78"/>
                  </a:lnTo>
                  <a:lnTo>
                    <a:pt x="72" y="76"/>
                  </a:lnTo>
                  <a:lnTo>
                    <a:pt x="64" y="72"/>
                  </a:lnTo>
                  <a:lnTo>
                    <a:pt x="58" y="64"/>
                  </a:lnTo>
                  <a:lnTo>
                    <a:pt x="58" y="54"/>
                  </a:lnTo>
                  <a:lnTo>
                    <a:pt x="58" y="54"/>
                  </a:lnTo>
                  <a:lnTo>
                    <a:pt x="58" y="46"/>
                  </a:lnTo>
                  <a:lnTo>
                    <a:pt x="64" y="38"/>
                  </a:lnTo>
                  <a:lnTo>
                    <a:pt x="72" y="34"/>
                  </a:lnTo>
                  <a:lnTo>
                    <a:pt x="80" y="32"/>
                  </a:lnTo>
                  <a:lnTo>
                    <a:pt x="80" y="32"/>
                  </a:lnTo>
                  <a:lnTo>
                    <a:pt x="88" y="34"/>
                  </a:lnTo>
                  <a:lnTo>
                    <a:pt x="96" y="38"/>
                  </a:lnTo>
                  <a:lnTo>
                    <a:pt x="100" y="46"/>
                  </a:lnTo>
                  <a:lnTo>
                    <a:pt x="102" y="54"/>
                  </a:lnTo>
                  <a:lnTo>
                    <a:pt x="102" y="54"/>
                  </a:lnTo>
                  <a:lnTo>
                    <a:pt x="100" y="64"/>
                  </a:lnTo>
                  <a:lnTo>
                    <a:pt x="96" y="72"/>
                  </a:lnTo>
                  <a:lnTo>
                    <a:pt x="88" y="76"/>
                  </a:lnTo>
                  <a:lnTo>
                    <a:pt x="80" y="78"/>
                  </a:lnTo>
                  <a:lnTo>
                    <a:pt x="80" y="78"/>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21" name="Freeform 103"/>
            <p:cNvSpPr>
              <a:spLocks/>
            </p:cNvSpPr>
            <p:nvPr/>
          </p:nvSpPr>
          <p:spPr bwMode="auto">
            <a:xfrm>
              <a:off x="10283185" y="2636380"/>
              <a:ext cx="734142" cy="386057"/>
            </a:xfrm>
            <a:custGeom>
              <a:avLst/>
              <a:gdLst/>
              <a:ahLst/>
              <a:cxnLst>
                <a:cxn ang="0">
                  <a:pos x="228" y="96"/>
                </a:cxn>
                <a:cxn ang="0">
                  <a:pos x="126" y="4"/>
                </a:cxn>
                <a:cxn ang="0">
                  <a:pos x="126" y="4"/>
                </a:cxn>
                <a:cxn ang="0">
                  <a:pos x="122" y="2"/>
                </a:cxn>
                <a:cxn ang="0">
                  <a:pos x="116" y="0"/>
                </a:cxn>
                <a:cxn ang="0">
                  <a:pos x="110" y="2"/>
                </a:cxn>
                <a:cxn ang="0">
                  <a:pos x="106" y="4"/>
                </a:cxn>
                <a:cxn ang="0">
                  <a:pos x="4" y="96"/>
                </a:cxn>
                <a:cxn ang="0">
                  <a:pos x="4" y="96"/>
                </a:cxn>
                <a:cxn ang="0">
                  <a:pos x="2" y="102"/>
                </a:cxn>
                <a:cxn ang="0">
                  <a:pos x="0" y="108"/>
                </a:cxn>
                <a:cxn ang="0">
                  <a:pos x="0" y="112"/>
                </a:cxn>
                <a:cxn ang="0">
                  <a:pos x="4" y="118"/>
                </a:cxn>
                <a:cxn ang="0">
                  <a:pos x="4" y="118"/>
                </a:cxn>
                <a:cxn ang="0">
                  <a:pos x="4" y="118"/>
                </a:cxn>
                <a:cxn ang="0">
                  <a:pos x="8" y="122"/>
                </a:cxn>
                <a:cxn ang="0">
                  <a:pos x="14" y="122"/>
                </a:cxn>
                <a:cxn ang="0">
                  <a:pos x="14" y="122"/>
                </a:cxn>
                <a:cxn ang="0">
                  <a:pos x="20" y="122"/>
                </a:cxn>
                <a:cxn ang="0">
                  <a:pos x="24" y="120"/>
                </a:cxn>
                <a:cxn ang="0">
                  <a:pos x="116" y="36"/>
                </a:cxn>
                <a:cxn ang="0">
                  <a:pos x="206" y="120"/>
                </a:cxn>
                <a:cxn ang="0">
                  <a:pos x="206" y="120"/>
                </a:cxn>
                <a:cxn ang="0">
                  <a:pos x="212" y="122"/>
                </a:cxn>
                <a:cxn ang="0">
                  <a:pos x="218" y="122"/>
                </a:cxn>
                <a:cxn ang="0">
                  <a:pos x="224" y="122"/>
                </a:cxn>
                <a:cxn ang="0">
                  <a:pos x="228" y="118"/>
                </a:cxn>
                <a:cxn ang="0">
                  <a:pos x="228" y="118"/>
                </a:cxn>
                <a:cxn ang="0">
                  <a:pos x="232" y="112"/>
                </a:cxn>
                <a:cxn ang="0">
                  <a:pos x="232" y="108"/>
                </a:cxn>
                <a:cxn ang="0">
                  <a:pos x="230" y="102"/>
                </a:cxn>
                <a:cxn ang="0">
                  <a:pos x="228" y="96"/>
                </a:cxn>
                <a:cxn ang="0">
                  <a:pos x="228" y="96"/>
                </a:cxn>
              </a:cxnLst>
              <a:rect l="0" t="0" r="r" b="b"/>
              <a:pathLst>
                <a:path w="232" h="122">
                  <a:moveTo>
                    <a:pt x="228" y="96"/>
                  </a:moveTo>
                  <a:lnTo>
                    <a:pt x="126" y="4"/>
                  </a:lnTo>
                  <a:lnTo>
                    <a:pt x="126" y="4"/>
                  </a:lnTo>
                  <a:lnTo>
                    <a:pt x="122" y="2"/>
                  </a:lnTo>
                  <a:lnTo>
                    <a:pt x="116" y="0"/>
                  </a:lnTo>
                  <a:lnTo>
                    <a:pt x="110" y="2"/>
                  </a:lnTo>
                  <a:lnTo>
                    <a:pt x="106" y="4"/>
                  </a:lnTo>
                  <a:lnTo>
                    <a:pt x="4" y="96"/>
                  </a:lnTo>
                  <a:lnTo>
                    <a:pt x="4" y="96"/>
                  </a:lnTo>
                  <a:lnTo>
                    <a:pt x="2" y="102"/>
                  </a:lnTo>
                  <a:lnTo>
                    <a:pt x="0" y="108"/>
                  </a:lnTo>
                  <a:lnTo>
                    <a:pt x="0" y="112"/>
                  </a:lnTo>
                  <a:lnTo>
                    <a:pt x="4" y="118"/>
                  </a:lnTo>
                  <a:lnTo>
                    <a:pt x="4" y="118"/>
                  </a:lnTo>
                  <a:lnTo>
                    <a:pt x="4" y="118"/>
                  </a:lnTo>
                  <a:lnTo>
                    <a:pt x="8" y="122"/>
                  </a:lnTo>
                  <a:lnTo>
                    <a:pt x="14" y="122"/>
                  </a:lnTo>
                  <a:lnTo>
                    <a:pt x="14" y="122"/>
                  </a:lnTo>
                  <a:lnTo>
                    <a:pt x="20" y="122"/>
                  </a:lnTo>
                  <a:lnTo>
                    <a:pt x="24" y="120"/>
                  </a:lnTo>
                  <a:lnTo>
                    <a:pt x="116" y="36"/>
                  </a:lnTo>
                  <a:lnTo>
                    <a:pt x="206" y="120"/>
                  </a:lnTo>
                  <a:lnTo>
                    <a:pt x="206" y="120"/>
                  </a:lnTo>
                  <a:lnTo>
                    <a:pt x="212" y="122"/>
                  </a:lnTo>
                  <a:lnTo>
                    <a:pt x="218" y="122"/>
                  </a:lnTo>
                  <a:lnTo>
                    <a:pt x="224" y="122"/>
                  </a:lnTo>
                  <a:lnTo>
                    <a:pt x="228" y="118"/>
                  </a:lnTo>
                  <a:lnTo>
                    <a:pt x="228" y="118"/>
                  </a:lnTo>
                  <a:lnTo>
                    <a:pt x="232" y="112"/>
                  </a:lnTo>
                  <a:lnTo>
                    <a:pt x="232" y="108"/>
                  </a:lnTo>
                  <a:lnTo>
                    <a:pt x="230" y="102"/>
                  </a:lnTo>
                  <a:lnTo>
                    <a:pt x="228" y="96"/>
                  </a:lnTo>
                  <a:lnTo>
                    <a:pt x="228" y="9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grpSp>
      <p:grpSp>
        <p:nvGrpSpPr>
          <p:cNvPr id="6" name="组合 3"/>
          <p:cNvGrpSpPr/>
          <p:nvPr/>
        </p:nvGrpSpPr>
        <p:grpSpPr>
          <a:xfrm>
            <a:off x="1238204" y="2298872"/>
            <a:ext cx="778415" cy="638075"/>
            <a:chOff x="5403283" y="1474081"/>
            <a:chExt cx="1037977" cy="850841"/>
          </a:xfrm>
        </p:grpSpPr>
        <p:pic>
          <p:nvPicPr>
            <p:cNvPr id="3" name="图片 2"/>
            <p:cNvPicPr>
              <a:picLocks noChangeAspect="1"/>
            </p:cNvPicPr>
            <p:nvPr/>
          </p:nvPicPr>
          <p:blipFill>
            <a:blip r:embed="rId3" cstate="print">
              <a:extLst>
                <a:ext uri="{BEBA8EAE-BF5A-486C-A8C5-ECC9F3942E4B}">
                  <a14:imgProps xmlns:a14="http://schemas.microsoft.com/office/drawing/2010/main">
                    <a14:imgLayer r:embed="rId4">
                      <a14:imgEffect>
                        <a14:artisticPhotocopy/>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403283" y="1619560"/>
              <a:ext cx="705362" cy="705362"/>
            </a:xfrm>
            <a:prstGeom prst="rect">
              <a:avLst/>
            </a:prstGeom>
            <a:noFill/>
            <a:ln>
              <a:noFill/>
            </a:ln>
          </p:spPr>
        </p:pic>
        <p:pic>
          <p:nvPicPr>
            <p:cNvPr id="122" name="图片 1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5898" y="1474081"/>
              <a:ext cx="705362" cy="705362"/>
            </a:xfrm>
            <a:prstGeom prst="rect">
              <a:avLst/>
            </a:prstGeom>
            <a:noFill/>
            <a:ln>
              <a:noFill/>
            </a:ln>
          </p:spPr>
        </p:pic>
      </p:grpSp>
      <p:pic>
        <p:nvPicPr>
          <p:cNvPr id="123" name="图片 122"/>
          <p:cNvPicPr>
            <a:picLocks noChangeAspect="1"/>
          </p:cNvPicPr>
          <p:nvPr/>
        </p:nvPicPr>
        <p:blipFill>
          <a:blip r:embed="rId5" cstate="print">
            <a:extLst>
              <a:ext uri="{BEBA8EAE-BF5A-486C-A8C5-ECC9F3942E4B}">
                <a14:imgProps xmlns:a14="http://schemas.microsoft.com/office/drawing/2010/main">
                  <a14:imgLayer r:embed="rId6">
                    <a14:imgEffect>
                      <a14:artisticPhotocopy/>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31188" y="2968495"/>
            <a:ext cx="472182" cy="472182"/>
          </a:xfrm>
          <a:prstGeom prst="rect">
            <a:avLst/>
          </a:prstGeom>
          <a:noFill/>
          <a:ln>
            <a:noFill/>
          </a:ln>
        </p:spPr>
      </p:pic>
      <p:grpSp>
        <p:nvGrpSpPr>
          <p:cNvPr id="7" name="组合 5"/>
          <p:cNvGrpSpPr/>
          <p:nvPr/>
        </p:nvGrpSpPr>
        <p:grpSpPr>
          <a:xfrm>
            <a:off x="1676655" y="3216636"/>
            <a:ext cx="635983" cy="386009"/>
            <a:chOff x="6491704" y="2793630"/>
            <a:chExt cx="848051" cy="514724"/>
          </a:xfrm>
        </p:grpSpPr>
        <p:pic>
          <p:nvPicPr>
            <p:cNvPr id="5" name="图片 4"/>
            <p:cNvPicPr>
              <a:picLocks noChangeAspect="1"/>
            </p:cNvPicPr>
            <p:nvPr/>
          </p:nvPicPr>
          <p:blipFill>
            <a:blip r:embed="rId7" cstate="print">
              <a:biLevel thresh="5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tretch>
              <a:fillRect/>
            </a:stretch>
          </p:blipFill>
          <p:spPr>
            <a:xfrm>
              <a:off x="6491704" y="2801728"/>
              <a:ext cx="506626" cy="506626"/>
            </a:xfrm>
            <a:prstGeom prst="rect">
              <a:avLst/>
            </a:prstGeom>
            <a:noFill/>
            <a:ln>
              <a:noFill/>
            </a:ln>
          </p:spPr>
        </p:pic>
        <p:pic>
          <p:nvPicPr>
            <p:cNvPr id="124" name="图片 123"/>
            <p:cNvPicPr>
              <a:picLocks noChangeAspect="1"/>
            </p:cNvPicPr>
            <p:nvPr/>
          </p:nvPicPr>
          <p:blipFill>
            <a:blip r:embed="rId7" cstate="print">
              <a:biLevel thresh="50000"/>
              <a:extLst>
                <a:ext uri="{28A0092B-C50C-407E-A947-70E740481C1C}">
                  <a14:useLocalDpi xmlns:a14="http://schemas.microsoft.com/office/drawing/2010/main" val="0"/>
                </a:ext>
              </a:extLst>
            </a:blip>
            <a:stretch>
              <a:fillRect/>
            </a:stretch>
          </p:blipFill>
          <p:spPr>
            <a:xfrm>
              <a:off x="6833129" y="2793630"/>
              <a:ext cx="506626" cy="506626"/>
            </a:xfrm>
            <a:prstGeom prst="rect">
              <a:avLst/>
            </a:prstGeom>
            <a:noFill/>
            <a:ln>
              <a:noFill/>
            </a:ln>
          </p:spPr>
        </p:pic>
      </p:grpSp>
      <p:sp>
        <p:nvSpPr>
          <p:cNvPr id="126" name="Freeform 6"/>
          <p:cNvSpPr>
            <a:spLocks noEditPoints="1"/>
          </p:cNvSpPr>
          <p:nvPr/>
        </p:nvSpPr>
        <p:spPr bwMode="auto">
          <a:xfrm>
            <a:off x="3443085" y="2906892"/>
            <a:ext cx="672921" cy="555165"/>
          </a:xfrm>
          <a:custGeom>
            <a:avLst/>
            <a:gdLst/>
            <a:ahLst/>
            <a:cxnLst>
              <a:cxn ang="0">
                <a:pos x="12772" y="618"/>
              </a:cxn>
              <a:cxn ang="0">
                <a:pos x="0" y="15651"/>
              </a:cxn>
              <a:cxn ang="0">
                <a:pos x="1941" y="4867"/>
              </a:cxn>
              <a:cxn ang="0">
                <a:pos x="5964" y="4867"/>
              </a:cxn>
              <a:cxn ang="0">
                <a:pos x="7512" y="618"/>
              </a:cxn>
              <a:cxn ang="0">
                <a:pos x="1277" y="12419"/>
              </a:cxn>
              <a:cxn ang="0">
                <a:pos x="5523" y="7916"/>
              </a:cxn>
              <a:cxn ang="0">
                <a:pos x="4108" y="7916"/>
              </a:cxn>
              <a:cxn ang="0">
                <a:pos x="2692" y="7916"/>
              </a:cxn>
              <a:cxn ang="0">
                <a:pos x="1277" y="7916"/>
              </a:cxn>
              <a:cxn ang="0">
                <a:pos x="5523" y="9417"/>
              </a:cxn>
              <a:cxn ang="0">
                <a:pos x="4108" y="9417"/>
              </a:cxn>
              <a:cxn ang="0">
                <a:pos x="2692" y="9417"/>
              </a:cxn>
              <a:cxn ang="0">
                <a:pos x="1277" y="9417"/>
              </a:cxn>
              <a:cxn ang="0">
                <a:pos x="5523" y="10919"/>
              </a:cxn>
              <a:cxn ang="0">
                <a:pos x="4108" y="10919"/>
              </a:cxn>
              <a:cxn ang="0">
                <a:pos x="2692" y="10919"/>
              </a:cxn>
              <a:cxn ang="0">
                <a:pos x="1277" y="10919"/>
              </a:cxn>
              <a:cxn ang="0">
                <a:pos x="5523" y="12419"/>
              </a:cxn>
              <a:cxn ang="0">
                <a:pos x="4108" y="12419"/>
              </a:cxn>
              <a:cxn ang="0">
                <a:pos x="2692" y="12419"/>
              </a:cxn>
              <a:cxn ang="0">
                <a:pos x="8086" y="1911"/>
              </a:cxn>
              <a:cxn ang="0">
                <a:pos x="8086" y="12419"/>
              </a:cxn>
              <a:cxn ang="0">
                <a:pos x="9500" y="12419"/>
              </a:cxn>
              <a:cxn ang="0">
                <a:pos x="10915" y="12419"/>
              </a:cxn>
              <a:cxn ang="0">
                <a:pos x="12331" y="12419"/>
              </a:cxn>
              <a:cxn ang="0">
                <a:pos x="8086" y="10919"/>
              </a:cxn>
              <a:cxn ang="0">
                <a:pos x="9500" y="10919"/>
              </a:cxn>
              <a:cxn ang="0">
                <a:pos x="10915" y="10919"/>
              </a:cxn>
              <a:cxn ang="0">
                <a:pos x="12331" y="10919"/>
              </a:cxn>
              <a:cxn ang="0">
                <a:pos x="8086" y="9417"/>
              </a:cxn>
              <a:cxn ang="0">
                <a:pos x="9500" y="9417"/>
              </a:cxn>
              <a:cxn ang="0">
                <a:pos x="10915" y="9417"/>
              </a:cxn>
              <a:cxn ang="0">
                <a:pos x="12331" y="9417"/>
              </a:cxn>
              <a:cxn ang="0">
                <a:pos x="8086" y="7916"/>
              </a:cxn>
              <a:cxn ang="0">
                <a:pos x="9500" y="7916"/>
              </a:cxn>
              <a:cxn ang="0">
                <a:pos x="10915" y="7916"/>
              </a:cxn>
              <a:cxn ang="0">
                <a:pos x="12331" y="7916"/>
              </a:cxn>
              <a:cxn ang="0">
                <a:pos x="8086" y="6414"/>
              </a:cxn>
              <a:cxn ang="0">
                <a:pos x="9500" y="6414"/>
              </a:cxn>
              <a:cxn ang="0">
                <a:pos x="10915" y="6414"/>
              </a:cxn>
              <a:cxn ang="0">
                <a:pos x="12331" y="6414"/>
              </a:cxn>
              <a:cxn ang="0">
                <a:pos x="8086" y="4914"/>
              </a:cxn>
              <a:cxn ang="0">
                <a:pos x="9500" y="4914"/>
              </a:cxn>
              <a:cxn ang="0">
                <a:pos x="10915" y="4914"/>
              </a:cxn>
              <a:cxn ang="0">
                <a:pos x="12331" y="4914"/>
              </a:cxn>
              <a:cxn ang="0">
                <a:pos x="8086" y="3413"/>
              </a:cxn>
              <a:cxn ang="0">
                <a:pos x="9500" y="3413"/>
              </a:cxn>
              <a:cxn ang="0">
                <a:pos x="10915" y="3413"/>
              </a:cxn>
              <a:cxn ang="0">
                <a:pos x="9500" y="1911"/>
              </a:cxn>
              <a:cxn ang="0">
                <a:pos x="10915" y="1911"/>
              </a:cxn>
              <a:cxn ang="0">
                <a:pos x="12331" y="1911"/>
              </a:cxn>
              <a:cxn ang="0">
                <a:pos x="12331" y="3413"/>
              </a:cxn>
            </a:cxnLst>
            <a:rect l="0" t="0" r="r" b="b"/>
            <a:pathLst>
              <a:path w="16169" h="15651">
                <a:moveTo>
                  <a:pt x="7512" y="618"/>
                </a:moveTo>
                <a:lnTo>
                  <a:pt x="8749" y="618"/>
                </a:lnTo>
                <a:lnTo>
                  <a:pt x="8749" y="0"/>
                </a:lnTo>
                <a:lnTo>
                  <a:pt x="12772" y="0"/>
                </a:lnTo>
                <a:lnTo>
                  <a:pt x="12772" y="618"/>
                </a:lnTo>
                <a:lnTo>
                  <a:pt x="14010" y="618"/>
                </a:lnTo>
                <a:lnTo>
                  <a:pt x="14010" y="13875"/>
                </a:lnTo>
                <a:lnTo>
                  <a:pt x="16169" y="13875"/>
                </a:lnTo>
                <a:lnTo>
                  <a:pt x="16169" y="15651"/>
                </a:lnTo>
                <a:lnTo>
                  <a:pt x="0" y="15651"/>
                </a:lnTo>
                <a:lnTo>
                  <a:pt x="0" y="13875"/>
                </a:lnTo>
                <a:lnTo>
                  <a:pt x="781" y="13875"/>
                </a:lnTo>
                <a:lnTo>
                  <a:pt x="781" y="6103"/>
                </a:lnTo>
                <a:lnTo>
                  <a:pt x="1941" y="6103"/>
                </a:lnTo>
                <a:lnTo>
                  <a:pt x="1941" y="4867"/>
                </a:lnTo>
                <a:lnTo>
                  <a:pt x="4469" y="4867"/>
                </a:lnTo>
                <a:lnTo>
                  <a:pt x="4469" y="2808"/>
                </a:lnTo>
                <a:lnTo>
                  <a:pt x="5088" y="2808"/>
                </a:lnTo>
                <a:lnTo>
                  <a:pt x="5088" y="4867"/>
                </a:lnTo>
                <a:lnTo>
                  <a:pt x="5964" y="4867"/>
                </a:lnTo>
                <a:lnTo>
                  <a:pt x="5964" y="6103"/>
                </a:lnTo>
                <a:lnTo>
                  <a:pt x="7124" y="6103"/>
                </a:lnTo>
                <a:lnTo>
                  <a:pt x="7124" y="13875"/>
                </a:lnTo>
                <a:lnTo>
                  <a:pt x="7512" y="13875"/>
                </a:lnTo>
                <a:lnTo>
                  <a:pt x="7512" y="618"/>
                </a:lnTo>
                <a:close/>
                <a:moveTo>
                  <a:pt x="1277" y="12419"/>
                </a:moveTo>
                <a:lnTo>
                  <a:pt x="2383" y="12419"/>
                </a:lnTo>
                <a:lnTo>
                  <a:pt x="2383" y="13523"/>
                </a:lnTo>
                <a:lnTo>
                  <a:pt x="1277" y="13523"/>
                </a:lnTo>
                <a:lnTo>
                  <a:pt x="1277" y="12419"/>
                </a:lnTo>
                <a:close/>
                <a:moveTo>
                  <a:pt x="5523" y="7916"/>
                </a:moveTo>
                <a:lnTo>
                  <a:pt x="6628" y="7916"/>
                </a:lnTo>
                <a:lnTo>
                  <a:pt x="6628" y="9020"/>
                </a:lnTo>
                <a:lnTo>
                  <a:pt x="5523" y="9020"/>
                </a:lnTo>
                <a:lnTo>
                  <a:pt x="5523" y="7916"/>
                </a:lnTo>
                <a:close/>
                <a:moveTo>
                  <a:pt x="4108" y="7916"/>
                </a:moveTo>
                <a:lnTo>
                  <a:pt x="5213" y="7916"/>
                </a:lnTo>
                <a:lnTo>
                  <a:pt x="5213" y="9020"/>
                </a:lnTo>
                <a:lnTo>
                  <a:pt x="4108" y="9020"/>
                </a:lnTo>
                <a:lnTo>
                  <a:pt x="4108" y="7916"/>
                </a:lnTo>
                <a:close/>
                <a:moveTo>
                  <a:pt x="2692" y="7916"/>
                </a:moveTo>
                <a:lnTo>
                  <a:pt x="3798" y="7916"/>
                </a:lnTo>
                <a:lnTo>
                  <a:pt x="3798" y="9020"/>
                </a:lnTo>
                <a:lnTo>
                  <a:pt x="2692" y="9020"/>
                </a:lnTo>
                <a:lnTo>
                  <a:pt x="2692" y="7916"/>
                </a:lnTo>
                <a:close/>
                <a:moveTo>
                  <a:pt x="1277" y="7916"/>
                </a:moveTo>
                <a:lnTo>
                  <a:pt x="2383" y="7916"/>
                </a:lnTo>
                <a:lnTo>
                  <a:pt x="2383" y="9020"/>
                </a:lnTo>
                <a:lnTo>
                  <a:pt x="1277" y="9020"/>
                </a:lnTo>
                <a:lnTo>
                  <a:pt x="1277" y="7916"/>
                </a:lnTo>
                <a:close/>
                <a:moveTo>
                  <a:pt x="5523" y="9417"/>
                </a:moveTo>
                <a:lnTo>
                  <a:pt x="6628" y="9417"/>
                </a:lnTo>
                <a:lnTo>
                  <a:pt x="6628" y="10521"/>
                </a:lnTo>
                <a:lnTo>
                  <a:pt x="5523" y="10521"/>
                </a:lnTo>
                <a:lnTo>
                  <a:pt x="5523" y="9417"/>
                </a:lnTo>
                <a:close/>
                <a:moveTo>
                  <a:pt x="4108" y="9417"/>
                </a:moveTo>
                <a:lnTo>
                  <a:pt x="5213" y="9417"/>
                </a:lnTo>
                <a:lnTo>
                  <a:pt x="5213" y="10521"/>
                </a:lnTo>
                <a:lnTo>
                  <a:pt x="4108" y="10521"/>
                </a:lnTo>
                <a:lnTo>
                  <a:pt x="4108" y="9417"/>
                </a:lnTo>
                <a:close/>
                <a:moveTo>
                  <a:pt x="2692" y="9417"/>
                </a:moveTo>
                <a:lnTo>
                  <a:pt x="3798" y="9417"/>
                </a:lnTo>
                <a:lnTo>
                  <a:pt x="3798" y="10521"/>
                </a:lnTo>
                <a:lnTo>
                  <a:pt x="2692" y="10521"/>
                </a:lnTo>
                <a:lnTo>
                  <a:pt x="2692" y="9417"/>
                </a:lnTo>
                <a:close/>
                <a:moveTo>
                  <a:pt x="1277" y="9417"/>
                </a:moveTo>
                <a:lnTo>
                  <a:pt x="2383" y="9417"/>
                </a:lnTo>
                <a:lnTo>
                  <a:pt x="2383" y="10521"/>
                </a:lnTo>
                <a:lnTo>
                  <a:pt x="1277" y="10521"/>
                </a:lnTo>
                <a:lnTo>
                  <a:pt x="1277" y="9417"/>
                </a:lnTo>
                <a:close/>
                <a:moveTo>
                  <a:pt x="5523" y="10919"/>
                </a:moveTo>
                <a:lnTo>
                  <a:pt x="6628" y="10919"/>
                </a:lnTo>
                <a:lnTo>
                  <a:pt x="6628" y="12023"/>
                </a:lnTo>
                <a:lnTo>
                  <a:pt x="5523" y="12023"/>
                </a:lnTo>
                <a:lnTo>
                  <a:pt x="5523" y="10919"/>
                </a:lnTo>
                <a:close/>
                <a:moveTo>
                  <a:pt x="4108" y="10919"/>
                </a:moveTo>
                <a:lnTo>
                  <a:pt x="5213" y="10919"/>
                </a:lnTo>
                <a:lnTo>
                  <a:pt x="5213" y="12023"/>
                </a:lnTo>
                <a:lnTo>
                  <a:pt x="4108" y="12023"/>
                </a:lnTo>
                <a:lnTo>
                  <a:pt x="4108" y="10919"/>
                </a:lnTo>
                <a:close/>
                <a:moveTo>
                  <a:pt x="2692" y="10919"/>
                </a:moveTo>
                <a:lnTo>
                  <a:pt x="3798" y="10919"/>
                </a:lnTo>
                <a:lnTo>
                  <a:pt x="3798" y="12023"/>
                </a:lnTo>
                <a:lnTo>
                  <a:pt x="2692" y="12023"/>
                </a:lnTo>
                <a:lnTo>
                  <a:pt x="2692" y="10919"/>
                </a:lnTo>
                <a:close/>
                <a:moveTo>
                  <a:pt x="1277" y="10919"/>
                </a:moveTo>
                <a:lnTo>
                  <a:pt x="2383" y="10919"/>
                </a:lnTo>
                <a:lnTo>
                  <a:pt x="2383" y="12023"/>
                </a:lnTo>
                <a:lnTo>
                  <a:pt x="1277" y="12023"/>
                </a:lnTo>
                <a:lnTo>
                  <a:pt x="1277" y="10919"/>
                </a:lnTo>
                <a:close/>
                <a:moveTo>
                  <a:pt x="5523" y="12419"/>
                </a:moveTo>
                <a:lnTo>
                  <a:pt x="6628" y="12419"/>
                </a:lnTo>
                <a:lnTo>
                  <a:pt x="6628" y="13523"/>
                </a:lnTo>
                <a:lnTo>
                  <a:pt x="5523" y="13523"/>
                </a:lnTo>
                <a:lnTo>
                  <a:pt x="5523" y="12419"/>
                </a:lnTo>
                <a:close/>
                <a:moveTo>
                  <a:pt x="4108" y="12419"/>
                </a:moveTo>
                <a:lnTo>
                  <a:pt x="5213" y="12419"/>
                </a:lnTo>
                <a:lnTo>
                  <a:pt x="5213" y="13523"/>
                </a:lnTo>
                <a:lnTo>
                  <a:pt x="4108" y="13523"/>
                </a:lnTo>
                <a:lnTo>
                  <a:pt x="4108" y="12419"/>
                </a:lnTo>
                <a:close/>
                <a:moveTo>
                  <a:pt x="2692" y="12419"/>
                </a:moveTo>
                <a:lnTo>
                  <a:pt x="3798" y="12419"/>
                </a:lnTo>
                <a:lnTo>
                  <a:pt x="3798" y="13523"/>
                </a:lnTo>
                <a:lnTo>
                  <a:pt x="2692" y="13523"/>
                </a:lnTo>
                <a:lnTo>
                  <a:pt x="2692" y="12419"/>
                </a:lnTo>
                <a:close/>
                <a:moveTo>
                  <a:pt x="8086" y="1911"/>
                </a:moveTo>
                <a:lnTo>
                  <a:pt x="9191" y="1911"/>
                </a:lnTo>
                <a:lnTo>
                  <a:pt x="9191" y="3015"/>
                </a:lnTo>
                <a:lnTo>
                  <a:pt x="8086" y="3015"/>
                </a:lnTo>
                <a:lnTo>
                  <a:pt x="8086" y="1911"/>
                </a:lnTo>
                <a:close/>
                <a:moveTo>
                  <a:pt x="8086" y="12419"/>
                </a:moveTo>
                <a:lnTo>
                  <a:pt x="9191" y="12419"/>
                </a:lnTo>
                <a:lnTo>
                  <a:pt x="9191" y="13523"/>
                </a:lnTo>
                <a:lnTo>
                  <a:pt x="8086" y="13523"/>
                </a:lnTo>
                <a:lnTo>
                  <a:pt x="8086" y="12419"/>
                </a:lnTo>
                <a:close/>
                <a:moveTo>
                  <a:pt x="9500" y="12419"/>
                </a:moveTo>
                <a:lnTo>
                  <a:pt x="10606" y="12419"/>
                </a:lnTo>
                <a:lnTo>
                  <a:pt x="10606" y="13523"/>
                </a:lnTo>
                <a:lnTo>
                  <a:pt x="9500" y="13523"/>
                </a:lnTo>
                <a:lnTo>
                  <a:pt x="9500" y="12419"/>
                </a:lnTo>
                <a:close/>
                <a:moveTo>
                  <a:pt x="10915" y="12419"/>
                </a:moveTo>
                <a:lnTo>
                  <a:pt x="12021" y="12419"/>
                </a:lnTo>
                <a:lnTo>
                  <a:pt x="12021" y="13523"/>
                </a:lnTo>
                <a:lnTo>
                  <a:pt x="10915" y="13523"/>
                </a:lnTo>
                <a:lnTo>
                  <a:pt x="10915" y="12419"/>
                </a:lnTo>
                <a:close/>
                <a:moveTo>
                  <a:pt x="12331" y="12419"/>
                </a:moveTo>
                <a:lnTo>
                  <a:pt x="13436" y="12419"/>
                </a:lnTo>
                <a:lnTo>
                  <a:pt x="13436" y="13523"/>
                </a:lnTo>
                <a:lnTo>
                  <a:pt x="12331" y="13523"/>
                </a:lnTo>
                <a:lnTo>
                  <a:pt x="12331" y="12419"/>
                </a:lnTo>
                <a:close/>
                <a:moveTo>
                  <a:pt x="8086" y="10919"/>
                </a:moveTo>
                <a:lnTo>
                  <a:pt x="9191" y="10919"/>
                </a:lnTo>
                <a:lnTo>
                  <a:pt x="9191" y="12023"/>
                </a:lnTo>
                <a:lnTo>
                  <a:pt x="8086" y="12023"/>
                </a:lnTo>
                <a:lnTo>
                  <a:pt x="8086" y="10919"/>
                </a:lnTo>
                <a:close/>
                <a:moveTo>
                  <a:pt x="9500" y="10919"/>
                </a:moveTo>
                <a:lnTo>
                  <a:pt x="10606" y="10919"/>
                </a:lnTo>
                <a:lnTo>
                  <a:pt x="10606" y="12023"/>
                </a:lnTo>
                <a:lnTo>
                  <a:pt x="9500" y="12023"/>
                </a:lnTo>
                <a:lnTo>
                  <a:pt x="9500" y="10919"/>
                </a:lnTo>
                <a:close/>
                <a:moveTo>
                  <a:pt x="10915" y="10919"/>
                </a:moveTo>
                <a:lnTo>
                  <a:pt x="12021" y="10919"/>
                </a:lnTo>
                <a:lnTo>
                  <a:pt x="12021" y="12023"/>
                </a:lnTo>
                <a:lnTo>
                  <a:pt x="10915" y="12023"/>
                </a:lnTo>
                <a:lnTo>
                  <a:pt x="10915" y="10919"/>
                </a:lnTo>
                <a:close/>
                <a:moveTo>
                  <a:pt x="12331" y="10919"/>
                </a:moveTo>
                <a:lnTo>
                  <a:pt x="13436" y="10919"/>
                </a:lnTo>
                <a:lnTo>
                  <a:pt x="13436" y="12023"/>
                </a:lnTo>
                <a:lnTo>
                  <a:pt x="12331" y="12023"/>
                </a:lnTo>
                <a:lnTo>
                  <a:pt x="12331" y="10919"/>
                </a:lnTo>
                <a:close/>
                <a:moveTo>
                  <a:pt x="8086" y="9417"/>
                </a:moveTo>
                <a:lnTo>
                  <a:pt x="9191" y="9417"/>
                </a:lnTo>
                <a:lnTo>
                  <a:pt x="9191" y="10521"/>
                </a:lnTo>
                <a:lnTo>
                  <a:pt x="8086" y="10521"/>
                </a:lnTo>
                <a:lnTo>
                  <a:pt x="8086" y="9417"/>
                </a:lnTo>
                <a:close/>
                <a:moveTo>
                  <a:pt x="9500" y="9417"/>
                </a:moveTo>
                <a:lnTo>
                  <a:pt x="10606" y="9417"/>
                </a:lnTo>
                <a:lnTo>
                  <a:pt x="10606" y="10521"/>
                </a:lnTo>
                <a:lnTo>
                  <a:pt x="9500" y="10521"/>
                </a:lnTo>
                <a:lnTo>
                  <a:pt x="9500" y="9417"/>
                </a:lnTo>
                <a:close/>
                <a:moveTo>
                  <a:pt x="10915" y="9417"/>
                </a:moveTo>
                <a:lnTo>
                  <a:pt x="12021" y="9417"/>
                </a:lnTo>
                <a:lnTo>
                  <a:pt x="12021" y="10521"/>
                </a:lnTo>
                <a:lnTo>
                  <a:pt x="10915" y="10521"/>
                </a:lnTo>
                <a:lnTo>
                  <a:pt x="10915" y="9417"/>
                </a:lnTo>
                <a:close/>
                <a:moveTo>
                  <a:pt x="12331" y="9417"/>
                </a:moveTo>
                <a:lnTo>
                  <a:pt x="13436" y="9417"/>
                </a:lnTo>
                <a:lnTo>
                  <a:pt x="13436" y="10521"/>
                </a:lnTo>
                <a:lnTo>
                  <a:pt x="12331" y="10521"/>
                </a:lnTo>
                <a:lnTo>
                  <a:pt x="12331" y="9417"/>
                </a:lnTo>
                <a:close/>
                <a:moveTo>
                  <a:pt x="8086" y="7916"/>
                </a:moveTo>
                <a:lnTo>
                  <a:pt x="9191" y="7916"/>
                </a:lnTo>
                <a:lnTo>
                  <a:pt x="9191" y="9020"/>
                </a:lnTo>
                <a:lnTo>
                  <a:pt x="8086" y="9020"/>
                </a:lnTo>
                <a:lnTo>
                  <a:pt x="8086" y="7916"/>
                </a:lnTo>
                <a:close/>
                <a:moveTo>
                  <a:pt x="9500" y="7916"/>
                </a:moveTo>
                <a:lnTo>
                  <a:pt x="10606" y="7916"/>
                </a:lnTo>
                <a:lnTo>
                  <a:pt x="10606" y="9020"/>
                </a:lnTo>
                <a:lnTo>
                  <a:pt x="9500" y="9020"/>
                </a:lnTo>
                <a:lnTo>
                  <a:pt x="9500" y="7916"/>
                </a:lnTo>
                <a:close/>
                <a:moveTo>
                  <a:pt x="10915" y="7916"/>
                </a:moveTo>
                <a:lnTo>
                  <a:pt x="12021" y="7916"/>
                </a:lnTo>
                <a:lnTo>
                  <a:pt x="12021" y="9020"/>
                </a:lnTo>
                <a:lnTo>
                  <a:pt x="10915" y="9020"/>
                </a:lnTo>
                <a:lnTo>
                  <a:pt x="10915" y="7916"/>
                </a:lnTo>
                <a:close/>
                <a:moveTo>
                  <a:pt x="12331" y="7916"/>
                </a:moveTo>
                <a:lnTo>
                  <a:pt x="13436" y="7916"/>
                </a:lnTo>
                <a:lnTo>
                  <a:pt x="13436" y="9020"/>
                </a:lnTo>
                <a:lnTo>
                  <a:pt x="12331" y="9020"/>
                </a:lnTo>
                <a:lnTo>
                  <a:pt x="12331" y="7916"/>
                </a:lnTo>
                <a:close/>
                <a:moveTo>
                  <a:pt x="8086" y="6414"/>
                </a:moveTo>
                <a:lnTo>
                  <a:pt x="9191" y="6414"/>
                </a:lnTo>
                <a:lnTo>
                  <a:pt x="9191" y="7518"/>
                </a:lnTo>
                <a:lnTo>
                  <a:pt x="8086" y="7518"/>
                </a:lnTo>
                <a:lnTo>
                  <a:pt x="8086" y="6414"/>
                </a:lnTo>
                <a:close/>
                <a:moveTo>
                  <a:pt x="9500" y="6414"/>
                </a:moveTo>
                <a:lnTo>
                  <a:pt x="10606" y="6414"/>
                </a:lnTo>
                <a:lnTo>
                  <a:pt x="10606" y="7518"/>
                </a:lnTo>
                <a:lnTo>
                  <a:pt x="9500" y="7518"/>
                </a:lnTo>
                <a:lnTo>
                  <a:pt x="9500" y="6414"/>
                </a:lnTo>
                <a:close/>
                <a:moveTo>
                  <a:pt x="10915" y="6414"/>
                </a:moveTo>
                <a:lnTo>
                  <a:pt x="12021" y="6414"/>
                </a:lnTo>
                <a:lnTo>
                  <a:pt x="12021" y="7518"/>
                </a:lnTo>
                <a:lnTo>
                  <a:pt x="10915" y="7518"/>
                </a:lnTo>
                <a:lnTo>
                  <a:pt x="10915" y="6414"/>
                </a:lnTo>
                <a:close/>
                <a:moveTo>
                  <a:pt x="12331" y="6414"/>
                </a:moveTo>
                <a:lnTo>
                  <a:pt x="13436" y="6414"/>
                </a:lnTo>
                <a:lnTo>
                  <a:pt x="13436" y="7518"/>
                </a:lnTo>
                <a:lnTo>
                  <a:pt x="12331" y="7518"/>
                </a:lnTo>
                <a:lnTo>
                  <a:pt x="12331" y="6414"/>
                </a:lnTo>
                <a:close/>
                <a:moveTo>
                  <a:pt x="8086" y="4914"/>
                </a:moveTo>
                <a:lnTo>
                  <a:pt x="9191" y="4914"/>
                </a:lnTo>
                <a:lnTo>
                  <a:pt x="9191" y="6018"/>
                </a:lnTo>
                <a:lnTo>
                  <a:pt x="8086" y="6018"/>
                </a:lnTo>
                <a:lnTo>
                  <a:pt x="8086" y="4914"/>
                </a:lnTo>
                <a:close/>
                <a:moveTo>
                  <a:pt x="9500" y="4914"/>
                </a:moveTo>
                <a:lnTo>
                  <a:pt x="10606" y="4914"/>
                </a:lnTo>
                <a:lnTo>
                  <a:pt x="10606" y="6018"/>
                </a:lnTo>
                <a:lnTo>
                  <a:pt x="9500" y="6018"/>
                </a:lnTo>
                <a:lnTo>
                  <a:pt x="9500" y="4914"/>
                </a:lnTo>
                <a:close/>
                <a:moveTo>
                  <a:pt x="10915" y="4914"/>
                </a:moveTo>
                <a:lnTo>
                  <a:pt x="12021" y="4914"/>
                </a:lnTo>
                <a:lnTo>
                  <a:pt x="12021" y="6018"/>
                </a:lnTo>
                <a:lnTo>
                  <a:pt x="10915" y="6018"/>
                </a:lnTo>
                <a:lnTo>
                  <a:pt x="10915" y="4914"/>
                </a:lnTo>
                <a:close/>
                <a:moveTo>
                  <a:pt x="12331" y="4914"/>
                </a:moveTo>
                <a:lnTo>
                  <a:pt x="13436" y="4914"/>
                </a:lnTo>
                <a:lnTo>
                  <a:pt x="13436" y="6018"/>
                </a:lnTo>
                <a:lnTo>
                  <a:pt x="12331" y="6018"/>
                </a:lnTo>
                <a:lnTo>
                  <a:pt x="12331" y="4914"/>
                </a:lnTo>
                <a:close/>
                <a:moveTo>
                  <a:pt x="8086" y="3413"/>
                </a:moveTo>
                <a:lnTo>
                  <a:pt x="9191" y="3413"/>
                </a:lnTo>
                <a:lnTo>
                  <a:pt x="9191" y="4516"/>
                </a:lnTo>
                <a:lnTo>
                  <a:pt x="8086" y="4516"/>
                </a:lnTo>
                <a:lnTo>
                  <a:pt x="8086" y="3413"/>
                </a:lnTo>
                <a:close/>
                <a:moveTo>
                  <a:pt x="9500" y="3413"/>
                </a:moveTo>
                <a:lnTo>
                  <a:pt x="10606" y="3413"/>
                </a:lnTo>
                <a:lnTo>
                  <a:pt x="10606" y="4516"/>
                </a:lnTo>
                <a:lnTo>
                  <a:pt x="9500" y="4516"/>
                </a:lnTo>
                <a:lnTo>
                  <a:pt x="9500" y="3413"/>
                </a:lnTo>
                <a:close/>
                <a:moveTo>
                  <a:pt x="10915" y="3413"/>
                </a:moveTo>
                <a:lnTo>
                  <a:pt x="12021" y="3413"/>
                </a:lnTo>
                <a:lnTo>
                  <a:pt x="12021" y="4516"/>
                </a:lnTo>
                <a:lnTo>
                  <a:pt x="10915" y="4516"/>
                </a:lnTo>
                <a:lnTo>
                  <a:pt x="10915" y="3413"/>
                </a:lnTo>
                <a:close/>
                <a:moveTo>
                  <a:pt x="9500" y="1911"/>
                </a:moveTo>
                <a:lnTo>
                  <a:pt x="10606" y="1911"/>
                </a:lnTo>
                <a:lnTo>
                  <a:pt x="10606" y="3015"/>
                </a:lnTo>
                <a:lnTo>
                  <a:pt x="9500" y="3015"/>
                </a:lnTo>
                <a:lnTo>
                  <a:pt x="9500" y="1911"/>
                </a:lnTo>
                <a:close/>
                <a:moveTo>
                  <a:pt x="10915" y="1911"/>
                </a:moveTo>
                <a:lnTo>
                  <a:pt x="12021" y="1911"/>
                </a:lnTo>
                <a:lnTo>
                  <a:pt x="12021" y="3015"/>
                </a:lnTo>
                <a:lnTo>
                  <a:pt x="10915" y="3015"/>
                </a:lnTo>
                <a:lnTo>
                  <a:pt x="10915" y="1911"/>
                </a:lnTo>
                <a:close/>
                <a:moveTo>
                  <a:pt x="12331" y="1911"/>
                </a:moveTo>
                <a:lnTo>
                  <a:pt x="13436" y="1911"/>
                </a:lnTo>
                <a:lnTo>
                  <a:pt x="13436" y="3015"/>
                </a:lnTo>
                <a:lnTo>
                  <a:pt x="12331" y="3015"/>
                </a:lnTo>
                <a:lnTo>
                  <a:pt x="12331" y="1911"/>
                </a:lnTo>
                <a:close/>
                <a:moveTo>
                  <a:pt x="12331" y="3413"/>
                </a:moveTo>
                <a:lnTo>
                  <a:pt x="13436" y="3413"/>
                </a:lnTo>
                <a:lnTo>
                  <a:pt x="13436" y="4516"/>
                </a:lnTo>
                <a:lnTo>
                  <a:pt x="12331" y="4516"/>
                </a:lnTo>
                <a:lnTo>
                  <a:pt x="12331" y="3413"/>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28" name="Freeform 40"/>
          <p:cNvSpPr>
            <a:spLocks noEditPoints="1"/>
          </p:cNvSpPr>
          <p:nvPr/>
        </p:nvSpPr>
        <p:spPr bwMode="auto">
          <a:xfrm>
            <a:off x="2735780" y="3199697"/>
            <a:ext cx="253558" cy="314596"/>
          </a:xfrm>
          <a:custGeom>
            <a:avLst/>
            <a:gdLst/>
            <a:ahLst/>
            <a:cxnLst>
              <a:cxn ang="0">
                <a:pos x="14973" y="1114"/>
              </a:cxn>
              <a:cxn ang="0">
                <a:pos x="13934" y="1316"/>
              </a:cxn>
              <a:cxn ang="0">
                <a:pos x="14745" y="1620"/>
              </a:cxn>
              <a:cxn ang="0">
                <a:pos x="15049" y="2126"/>
              </a:cxn>
              <a:cxn ang="0">
                <a:pos x="14745" y="2633"/>
              </a:cxn>
              <a:cxn ang="0">
                <a:pos x="13934" y="13466"/>
              </a:cxn>
              <a:cxn ang="0">
                <a:pos x="14846" y="13643"/>
              </a:cxn>
              <a:cxn ang="0">
                <a:pos x="15024" y="14200"/>
              </a:cxn>
              <a:cxn ang="0">
                <a:pos x="14618" y="14631"/>
              </a:cxn>
              <a:cxn ang="0">
                <a:pos x="14492" y="14884"/>
              </a:cxn>
              <a:cxn ang="0">
                <a:pos x="15074" y="15188"/>
              </a:cxn>
              <a:cxn ang="0">
                <a:pos x="15125" y="15795"/>
              </a:cxn>
              <a:cxn ang="0">
                <a:pos x="14618" y="16200"/>
              </a:cxn>
              <a:cxn ang="0">
                <a:pos x="304" y="16099"/>
              </a:cxn>
              <a:cxn ang="0">
                <a:pos x="0" y="15542"/>
              </a:cxn>
              <a:cxn ang="0">
                <a:pos x="304" y="15010"/>
              </a:cxn>
              <a:cxn ang="0">
                <a:pos x="1267" y="14681"/>
              </a:cxn>
              <a:cxn ang="0">
                <a:pos x="355" y="14504"/>
              </a:cxn>
              <a:cxn ang="0">
                <a:pos x="152" y="13947"/>
              </a:cxn>
              <a:cxn ang="0">
                <a:pos x="557" y="13517"/>
              </a:cxn>
              <a:cxn ang="0">
                <a:pos x="836" y="2734"/>
              </a:cxn>
              <a:cxn ang="0">
                <a:pos x="253" y="2481"/>
              </a:cxn>
              <a:cxn ang="0">
                <a:pos x="203" y="1898"/>
              </a:cxn>
              <a:cxn ang="0">
                <a:pos x="709" y="1544"/>
              </a:cxn>
              <a:cxn ang="0">
                <a:pos x="557" y="1291"/>
              </a:cxn>
              <a:cxn ang="0">
                <a:pos x="51" y="911"/>
              </a:cxn>
              <a:cxn ang="0">
                <a:pos x="101" y="278"/>
              </a:cxn>
              <a:cxn ang="0">
                <a:pos x="709" y="0"/>
              </a:cxn>
              <a:cxn ang="0">
                <a:pos x="14973" y="203"/>
              </a:cxn>
              <a:cxn ang="0">
                <a:pos x="9349" y="6126"/>
              </a:cxn>
              <a:cxn ang="0">
                <a:pos x="9349" y="10049"/>
              </a:cxn>
              <a:cxn ang="0">
                <a:pos x="7677" y="6126"/>
              </a:cxn>
              <a:cxn ang="0">
                <a:pos x="7018" y="8733"/>
              </a:cxn>
              <a:cxn ang="0">
                <a:pos x="6562" y="9568"/>
              </a:cxn>
              <a:cxn ang="0">
                <a:pos x="5776" y="10049"/>
              </a:cxn>
              <a:cxn ang="0">
                <a:pos x="4738" y="10074"/>
              </a:cxn>
              <a:cxn ang="0">
                <a:pos x="3927" y="9669"/>
              </a:cxn>
              <a:cxn ang="0">
                <a:pos x="3420" y="8910"/>
              </a:cxn>
              <a:cxn ang="0">
                <a:pos x="3319" y="7898"/>
              </a:cxn>
              <a:cxn ang="0">
                <a:pos x="3598" y="6961"/>
              </a:cxn>
              <a:cxn ang="0">
                <a:pos x="4256" y="6303"/>
              </a:cxn>
              <a:cxn ang="0">
                <a:pos x="5219" y="6050"/>
              </a:cxn>
              <a:cxn ang="0">
                <a:pos x="6182" y="6303"/>
              </a:cxn>
              <a:cxn ang="0">
                <a:pos x="6815" y="6936"/>
              </a:cxn>
              <a:cxn ang="0">
                <a:pos x="7094" y="7847"/>
              </a:cxn>
              <a:cxn ang="0">
                <a:pos x="4383" y="8859"/>
              </a:cxn>
              <a:cxn ang="0">
                <a:pos x="5194" y="9416"/>
              </a:cxn>
              <a:cxn ang="0">
                <a:pos x="6004" y="8834"/>
              </a:cxn>
              <a:cxn ang="0">
                <a:pos x="6080" y="7568"/>
              </a:cxn>
              <a:cxn ang="0">
                <a:pos x="5422" y="6784"/>
              </a:cxn>
              <a:cxn ang="0">
                <a:pos x="4510" y="7138"/>
              </a:cxn>
            </a:cxnLst>
            <a:rect l="0" t="0" r="r" b="b"/>
            <a:pathLst>
              <a:path w="15201" h="16200">
                <a:moveTo>
                  <a:pt x="15201" y="658"/>
                </a:moveTo>
                <a:lnTo>
                  <a:pt x="15176" y="785"/>
                </a:lnTo>
                <a:lnTo>
                  <a:pt x="15125" y="911"/>
                </a:lnTo>
                <a:lnTo>
                  <a:pt x="15074" y="1038"/>
                </a:lnTo>
                <a:lnTo>
                  <a:pt x="14973" y="1114"/>
                </a:lnTo>
                <a:lnTo>
                  <a:pt x="14872" y="1215"/>
                </a:lnTo>
                <a:lnTo>
                  <a:pt x="14770" y="1266"/>
                </a:lnTo>
                <a:lnTo>
                  <a:pt x="14618" y="1291"/>
                </a:lnTo>
                <a:lnTo>
                  <a:pt x="14492" y="1316"/>
                </a:lnTo>
                <a:lnTo>
                  <a:pt x="13934" y="1316"/>
                </a:lnTo>
                <a:lnTo>
                  <a:pt x="13934" y="1519"/>
                </a:lnTo>
                <a:lnTo>
                  <a:pt x="14340" y="1519"/>
                </a:lnTo>
                <a:lnTo>
                  <a:pt x="14492" y="1544"/>
                </a:lnTo>
                <a:lnTo>
                  <a:pt x="14618" y="1569"/>
                </a:lnTo>
                <a:lnTo>
                  <a:pt x="14745" y="1620"/>
                </a:lnTo>
                <a:lnTo>
                  <a:pt x="14846" y="1696"/>
                </a:lnTo>
                <a:lnTo>
                  <a:pt x="14922" y="1797"/>
                </a:lnTo>
                <a:lnTo>
                  <a:pt x="14973" y="1898"/>
                </a:lnTo>
                <a:lnTo>
                  <a:pt x="15024" y="2000"/>
                </a:lnTo>
                <a:lnTo>
                  <a:pt x="15049" y="2126"/>
                </a:lnTo>
                <a:lnTo>
                  <a:pt x="15024" y="2253"/>
                </a:lnTo>
                <a:lnTo>
                  <a:pt x="14973" y="2354"/>
                </a:lnTo>
                <a:lnTo>
                  <a:pt x="14922" y="2481"/>
                </a:lnTo>
                <a:lnTo>
                  <a:pt x="14846" y="2557"/>
                </a:lnTo>
                <a:lnTo>
                  <a:pt x="14745" y="2633"/>
                </a:lnTo>
                <a:lnTo>
                  <a:pt x="14618" y="2683"/>
                </a:lnTo>
                <a:lnTo>
                  <a:pt x="14492" y="2734"/>
                </a:lnTo>
                <a:lnTo>
                  <a:pt x="14340" y="2734"/>
                </a:lnTo>
                <a:lnTo>
                  <a:pt x="13934" y="2734"/>
                </a:lnTo>
                <a:lnTo>
                  <a:pt x="13934" y="13466"/>
                </a:lnTo>
                <a:lnTo>
                  <a:pt x="14340" y="13466"/>
                </a:lnTo>
                <a:lnTo>
                  <a:pt x="14492" y="13492"/>
                </a:lnTo>
                <a:lnTo>
                  <a:pt x="14618" y="13517"/>
                </a:lnTo>
                <a:lnTo>
                  <a:pt x="14745" y="13568"/>
                </a:lnTo>
                <a:lnTo>
                  <a:pt x="14846" y="13643"/>
                </a:lnTo>
                <a:lnTo>
                  <a:pt x="14922" y="13745"/>
                </a:lnTo>
                <a:lnTo>
                  <a:pt x="14973" y="13846"/>
                </a:lnTo>
                <a:lnTo>
                  <a:pt x="15024" y="13947"/>
                </a:lnTo>
                <a:lnTo>
                  <a:pt x="15049" y="14074"/>
                </a:lnTo>
                <a:lnTo>
                  <a:pt x="15024" y="14200"/>
                </a:lnTo>
                <a:lnTo>
                  <a:pt x="14973" y="14302"/>
                </a:lnTo>
                <a:lnTo>
                  <a:pt x="14922" y="14428"/>
                </a:lnTo>
                <a:lnTo>
                  <a:pt x="14846" y="14504"/>
                </a:lnTo>
                <a:lnTo>
                  <a:pt x="14745" y="14580"/>
                </a:lnTo>
                <a:lnTo>
                  <a:pt x="14618" y="14631"/>
                </a:lnTo>
                <a:lnTo>
                  <a:pt x="14492" y="14681"/>
                </a:lnTo>
                <a:lnTo>
                  <a:pt x="14340" y="14681"/>
                </a:lnTo>
                <a:lnTo>
                  <a:pt x="13934" y="14681"/>
                </a:lnTo>
                <a:lnTo>
                  <a:pt x="13934" y="14884"/>
                </a:lnTo>
                <a:lnTo>
                  <a:pt x="14492" y="14884"/>
                </a:lnTo>
                <a:lnTo>
                  <a:pt x="14618" y="14909"/>
                </a:lnTo>
                <a:lnTo>
                  <a:pt x="14770" y="14934"/>
                </a:lnTo>
                <a:lnTo>
                  <a:pt x="14872" y="15010"/>
                </a:lnTo>
                <a:lnTo>
                  <a:pt x="14973" y="15086"/>
                </a:lnTo>
                <a:lnTo>
                  <a:pt x="15074" y="15188"/>
                </a:lnTo>
                <a:lnTo>
                  <a:pt x="15125" y="15289"/>
                </a:lnTo>
                <a:lnTo>
                  <a:pt x="15176" y="15415"/>
                </a:lnTo>
                <a:lnTo>
                  <a:pt x="15201" y="15542"/>
                </a:lnTo>
                <a:lnTo>
                  <a:pt x="15176" y="15668"/>
                </a:lnTo>
                <a:lnTo>
                  <a:pt x="15125" y="15795"/>
                </a:lnTo>
                <a:lnTo>
                  <a:pt x="15074" y="15922"/>
                </a:lnTo>
                <a:lnTo>
                  <a:pt x="14973" y="16023"/>
                </a:lnTo>
                <a:lnTo>
                  <a:pt x="14872" y="16099"/>
                </a:lnTo>
                <a:lnTo>
                  <a:pt x="14770" y="16149"/>
                </a:lnTo>
                <a:lnTo>
                  <a:pt x="14618" y="16200"/>
                </a:lnTo>
                <a:lnTo>
                  <a:pt x="14492" y="16200"/>
                </a:lnTo>
                <a:lnTo>
                  <a:pt x="709" y="16200"/>
                </a:lnTo>
                <a:lnTo>
                  <a:pt x="557" y="16200"/>
                </a:lnTo>
                <a:lnTo>
                  <a:pt x="431" y="16149"/>
                </a:lnTo>
                <a:lnTo>
                  <a:pt x="304" y="16099"/>
                </a:lnTo>
                <a:lnTo>
                  <a:pt x="203" y="16023"/>
                </a:lnTo>
                <a:lnTo>
                  <a:pt x="101" y="15922"/>
                </a:lnTo>
                <a:lnTo>
                  <a:pt x="51" y="15795"/>
                </a:lnTo>
                <a:lnTo>
                  <a:pt x="0" y="15668"/>
                </a:lnTo>
                <a:lnTo>
                  <a:pt x="0" y="15542"/>
                </a:lnTo>
                <a:lnTo>
                  <a:pt x="0" y="15415"/>
                </a:lnTo>
                <a:lnTo>
                  <a:pt x="51" y="15289"/>
                </a:lnTo>
                <a:lnTo>
                  <a:pt x="101" y="15188"/>
                </a:lnTo>
                <a:lnTo>
                  <a:pt x="203" y="15086"/>
                </a:lnTo>
                <a:lnTo>
                  <a:pt x="304" y="15010"/>
                </a:lnTo>
                <a:lnTo>
                  <a:pt x="431" y="14934"/>
                </a:lnTo>
                <a:lnTo>
                  <a:pt x="557" y="14909"/>
                </a:lnTo>
                <a:lnTo>
                  <a:pt x="709" y="14884"/>
                </a:lnTo>
                <a:lnTo>
                  <a:pt x="1267" y="14884"/>
                </a:lnTo>
                <a:lnTo>
                  <a:pt x="1267" y="14681"/>
                </a:lnTo>
                <a:lnTo>
                  <a:pt x="836" y="14681"/>
                </a:lnTo>
                <a:lnTo>
                  <a:pt x="709" y="14681"/>
                </a:lnTo>
                <a:lnTo>
                  <a:pt x="557" y="14631"/>
                </a:lnTo>
                <a:lnTo>
                  <a:pt x="456" y="14580"/>
                </a:lnTo>
                <a:lnTo>
                  <a:pt x="355" y="14504"/>
                </a:lnTo>
                <a:lnTo>
                  <a:pt x="253" y="14428"/>
                </a:lnTo>
                <a:lnTo>
                  <a:pt x="203" y="14302"/>
                </a:lnTo>
                <a:lnTo>
                  <a:pt x="152" y="14200"/>
                </a:lnTo>
                <a:lnTo>
                  <a:pt x="152" y="14074"/>
                </a:lnTo>
                <a:lnTo>
                  <a:pt x="152" y="13947"/>
                </a:lnTo>
                <a:lnTo>
                  <a:pt x="203" y="13846"/>
                </a:lnTo>
                <a:lnTo>
                  <a:pt x="253" y="13745"/>
                </a:lnTo>
                <a:lnTo>
                  <a:pt x="355" y="13643"/>
                </a:lnTo>
                <a:lnTo>
                  <a:pt x="456" y="13568"/>
                </a:lnTo>
                <a:lnTo>
                  <a:pt x="557" y="13517"/>
                </a:lnTo>
                <a:lnTo>
                  <a:pt x="709" y="13492"/>
                </a:lnTo>
                <a:lnTo>
                  <a:pt x="836" y="13466"/>
                </a:lnTo>
                <a:lnTo>
                  <a:pt x="1267" y="13466"/>
                </a:lnTo>
                <a:lnTo>
                  <a:pt x="1267" y="2734"/>
                </a:lnTo>
                <a:lnTo>
                  <a:pt x="836" y="2734"/>
                </a:lnTo>
                <a:lnTo>
                  <a:pt x="709" y="2734"/>
                </a:lnTo>
                <a:lnTo>
                  <a:pt x="557" y="2683"/>
                </a:lnTo>
                <a:lnTo>
                  <a:pt x="456" y="2633"/>
                </a:lnTo>
                <a:lnTo>
                  <a:pt x="355" y="2557"/>
                </a:lnTo>
                <a:lnTo>
                  <a:pt x="253" y="2481"/>
                </a:lnTo>
                <a:lnTo>
                  <a:pt x="203" y="2354"/>
                </a:lnTo>
                <a:lnTo>
                  <a:pt x="152" y="2253"/>
                </a:lnTo>
                <a:lnTo>
                  <a:pt x="152" y="2126"/>
                </a:lnTo>
                <a:lnTo>
                  <a:pt x="152" y="2000"/>
                </a:lnTo>
                <a:lnTo>
                  <a:pt x="203" y="1898"/>
                </a:lnTo>
                <a:lnTo>
                  <a:pt x="253" y="1797"/>
                </a:lnTo>
                <a:lnTo>
                  <a:pt x="355" y="1696"/>
                </a:lnTo>
                <a:lnTo>
                  <a:pt x="456" y="1620"/>
                </a:lnTo>
                <a:lnTo>
                  <a:pt x="557" y="1569"/>
                </a:lnTo>
                <a:lnTo>
                  <a:pt x="709" y="1544"/>
                </a:lnTo>
                <a:lnTo>
                  <a:pt x="836" y="1519"/>
                </a:lnTo>
                <a:lnTo>
                  <a:pt x="1267" y="1519"/>
                </a:lnTo>
                <a:lnTo>
                  <a:pt x="1267" y="1316"/>
                </a:lnTo>
                <a:lnTo>
                  <a:pt x="709" y="1316"/>
                </a:lnTo>
                <a:lnTo>
                  <a:pt x="557" y="1291"/>
                </a:lnTo>
                <a:lnTo>
                  <a:pt x="431" y="1266"/>
                </a:lnTo>
                <a:lnTo>
                  <a:pt x="304" y="1215"/>
                </a:lnTo>
                <a:lnTo>
                  <a:pt x="203" y="1114"/>
                </a:lnTo>
                <a:lnTo>
                  <a:pt x="101" y="1038"/>
                </a:lnTo>
                <a:lnTo>
                  <a:pt x="51" y="911"/>
                </a:lnTo>
                <a:lnTo>
                  <a:pt x="0" y="785"/>
                </a:lnTo>
                <a:lnTo>
                  <a:pt x="0" y="658"/>
                </a:lnTo>
                <a:lnTo>
                  <a:pt x="0" y="532"/>
                </a:lnTo>
                <a:lnTo>
                  <a:pt x="51" y="405"/>
                </a:lnTo>
                <a:lnTo>
                  <a:pt x="101" y="278"/>
                </a:lnTo>
                <a:lnTo>
                  <a:pt x="203" y="203"/>
                </a:lnTo>
                <a:lnTo>
                  <a:pt x="304" y="101"/>
                </a:lnTo>
                <a:lnTo>
                  <a:pt x="431" y="51"/>
                </a:lnTo>
                <a:lnTo>
                  <a:pt x="557" y="25"/>
                </a:lnTo>
                <a:lnTo>
                  <a:pt x="709" y="0"/>
                </a:lnTo>
                <a:lnTo>
                  <a:pt x="14492" y="0"/>
                </a:lnTo>
                <a:lnTo>
                  <a:pt x="14618" y="25"/>
                </a:lnTo>
                <a:lnTo>
                  <a:pt x="14770" y="51"/>
                </a:lnTo>
                <a:lnTo>
                  <a:pt x="14872" y="101"/>
                </a:lnTo>
                <a:lnTo>
                  <a:pt x="14973" y="203"/>
                </a:lnTo>
                <a:lnTo>
                  <a:pt x="15074" y="278"/>
                </a:lnTo>
                <a:lnTo>
                  <a:pt x="15125" y="405"/>
                </a:lnTo>
                <a:lnTo>
                  <a:pt x="15176" y="532"/>
                </a:lnTo>
                <a:lnTo>
                  <a:pt x="15201" y="658"/>
                </a:lnTo>
                <a:close/>
                <a:moveTo>
                  <a:pt x="9349" y="6126"/>
                </a:moveTo>
                <a:lnTo>
                  <a:pt x="10235" y="6126"/>
                </a:lnTo>
                <a:lnTo>
                  <a:pt x="10235" y="9315"/>
                </a:lnTo>
                <a:lnTo>
                  <a:pt x="11806" y="9315"/>
                </a:lnTo>
                <a:lnTo>
                  <a:pt x="11806" y="10049"/>
                </a:lnTo>
                <a:lnTo>
                  <a:pt x="9349" y="10049"/>
                </a:lnTo>
                <a:lnTo>
                  <a:pt x="9349" y="6126"/>
                </a:lnTo>
                <a:close/>
                <a:moveTo>
                  <a:pt x="8563" y="6126"/>
                </a:moveTo>
                <a:lnTo>
                  <a:pt x="8563" y="10049"/>
                </a:lnTo>
                <a:lnTo>
                  <a:pt x="7677" y="10049"/>
                </a:lnTo>
                <a:lnTo>
                  <a:pt x="7677" y="6126"/>
                </a:lnTo>
                <a:lnTo>
                  <a:pt x="8563" y="6126"/>
                </a:lnTo>
                <a:close/>
                <a:moveTo>
                  <a:pt x="7094" y="8049"/>
                </a:moveTo>
                <a:lnTo>
                  <a:pt x="7068" y="8303"/>
                </a:lnTo>
                <a:lnTo>
                  <a:pt x="7043" y="8505"/>
                </a:lnTo>
                <a:lnTo>
                  <a:pt x="7018" y="8733"/>
                </a:lnTo>
                <a:lnTo>
                  <a:pt x="6942" y="8935"/>
                </a:lnTo>
                <a:lnTo>
                  <a:pt x="6866" y="9113"/>
                </a:lnTo>
                <a:lnTo>
                  <a:pt x="6790" y="9290"/>
                </a:lnTo>
                <a:lnTo>
                  <a:pt x="6688" y="9442"/>
                </a:lnTo>
                <a:lnTo>
                  <a:pt x="6562" y="9568"/>
                </a:lnTo>
                <a:lnTo>
                  <a:pt x="6435" y="9695"/>
                </a:lnTo>
                <a:lnTo>
                  <a:pt x="6283" y="9821"/>
                </a:lnTo>
                <a:lnTo>
                  <a:pt x="6106" y="9897"/>
                </a:lnTo>
                <a:lnTo>
                  <a:pt x="5954" y="9973"/>
                </a:lnTo>
                <a:lnTo>
                  <a:pt x="5776" y="10049"/>
                </a:lnTo>
                <a:lnTo>
                  <a:pt x="5574" y="10100"/>
                </a:lnTo>
                <a:lnTo>
                  <a:pt x="5371" y="10125"/>
                </a:lnTo>
                <a:lnTo>
                  <a:pt x="5168" y="10125"/>
                </a:lnTo>
                <a:lnTo>
                  <a:pt x="4940" y="10125"/>
                </a:lnTo>
                <a:lnTo>
                  <a:pt x="4738" y="10074"/>
                </a:lnTo>
                <a:lnTo>
                  <a:pt x="4560" y="10024"/>
                </a:lnTo>
                <a:lnTo>
                  <a:pt x="4383" y="9973"/>
                </a:lnTo>
                <a:lnTo>
                  <a:pt x="4206" y="9897"/>
                </a:lnTo>
                <a:lnTo>
                  <a:pt x="4054" y="9796"/>
                </a:lnTo>
                <a:lnTo>
                  <a:pt x="3927" y="9669"/>
                </a:lnTo>
                <a:lnTo>
                  <a:pt x="3800" y="9543"/>
                </a:lnTo>
                <a:lnTo>
                  <a:pt x="3674" y="9391"/>
                </a:lnTo>
                <a:lnTo>
                  <a:pt x="3598" y="9239"/>
                </a:lnTo>
                <a:lnTo>
                  <a:pt x="3496" y="9087"/>
                </a:lnTo>
                <a:lnTo>
                  <a:pt x="3420" y="8910"/>
                </a:lnTo>
                <a:lnTo>
                  <a:pt x="3370" y="8733"/>
                </a:lnTo>
                <a:lnTo>
                  <a:pt x="3344" y="8530"/>
                </a:lnTo>
                <a:lnTo>
                  <a:pt x="3319" y="8328"/>
                </a:lnTo>
                <a:lnTo>
                  <a:pt x="3319" y="8125"/>
                </a:lnTo>
                <a:lnTo>
                  <a:pt x="3319" y="7898"/>
                </a:lnTo>
                <a:lnTo>
                  <a:pt x="3344" y="7695"/>
                </a:lnTo>
                <a:lnTo>
                  <a:pt x="3395" y="7493"/>
                </a:lnTo>
                <a:lnTo>
                  <a:pt x="3446" y="7290"/>
                </a:lnTo>
                <a:lnTo>
                  <a:pt x="3522" y="7113"/>
                </a:lnTo>
                <a:lnTo>
                  <a:pt x="3598" y="6961"/>
                </a:lnTo>
                <a:lnTo>
                  <a:pt x="3724" y="6784"/>
                </a:lnTo>
                <a:lnTo>
                  <a:pt x="3826" y="6657"/>
                </a:lnTo>
                <a:lnTo>
                  <a:pt x="3952" y="6505"/>
                </a:lnTo>
                <a:lnTo>
                  <a:pt x="4104" y="6404"/>
                </a:lnTo>
                <a:lnTo>
                  <a:pt x="4256" y="6303"/>
                </a:lnTo>
                <a:lnTo>
                  <a:pt x="4434" y="6227"/>
                </a:lnTo>
                <a:lnTo>
                  <a:pt x="4611" y="6151"/>
                </a:lnTo>
                <a:lnTo>
                  <a:pt x="4814" y="6100"/>
                </a:lnTo>
                <a:lnTo>
                  <a:pt x="5016" y="6075"/>
                </a:lnTo>
                <a:lnTo>
                  <a:pt x="5219" y="6050"/>
                </a:lnTo>
                <a:lnTo>
                  <a:pt x="5447" y="6075"/>
                </a:lnTo>
                <a:lnTo>
                  <a:pt x="5650" y="6100"/>
                </a:lnTo>
                <a:lnTo>
                  <a:pt x="5852" y="6151"/>
                </a:lnTo>
                <a:lnTo>
                  <a:pt x="6030" y="6227"/>
                </a:lnTo>
                <a:lnTo>
                  <a:pt x="6182" y="6303"/>
                </a:lnTo>
                <a:lnTo>
                  <a:pt x="6334" y="6404"/>
                </a:lnTo>
                <a:lnTo>
                  <a:pt x="6486" y="6531"/>
                </a:lnTo>
                <a:lnTo>
                  <a:pt x="6612" y="6657"/>
                </a:lnTo>
                <a:lnTo>
                  <a:pt x="6714" y="6784"/>
                </a:lnTo>
                <a:lnTo>
                  <a:pt x="6815" y="6936"/>
                </a:lnTo>
                <a:lnTo>
                  <a:pt x="6891" y="7113"/>
                </a:lnTo>
                <a:lnTo>
                  <a:pt x="6967" y="7290"/>
                </a:lnTo>
                <a:lnTo>
                  <a:pt x="7018" y="7467"/>
                </a:lnTo>
                <a:lnTo>
                  <a:pt x="7068" y="7644"/>
                </a:lnTo>
                <a:lnTo>
                  <a:pt x="7094" y="7847"/>
                </a:lnTo>
                <a:lnTo>
                  <a:pt x="7094" y="8049"/>
                </a:lnTo>
                <a:close/>
                <a:moveTo>
                  <a:pt x="4256" y="8100"/>
                </a:moveTo>
                <a:lnTo>
                  <a:pt x="4256" y="8378"/>
                </a:lnTo>
                <a:lnTo>
                  <a:pt x="4307" y="8632"/>
                </a:lnTo>
                <a:lnTo>
                  <a:pt x="4383" y="8859"/>
                </a:lnTo>
                <a:lnTo>
                  <a:pt x="4510" y="9062"/>
                </a:lnTo>
                <a:lnTo>
                  <a:pt x="4636" y="9214"/>
                </a:lnTo>
                <a:lnTo>
                  <a:pt x="4814" y="9315"/>
                </a:lnTo>
                <a:lnTo>
                  <a:pt x="4991" y="9391"/>
                </a:lnTo>
                <a:lnTo>
                  <a:pt x="5194" y="9416"/>
                </a:lnTo>
                <a:lnTo>
                  <a:pt x="5422" y="9391"/>
                </a:lnTo>
                <a:lnTo>
                  <a:pt x="5599" y="9315"/>
                </a:lnTo>
                <a:lnTo>
                  <a:pt x="5776" y="9188"/>
                </a:lnTo>
                <a:lnTo>
                  <a:pt x="5903" y="9037"/>
                </a:lnTo>
                <a:lnTo>
                  <a:pt x="6004" y="8834"/>
                </a:lnTo>
                <a:lnTo>
                  <a:pt x="6080" y="8606"/>
                </a:lnTo>
                <a:lnTo>
                  <a:pt x="6131" y="8353"/>
                </a:lnTo>
                <a:lnTo>
                  <a:pt x="6156" y="8075"/>
                </a:lnTo>
                <a:lnTo>
                  <a:pt x="6131" y="7822"/>
                </a:lnTo>
                <a:lnTo>
                  <a:pt x="6080" y="7568"/>
                </a:lnTo>
                <a:lnTo>
                  <a:pt x="6004" y="7341"/>
                </a:lnTo>
                <a:lnTo>
                  <a:pt x="5903" y="7163"/>
                </a:lnTo>
                <a:lnTo>
                  <a:pt x="5776" y="6986"/>
                </a:lnTo>
                <a:lnTo>
                  <a:pt x="5599" y="6860"/>
                </a:lnTo>
                <a:lnTo>
                  <a:pt x="5422" y="6784"/>
                </a:lnTo>
                <a:lnTo>
                  <a:pt x="5194" y="6758"/>
                </a:lnTo>
                <a:lnTo>
                  <a:pt x="4991" y="6784"/>
                </a:lnTo>
                <a:lnTo>
                  <a:pt x="4788" y="6860"/>
                </a:lnTo>
                <a:lnTo>
                  <a:pt x="4636" y="6986"/>
                </a:lnTo>
                <a:lnTo>
                  <a:pt x="4510" y="7138"/>
                </a:lnTo>
                <a:lnTo>
                  <a:pt x="4383" y="7341"/>
                </a:lnTo>
                <a:lnTo>
                  <a:pt x="4307" y="7568"/>
                </a:lnTo>
                <a:lnTo>
                  <a:pt x="4256" y="7822"/>
                </a:lnTo>
                <a:lnTo>
                  <a:pt x="4256" y="8100"/>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grpSp>
        <p:nvGrpSpPr>
          <p:cNvPr id="8" name="组合 98"/>
          <p:cNvGrpSpPr/>
          <p:nvPr/>
        </p:nvGrpSpPr>
        <p:grpSpPr>
          <a:xfrm>
            <a:off x="2185934" y="2361574"/>
            <a:ext cx="644186" cy="422769"/>
            <a:chOff x="12287250" y="812800"/>
            <a:chExt cx="1276350" cy="828675"/>
          </a:xfrm>
          <a:solidFill>
            <a:schemeClr val="bg1"/>
          </a:solidFill>
        </p:grpSpPr>
        <p:sp>
          <p:nvSpPr>
            <p:cNvPr id="131" name="Freeform 56"/>
            <p:cNvSpPr>
              <a:spLocks/>
            </p:cNvSpPr>
            <p:nvPr/>
          </p:nvSpPr>
          <p:spPr bwMode="auto">
            <a:xfrm>
              <a:off x="12814300" y="977900"/>
              <a:ext cx="422275" cy="552450"/>
            </a:xfrm>
            <a:custGeom>
              <a:avLst/>
              <a:gdLst/>
              <a:ahLst/>
              <a:cxnLst>
                <a:cxn ang="0">
                  <a:pos x="0" y="348"/>
                </a:cxn>
                <a:cxn ang="0">
                  <a:pos x="266" y="348"/>
                </a:cxn>
                <a:cxn ang="0">
                  <a:pos x="266" y="348"/>
                </a:cxn>
                <a:cxn ang="0">
                  <a:pos x="248" y="174"/>
                </a:cxn>
                <a:cxn ang="0">
                  <a:pos x="240" y="80"/>
                </a:cxn>
                <a:cxn ang="0">
                  <a:pos x="236" y="0"/>
                </a:cxn>
                <a:cxn ang="0">
                  <a:pos x="32" y="0"/>
                </a:cxn>
                <a:cxn ang="0">
                  <a:pos x="32" y="0"/>
                </a:cxn>
                <a:cxn ang="0">
                  <a:pos x="26" y="80"/>
                </a:cxn>
                <a:cxn ang="0">
                  <a:pos x="18" y="174"/>
                </a:cxn>
                <a:cxn ang="0">
                  <a:pos x="0" y="348"/>
                </a:cxn>
                <a:cxn ang="0">
                  <a:pos x="0" y="348"/>
                </a:cxn>
              </a:cxnLst>
              <a:rect l="0" t="0" r="r" b="b"/>
              <a:pathLst>
                <a:path w="266" h="348">
                  <a:moveTo>
                    <a:pt x="0" y="348"/>
                  </a:moveTo>
                  <a:lnTo>
                    <a:pt x="266" y="348"/>
                  </a:lnTo>
                  <a:lnTo>
                    <a:pt x="266" y="348"/>
                  </a:lnTo>
                  <a:lnTo>
                    <a:pt x="248" y="174"/>
                  </a:lnTo>
                  <a:lnTo>
                    <a:pt x="240" y="80"/>
                  </a:lnTo>
                  <a:lnTo>
                    <a:pt x="236" y="0"/>
                  </a:lnTo>
                  <a:lnTo>
                    <a:pt x="32" y="0"/>
                  </a:lnTo>
                  <a:lnTo>
                    <a:pt x="32" y="0"/>
                  </a:lnTo>
                  <a:lnTo>
                    <a:pt x="26" y="80"/>
                  </a:lnTo>
                  <a:lnTo>
                    <a:pt x="18" y="174"/>
                  </a:lnTo>
                  <a:lnTo>
                    <a:pt x="0" y="348"/>
                  </a:lnTo>
                  <a:lnTo>
                    <a:pt x="0" y="348"/>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32" name="Freeform 57"/>
            <p:cNvSpPr>
              <a:spLocks noEditPoints="1"/>
            </p:cNvSpPr>
            <p:nvPr/>
          </p:nvSpPr>
          <p:spPr bwMode="auto">
            <a:xfrm>
              <a:off x="12287250" y="1327150"/>
              <a:ext cx="1276350" cy="314325"/>
            </a:xfrm>
            <a:custGeom>
              <a:avLst/>
              <a:gdLst/>
              <a:ahLst/>
              <a:cxnLst>
                <a:cxn ang="0">
                  <a:pos x="656" y="12"/>
                </a:cxn>
                <a:cxn ang="0">
                  <a:pos x="636" y="12"/>
                </a:cxn>
                <a:cxn ang="0">
                  <a:pos x="636" y="48"/>
                </a:cxn>
                <a:cxn ang="0">
                  <a:pos x="614" y="48"/>
                </a:cxn>
                <a:cxn ang="0">
                  <a:pos x="614" y="128"/>
                </a:cxn>
                <a:cxn ang="0">
                  <a:pos x="614" y="128"/>
                </a:cxn>
                <a:cxn ang="0">
                  <a:pos x="614" y="138"/>
                </a:cxn>
                <a:cxn ang="0">
                  <a:pos x="0" y="138"/>
                </a:cxn>
                <a:cxn ang="0">
                  <a:pos x="0" y="196"/>
                </a:cxn>
                <a:cxn ang="0">
                  <a:pos x="804" y="198"/>
                </a:cxn>
                <a:cxn ang="0">
                  <a:pos x="804" y="48"/>
                </a:cxn>
                <a:cxn ang="0">
                  <a:pos x="726" y="48"/>
                </a:cxn>
                <a:cxn ang="0">
                  <a:pos x="726" y="12"/>
                </a:cxn>
                <a:cxn ang="0">
                  <a:pos x="710" y="12"/>
                </a:cxn>
                <a:cxn ang="0">
                  <a:pos x="710" y="0"/>
                </a:cxn>
                <a:cxn ang="0">
                  <a:pos x="656" y="0"/>
                </a:cxn>
                <a:cxn ang="0">
                  <a:pos x="656" y="12"/>
                </a:cxn>
                <a:cxn ang="0">
                  <a:pos x="738" y="64"/>
                </a:cxn>
                <a:cxn ang="0">
                  <a:pos x="798" y="64"/>
                </a:cxn>
                <a:cxn ang="0">
                  <a:pos x="798" y="86"/>
                </a:cxn>
                <a:cxn ang="0">
                  <a:pos x="738" y="86"/>
                </a:cxn>
                <a:cxn ang="0">
                  <a:pos x="738" y="64"/>
                </a:cxn>
                <a:cxn ang="0">
                  <a:pos x="738" y="96"/>
                </a:cxn>
                <a:cxn ang="0">
                  <a:pos x="798" y="96"/>
                </a:cxn>
                <a:cxn ang="0">
                  <a:pos x="798" y="118"/>
                </a:cxn>
                <a:cxn ang="0">
                  <a:pos x="738" y="118"/>
                </a:cxn>
                <a:cxn ang="0">
                  <a:pos x="738" y="96"/>
                </a:cxn>
                <a:cxn ang="0">
                  <a:pos x="738" y="126"/>
                </a:cxn>
                <a:cxn ang="0">
                  <a:pos x="798" y="126"/>
                </a:cxn>
                <a:cxn ang="0">
                  <a:pos x="798" y="148"/>
                </a:cxn>
                <a:cxn ang="0">
                  <a:pos x="738" y="148"/>
                </a:cxn>
                <a:cxn ang="0">
                  <a:pos x="738" y="126"/>
                </a:cxn>
              </a:cxnLst>
              <a:rect l="0" t="0" r="r" b="b"/>
              <a:pathLst>
                <a:path w="804" h="198">
                  <a:moveTo>
                    <a:pt x="656" y="12"/>
                  </a:moveTo>
                  <a:lnTo>
                    <a:pt x="636" y="12"/>
                  </a:lnTo>
                  <a:lnTo>
                    <a:pt x="636" y="48"/>
                  </a:lnTo>
                  <a:lnTo>
                    <a:pt x="614" y="48"/>
                  </a:lnTo>
                  <a:lnTo>
                    <a:pt x="614" y="128"/>
                  </a:lnTo>
                  <a:lnTo>
                    <a:pt x="614" y="128"/>
                  </a:lnTo>
                  <a:lnTo>
                    <a:pt x="614" y="138"/>
                  </a:lnTo>
                  <a:lnTo>
                    <a:pt x="0" y="138"/>
                  </a:lnTo>
                  <a:lnTo>
                    <a:pt x="0" y="196"/>
                  </a:lnTo>
                  <a:lnTo>
                    <a:pt x="804" y="198"/>
                  </a:lnTo>
                  <a:lnTo>
                    <a:pt x="804" y="48"/>
                  </a:lnTo>
                  <a:lnTo>
                    <a:pt x="726" y="48"/>
                  </a:lnTo>
                  <a:lnTo>
                    <a:pt x="726" y="12"/>
                  </a:lnTo>
                  <a:lnTo>
                    <a:pt x="710" y="12"/>
                  </a:lnTo>
                  <a:lnTo>
                    <a:pt x="710" y="0"/>
                  </a:lnTo>
                  <a:lnTo>
                    <a:pt x="656" y="0"/>
                  </a:lnTo>
                  <a:lnTo>
                    <a:pt x="656" y="12"/>
                  </a:lnTo>
                  <a:close/>
                  <a:moveTo>
                    <a:pt x="738" y="64"/>
                  </a:moveTo>
                  <a:lnTo>
                    <a:pt x="798" y="64"/>
                  </a:lnTo>
                  <a:lnTo>
                    <a:pt x="798" y="86"/>
                  </a:lnTo>
                  <a:lnTo>
                    <a:pt x="738" y="86"/>
                  </a:lnTo>
                  <a:lnTo>
                    <a:pt x="738" y="64"/>
                  </a:lnTo>
                  <a:close/>
                  <a:moveTo>
                    <a:pt x="738" y="96"/>
                  </a:moveTo>
                  <a:lnTo>
                    <a:pt x="798" y="96"/>
                  </a:lnTo>
                  <a:lnTo>
                    <a:pt x="798" y="118"/>
                  </a:lnTo>
                  <a:lnTo>
                    <a:pt x="738" y="118"/>
                  </a:lnTo>
                  <a:lnTo>
                    <a:pt x="738" y="96"/>
                  </a:lnTo>
                  <a:close/>
                  <a:moveTo>
                    <a:pt x="738" y="126"/>
                  </a:moveTo>
                  <a:lnTo>
                    <a:pt x="798" y="126"/>
                  </a:lnTo>
                  <a:lnTo>
                    <a:pt x="798" y="148"/>
                  </a:lnTo>
                  <a:lnTo>
                    <a:pt x="738" y="148"/>
                  </a:lnTo>
                  <a:lnTo>
                    <a:pt x="738" y="12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33" name="Rectangle 58"/>
            <p:cNvSpPr>
              <a:spLocks noChangeArrowheads="1"/>
            </p:cNvSpPr>
            <p:nvPr/>
          </p:nvSpPr>
          <p:spPr bwMode="auto">
            <a:xfrm>
              <a:off x="12849225" y="939800"/>
              <a:ext cx="349250" cy="22225"/>
            </a:xfrm>
            <a:prstGeom prst="rect">
              <a:avLst/>
            </a:prstGeom>
            <a:grpFill/>
            <a:ln w="9525">
              <a:noFill/>
              <a:miter lim="800000"/>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34" name="Rectangle 59"/>
            <p:cNvSpPr>
              <a:spLocks noChangeArrowheads="1"/>
            </p:cNvSpPr>
            <p:nvPr/>
          </p:nvSpPr>
          <p:spPr bwMode="auto">
            <a:xfrm>
              <a:off x="13338175" y="812800"/>
              <a:ext cx="66675" cy="19050"/>
            </a:xfrm>
            <a:prstGeom prst="rect">
              <a:avLst/>
            </a:prstGeom>
            <a:grpFill/>
            <a:ln w="9525">
              <a:noFill/>
              <a:miter lim="800000"/>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35" name="Rectangle 60"/>
            <p:cNvSpPr>
              <a:spLocks noChangeArrowheads="1"/>
            </p:cNvSpPr>
            <p:nvPr/>
          </p:nvSpPr>
          <p:spPr bwMode="auto">
            <a:xfrm>
              <a:off x="12379325" y="939800"/>
              <a:ext cx="349250" cy="22225"/>
            </a:xfrm>
            <a:prstGeom prst="rect">
              <a:avLst/>
            </a:prstGeom>
            <a:grpFill/>
            <a:ln w="9525">
              <a:noFill/>
              <a:miter lim="800000"/>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36" name="Freeform 61"/>
            <p:cNvSpPr>
              <a:spLocks/>
            </p:cNvSpPr>
            <p:nvPr/>
          </p:nvSpPr>
          <p:spPr bwMode="auto">
            <a:xfrm>
              <a:off x="13328650" y="847725"/>
              <a:ext cx="85725" cy="460375"/>
            </a:xfrm>
            <a:custGeom>
              <a:avLst/>
              <a:gdLst/>
              <a:ahLst/>
              <a:cxnLst>
                <a:cxn ang="0">
                  <a:pos x="48" y="0"/>
                </a:cxn>
                <a:cxn ang="0">
                  <a:pos x="4" y="0"/>
                </a:cxn>
                <a:cxn ang="0">
                  <a:pos x="0" y="290"/>
                </a:cxn>
                <a:cxn ang="0">
                  <a:pos x="54" y="290"/>
                </a:cxn>
                <a:cxn ang="0">
                  <a:pos x="48" y="0"/>
                </a:cxn>
              </a:cxnLst>
              <a:rect l="0" t="0" r="r" b="b"/>
              <a:pathLst>
                <a:path w="54" h="290">
                  <a:moveTo>
                    <a:pt x="48" y="0"/>
                  </a:moveTo>
                  <a:lnTo>
                    <a:pt x="4" y="0"/>
                  </a:lnTo>
                  <a:lnTo>
                    <a:pt x="0" y="290"/>
                  </a:lnTo>
                  <a:lnTo>
                    <a:pt x="54" y="290"/>
                  </a:lnTo>
                  <a:lnTo>
                    <a:pt x="48"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137" name="Freeform 62"/>
            <p:cNvSpPr>
              <a:spLocks/>
            </p:cNvSpPr>
            <p:nvPr/>
          </p:nvSpPr>
          <p:spPr bwMode="auto">
            <a:xfrm>
              <a:off x="12344400" y="977900"/>
              <a:ext cx="422275" cy="552450"/>
            </a:xfrm>
            <a:custGeom>
              <a:avLst/>
              <a:gdLst/>
              <a:ahLst/>
              <a:cxnLst>
                <a:cxn ang="0">
                  <a:pos x="236" y="0"/>
                </a:cxn>
                <a:cxn ang="0">
                  <a:pos x="30" y="0"/>
                </a:cxn>
                <a:cxn ang="0">
                  <a:pos x="30" y="0"/>
                </a:cxn>
                <a:cxn ang="0">
                  <a:pos x="26" y="80"/>
                </a:cxn>
                <a:cxn ang="0">
                  <a:pos x="18" y="174"/>
                </a:cxn>
                <a:cxn ang="0">
                  <a:pos x="0" y="348"/>
                </a:cxn>
                <a:cxn ang="0">
                  <a:pos x="266" y="348"/>
                </a:cxn>
                <a:cxn ang="0">
                  <a:pos x="266" y="348"/>
                </a:cxn>
                <a:cxn ang="0">
                  <a:pos x="248" y="174"/>
                </a:cxn>
                <a:cxn ang="0">
                  <a:pos x="240" y="80"/>
                </a:cxn>
                <a:cxn ang="0">
                  <a:pos x="236" y="0"/>
                </a:cxn>
                <a:cxn ang="0">
                  <a:pos x="236" y="0"/>
                </a:cxn>
              </a:cxnLst>
              <a:rect l="0" t="0" r="r" b="b"/>
              <a:pathLst>
                <a:path w="266" h="348">
                  <a:moveTo>
                    <a:pt x="236" y="0"/>
                  </a:moveTo>
                  <a:lnTo>
                    <a:pt x="30" y="0"/>
                  </a:lnTo>
                  <a:lnTo>
                    <a:pt x="30" y="0"/>
                  </a:lnTo>
                  <a:lnTo>
                    <a:pt x="26" y="80"/>
                  </a:lnTo>
                  <a:lnTo>
                    <a:pt x="18" y="174"/>
                  </a:lnTo>
                  <a:lnTo>
                    <a:pt x="0" y="348"/>
                  </a:lnTo>
                  <a:lnTo>
                    <a:pt x="266" y="348"/>
                  </a:lnTo>
                  <a:lnTo>
                    <a:pt x="266" y="348"/>
                  </a:lnTo>
                  <a:lnTo>
                    <a:pt x="248" y="174"/>
                  </a:lnTo>
                  <a:lnTo>
                    <a:pt x="240" y="80"/>
                  </a:lnTo>
                  <a:lnTo>
                    <a:pt x="236" y="0"/>
                  </a:lnTo>
                  <a:lnTo>
                    <a:pt x="236"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grpSp>
      <p:sp>
        <p:nvSpPr>
          <p:cNvPr id="49" name="Line 247"/>
          <p:cNvSpPr>
            <a:spLocks noChangeShapeType="1"/>
          </p:cNvSpPr>
          <p:nvPr/>
        </p:nvSpPr>
        <p:spPr bwMode="auto">
          <a:xfrm flipV="1">
            <a:off x="6657704" y="2552152"/>
            <a:ext cx="0" cy="431963"/>
          </a:xfrm>
          <a:prstGeom prst="line">
            <a:avLst/>
          </a:prstGeom>
          <a:noFill/>
          <a:ln w="9525">
            <a:solidFill>
              <a:srgbClr val="FFC000"/>
            </a:solidFill>
            <a:round/>
            <a:headEnd/>
            <a:tailEnd/>
          </a:ln>
          <a:effectLst/>
        </p:spPr>
        <p:txBody>
          <a:bodyPr lIns="59395" tIns="29697" rIns="59395" bIns="29697">
            <a:spAutoFit/>
          </a:bodyPr>
          <a:lstStyle/>
          <a:p>
            <a:pPr algn="ctr" fontAlgn="base">
              <a:spcBef>
                <a:spcPct val="0"/>
              </a:spcBef>
              <a:spcAft>
                <a:spcPct val="0"/>
              </a:spcAft>
            </a:pPr>
            <a:endParaRPr lang="zh-CN" altLang="en-US" sz="900">
              <a:solidFill>
                <a:srgbClr val="FFC000"/>
              </a:solidFill>
              <a:latin typeface="FrutigerNext LT Medium" pitchFamily="34" charset="0"/>
              <a:ea typeface="MS PGothic" pitchFamily="34" charset="-128"/>
            </a:endParaRPr>
          </a:p>
        </p:txBody>
      </p:sp>
      <p:sp>
        <p:nvSpPr>
          <p:cNvPr id="51" name="Freeform 10"/>
          <p:cNvSpPr>
            <a:spLocks noEditPoints="1"/>
          </p:cNvSpPr>
          <p:nvPr/>
        </p:nvSpPr>
        <p:spPr bwMode="auto">
          <a:xfrm>
            <a:off x="5106561" y="2345703"/>
            <a:ext cx="1033373" cy="607166"/>
          </a:xfrm>
          <a:custGeom>
            <a:avLst/>
            <a:gdLst/>
            <a:ahLst/>
            <a:cxnLst>
              <a:cxn ang="0">
                <a:pos x="344" y="372"/>
              </a:cxn>
              <a:cxn ang="0">
                <a:pos x="452" y="246"/>
              </a:cxn>
              <a:cxn ang="0">
                <a:pos x="508" y="404"/>
              </a:cxn>
              <a:cxn ang="0">
                <a:pos x="428" y="0"/>
              </a:cxn>
              <a:cxn ang="0">
                <a:pos x="460" y="6"/>
              </a:cxn>
              <a:cxn ang="0">
                <a:pos x="500" y="28"/>
              </a:cxn>
              <a:cxn ang="0">
                <a:pos x="526" y="66"/>
              </a:cxn>
              <a:cxn ang="0">
                <a:pos x="530" y="66"/>
              </a:cxn>
              <a:cxn ang="0">
                <a:pos x="576" y="80"/>
              </a:cxn>
              <a:cxn ang="0">
                <a:pos x="604" y="116"/>
              </a:cxn>
              <a:cxn ang="0">
                <a:pos x="610" y="146"/>
              </a:cxn>
              <a:cxn ang="0">
                <a:pos x="598" y="192"/>
              </a:cxn>
              <a:cxn ang="0">
                <a:pos x="562" y="222"/>
              </a:cxn>
              <a:cxn ang="0">
                <a:pos x="336" y="228"/>
              </a:cxn>
              <a:cxn ang="0">
                <a:pos x="310" y="224"/>
              </a:cxn>
              <a:cxn ang="0">
                <a:pos x="280" y="198"/>
              </a:cxn>
              <a:cxn ang="0">
                <a:pos x="268" y="160"/>
              </a:cxn>
              <a:cxn ang="0">
                <a:pos x="272" y="136"/>
              </a:cxn>
              <a:cxn ang="0">
                <a:pos x="294" y="108"/>
              </a:cxn>
              <a:cxn ang="0">
                <a:pos x="326" y="94"/>
              </a:cxn>
              <a:cxn ang="0">
                <a:pos x="336" y="58"/>
              </a:cxn>
              <a:cxn ang="0">
                <a:pos x="374" y="16"/>
              </a:cxn>
              <a:cxn ang="0">
                <a:pos x="428" y="0"/>
              </a:cxn>
              <a:cxn ang="0">
                <a:pos x="162" y="282"/>
              </a:cxn>
              <a:cxn ang="0">
                <a:pos x="206" y="294"/>
              </a:cxn>
              <a:cxn ang="0">
                <a:pos x="242" y="322"/>
              </a:cxn>
              <a:cxn ang="0">
                <a:pos x="258" y="348"/>
              </a:cxn>
              <a:cxn ang="0">
                <a:pos x="278" y="350"/>
              </a:cxn>
              <a:cxn ang="0">
                <a:pos x="320" y="372"/>
              </a:cxn>
              <a:cxn ang="0">
                <a:pos x="342" y="412"/>
              </a:cxn>
              <a:cxn ang="0">
                <a:pos x="342" y="446"/>
              </a:cxn>
              <a:cxn ang="0">
                <a:pos x="320" y="486"/>
              </a:cxn>
              <a:cxn ang="0">
                <a:pos x="278" y="508"/>
              </a:cxn>
              <a:cxn ang="0">
                <a:pos x="68" y="510"/>
              </a:cxn>
              <a:cxn ang="0">
                <a:pos x="30" y="498"/>
              </a:cxn>
              <a:cxn ang="0">
                <a:pos x="6" y="468"/>
              </a:cxn>
              <a:cxn ang="0">
                <a:pos x="0" y="442"/>
              </a:cxn>
              <a:cxn ang="0">
                <a:pos x="10" y="408"/>
              </a:cxn>
              <a:cxn ang="0">
                <a:pos x="36" y="384"/>
              </a:cxn>
              <a:cxn ang="0">
                <a:pos x="58" y="376"/>
              </a:cxn>
              <a:cxn ang="0">
                <a:pos x="78" y="324"/>
              </a:cxn>
              <a:cxn ang="0">
                <a:pos x="124" y="290"/>
              </a:cxn>
              <a:cxn ang="0">
                <a:pos x="162" y="282"/>
              </a:cxn>
              <a:cxn ang="0">
                <a:pos x="702" y="284"/>
              </a:cxn>
              <a:cxn ang="0">
                <a:pos x="746" y="300"/>
              </a:cxn>
              <a:cxn ang="0">
                <a:pos x="776" y="334"/>
              </a:cxn>
              <a:cxn ang="0">
                <a:pos x="788" y="348"/>
              </a:cxn>
              <a:cxn ang="0">
                <a:pos x="820" y="354"/>
              </a:cxn>
              <a:cxn ang="0">
                <a:pos x="856" y="384"/>
              </a:cxn>
              <a:cxn ang="0">
                <a:pos x="868" y="428"/>
              </a:cxn>
              <a:cxn ang="0">
                <a:pos x="862" y="460"/>
              </a:cxn>
              <a:cxn ang="0">
                <a:pos x="834" y="496"/>
              </a:cxn>
              <a:cxn ang="0">
                <a:pos x="788" y="510"/>
              </a:cxn>
              <a:cxn ang="0">
                <a:pos x="580" y="508"/>
              </a:cxn>
              <a:cxn ang="0">
                <a:pos x="546" y="490"/>
              </a:cxn>
              <a:cxn ang="0">
                <a:pos x="528" y="456"/>
              </a:cxn>
              <a:cxn ang="0">
                <a:pos x="528" y="430"/>
              </a:cxn>
              <a:cxn ang="0">
                <a:pos x="542" y="398"/>
              </a:cxn>
              <a:cxn ang="0">
                <a:pos x="572" y="378"/>
              </a:cxn>
              <a:cxn ang="0">
                <a:pos x="588" y="356"/>
              </a:cxn>
              <a:cxn ang="0">
                <a:pos x="616" y="310"/>
              </a:cxn>
              <a:cxn ang="0">
                <a:pos x="668" y="284"/>
              </a:cxn>
            </a:cxnLst>
            <a:rect l="0" t="0" r="r" b="b"/>
            <a:pathLst>
              <a:path w="868" h="510">
                <a:moveTo>
                  <a:pt x="434" y="362"/>
                </a:moveTo>
                <a:lnTo>
                  <a:pt x="362" y="404"/>
                </a:lnTo>
                <a:lnTo>
                  <a:pt x="344" y="372"/>
                </a:lnTo>
                <a:lnTo>
                  <a:pt x="416" y="330"/>
                </a:lnTo>
                <a:lnTo>
                  <a:pt x="416" y="246"/>
                </a:lnTo>
                <a:lnTo>
                  <a:pt x="452" y="246"/>
                </a:lnTo>
                <a:lnTo>
                  <a:pt x="452" y="330"/>
                </a:lnTo>
                <a:lnTo>
                  <a:pt x="526" y="372"/>
                </a:lnTo>
                <a:lnTo>
                  <a:pt x="508" y="404"/>
                </a:lnTo>
                <a:lnTo>
                  <a:pt x="434" y="362"/>
                </a:lnTo>
                <a:lnTo>
                  <a:pt x="434" y="362"/>
                </a:lnTo>
                <a:close/>
                <a:moveTo>
                  <a:pt x="428" y="0"/>
                </a:moveTo>
                <a:lnTo>
                  <a:pt x="428" y="0"/>
                </a:lnTo>
                <a:lnTo>
                  <a:pt x="444" y="2"/>
                </a:lnTo>
                <a:lnTo>
                  <a:pt x="460" y="6"/>
                </a:lnTo>
                <a:lnTo>
                  <a:pt x="474" y="12"/>
                </a:lnTo>
                <a:lnTo>
                  <a:pt x="488" y="18"/>
                </a:lnTo>
                <a:lnTo>
                  <a:pt x="500" y="28"/>
                </a:lnTo>
                <a:lnTo>
                  <a:pt x="510" y="40"/>
                </a:lnTo>
                <a:lnTo>
                  <a:pt x="518" y="52"/>
                </a:lnTo>
                <a:lnTo>
                  <a:pt x="526" y="66"/>
                </a:lnTo>
                <a:lnTo>
                  <a:pt x="526" y="66"/>
                </a:lnTo>
                <a:lnTo>
                  <a:pt x="530" y="66"/>
                </a:lnTo>
                <a:lnTo>
                  <a:pt x="530" y="66"/>
                </a:lnTo>
                <a:lnTo>
                  <a:pt x="546" y="68"/>
                </a:lnTo>
                <a:lnTo>
                  <a:pt x="562" y="72"/>
                </a:lnTo>
                <a:lnTo>
                  <a:pt x="576" y="80"/>
                </a:lnTo>
                <a:lnTo>
                  <a:pt x="588" y="90"/>
                </a:lnTo>
                <a:lnTo>
                  <a:pt x="598" y="102"/>
                </a:lnTo>
                <a:lnTo>
                  <a:pt x="604" y="116"/>
                </a:lnTo>
                <a:lnTo>
                  <a:pt x="610" y="130"/>
                </a:lnTo>
                <a:lnTo>
                  <a:pt x="610" y="146"/>
                </a:lnTo>
                <a:lnTo>
                  <a:pt x="610" y="146"/>
                </a:lnTo>
                <a:lnTo>
                  <a:pt x="610" y="164"/>
                </a:lnTo>
                <a:lnTo>
                  <a:pt x="604" y="178"/>
                </a:lnTo>
                <a:lnTo>
                  <a:pt x="598" y="192"/>
                </a:lnTo>
                <a:lnTo>
                  <a:pt x="588" y="204"/>
                </a:lnTo>
                <a:lnTo>
                  <a:pt x="576" y="214"/>
                </a:lnTo>
                <a:lnTo>
                  <a:pt x="562" y="222"/>
                </a:lnTo>
                <a:lnTo>
                  <a:pt x="546" y="226"/>
                </a:lnTo>
                <a:lnTo>
                  <a:pt x="530" y="228"/>
                </a:lnTo>
                <a:lnTo>
                  <a:pt x="336" y="228"/>
                </a:lnTo>
                <a:lnTo>
                  <a:pt x="336" y="228"/>
                </a:lnTo>
                <a:lnTo>
                  <a:pt x="322" y="226"/>
                </a:lnTo>
                <a:lnTo>
                  <a:pt x="310" y="224"/>
                </a:lnTo>
                <a:lnTo>
                  <a:pt x="298" y="216"/>
                </a:lnTo>
                <a:lnTo>
                  <a:pt x="288" y="208"/>
                </a:lnTo>
                <a:lnTo>
                  <a:pt x="280" y="198"/>
                </a:lnTo>
                <a:lnTo>
                  <a:pt x="274" y="186"/>
                </a:lnTo>
                <a:lnTo>
                  <a:pt x="270" y="174"/>
                </a:lnTo>
                <a:lnTo>
                  <a:pt x="268" y="160"/>
                </a:lnTo>
                <a:lnTo>
                  <a:pt x="268" y="160"/>
                </a:lnTo>
                <a:lnTo>
                  <a:pt x="270" y="148"/>
                </a:lnTo>
                <a:lnTo>
                  <a:pt x="272" y="136"/>
                </a:lnTo>
                <a:lnTo>
                  <a:pt x="278" y="126"/>
                </a:lnTo>
                <a:lnTo>
                  <a:pt x="284" y="116"/>
                </a:lnTo>
                <a:lnTo>
                  <a:pt x="294" y="108"/>
                </a:lnTo>
                <a:lnTo>
                  <a:pt x="302" y="102"/>
                </a:lnTo>
                <a:lnTo>
                  <a:pt x="314" y="96"/>
                </a:lnTo>
                <a:lnTo>
                  <a:pt x="326" y="94"/>
                </a:lnTo>
                <a:lnTo>
                  <a:pt x="326" y="94"/>
                </a:lnTo>
                <a:lnTo>
                  <a:pt x="330" y="74"/>
                </a:lnTo>
                <a:lnTo>
                  <a:pt x="336" y="58"/>
                </a:lnTo>
                <a:lnTo>
                  <a:pt x="346" y="42"/>
                </a:lnTo>
                <a:lnTo>
                  <a:pt x="358" y="28"/>
                </a:lnTo>
                <a:lnTo>
                  <a:pt x="374" y="16"/>
                </a:lnTo>
                <a:lnTo>
                  <a:pt x="390" y="8"/>
                </a:lnTo>
                <a:lnTo>
                  <a:pt x="410" y="2"/>
                </a:lnTo>
                <a:lnTo>
                  <a:pt x="428" y="0"/>
                </a:lnTo>
                <a:lnTo>
                  <a:pt x="428" y="0"/>
                </a:lnTo>
                <a:close/>
                <a:moveTo>
                  <a:pt x="162" y="282"/>
                </a:moveTo>
                <a:lnTo>
                  <a:pt x="162" y="282"/>
                </a:lnTo>
                <a:lnTo>
                  <a:pt x="178" y="284"/>
                </a:lnTo>
                <a:lnTo>
                  <a:pt x="192" y="288"/>
                </a:lnTo>
                <a:lnTo>
                  <a:pt x="206" y="294"/>
                </a:lnTo>
                <a:lnTo>
                  <a:pt x="220" y="300"/>
                </a:lnTo>
                <a:lnTo>
                  <a:pt x="232" y="310"/>
                </a:lnTo>
                <a:lnTo>
                  <a:pt x="242" y="322"/>
                </a:lnTo>
                <a:lnTo>
                  <a:pt x="252" y="334"/>
                </a:lnTo>
                <a:lnTo>
                  <a:pt x="258" y="348"/>
                </a:lnTo>
                <a:lnTo>
                  <a:pt x="258" y="348"/>
                </a:lnTo>
                <a:lnTo>
                  <a:pt x="262" y="348"/>
                </a:lnTo>
                <a:lnTo>
                  <a:pt x="262" y="348"/>
                </a:lnTo>
                <a:lnTo>
                  <a:pt x="278" y="350"/>
                </a:lnTo>
                <a:lnTo>
                  <a:pt x="294" y="354"/>
                </a:lnTo>
                <a:lnTo>
                  <a:pt x="308" y="362"/>
                </a:lnTo>
                <a:lnTo>
                  <a:pt x="320" y="372"/>
                </a:lnTo>
                <a:lnTo>
                  <a:pt x="330" y="384"/>
                </a:lnTo>
                <a:lnTo>
                  <a:pt x="336" y="398"/>
                </a:lnTo>
                <a:lnTo>
                  <a:pt x="342" y="412"/>
                </a:lnTo>
                <a:lnTo>
                  <a:pt x="344" y="428"/>
                </a:lnTo>
                <a:lnTo>
                  <a:pt x="344" y="428"/>
                </a:lnTo>
                <a:lnTo>
                  <a:pt x="342" y="446"/>
                </a:lnTo>
                <a:lnTo>
                  <a:pt x="336" y="460"/>
                </a:lnTo>
                <a:lnTo>
                  <a:pt x="330" y="474"/>
                </a:lnTo>
                <a:lnTo>
                  <a:pt x="320" y="486"/>
                </a:lnTo>
                <a:lnTo>
                  <a:pt x="308" y="496"/>
                </a:lnTo>
                <a:lnTo>
                  <a:pt x="294" y="504"/>
                </a:lnTo>
                <a:lnTo>
                  <a:pt x="278" y="508"/>
                </a:lnTo>
                <a:lnTo>
                  <a:pt x="262" y="510"/>
                </a:lnTo>
                <a:lnTo>
                  <a:pt x="68" y="510"/>
                </a:lnTo>
                <a:lnTo>
                  <a:pt x="68" y="510"/>
                </a:lnTo>
                <a:lnTo>
                  <a:pt x="54" y="508"/>
                </a:lnTo>
                <a:lnTo>
                  <a:pt x="42" y="506"/>
                </a:lnTo>
                <a:lnTo>
                  <a:pt x="30" y="498"/>
                </a:lnTo>
                <a:lnTo>
                  <a:pt x="20" y="490"/>
                </a:lnTo>
                <a:lnTo>
                  <a:pt x="12" y="480"/>
                </a:lnTo>
                <a:lnTo>
                  <a:pt x="6" y="468"/>
                </a:lnTo>
                <a:lnTo>
                  <a:pt x="2" y="456"/>
                </a:lnTo>
                <a:lnTo>
                  <a:pt x="0" y="442"/>
                </a:lnTo>
                <a:lnTo>
                  <a:pt x="0" y="442"/>
                </a:lnTo>
                <a:lnTo>
                  <a:pt x="2" y="430"/>
                </a:lnTo>
                <a:lnTo>
                  <a:pt x="6" y="418"/>
                </a:lnTo>
                <a:lnTo>
                  <a:pt x="10" y="408"/>
                </a:lnTo>
                <a:lnTo>
                  <a:pt x="18" y="398"/>
                </a:lnTo>
                <a:lnTo>
                  <a:pt x="26" y="390"/>
                </a:lnTo>
                <a:lnTo>
                  <a:pt x="36" y="384"/>
                </a:lnTo>
                <a:lnTo>
                  <a:pt x="46" y="378"/>
                </a:lnTo>
                <a:lnTo>
                  <a:pt x="58" y="376"/>
                </a:lnTo>
                <a:lnTo>
                  <a:pt x="58" y="376"/>
                </a:lnTo>
                <a:lnTo>
                  <a:pt x="62" y="356"/>
                </a:lnTo>
                <a:lnTo>
                  <a:pt x="68" y="340"/>
                </a:lnTo>
                <a:lnTo>
                  <a:pt x="78" y="324"/>
                </a:lnTo>
                <a:lnTo>
                  <a:pt x="92" y="310"/>
                </a:lnTo>
                <a:lnTo>
                  <a:pt x="106" y="298"/>
                </a:lnTo>
                <a:lnTo>
                  <a:pt x="124" y="290"/>
                </a:lnTo>
                <a:lnTo>
                  <a:pt x="142" y="284"/>
                </a:lnTo>
                <a:lnTo>
                  <a:pt x="162" y="282"/>
                </a:lnTo>
                <a:lnTo>
                  <a:pt x="162" y="282"/>
                </a:lnTo>
                <a:close/>
                <a:moveTo>
                  <a:pt x="686" y="282"/>
                </a:moveTo>
                <a:lnTo>
                  <a:pt x="686" y="282"/>
                </a:lnTo>
                <a:lnTo>
                  <a:pt x="702" y="284"/>
                </a:lnTo>
                <a:lnTo>
                  <a:pt x="718" y="288"/>
                </a:lnTo>
                <a:lnTo>
                  <a:pt x="732" y="294"/>
                </a:lnTo>
                <a:lnTo>
                  <a:pt x="746" y="300"/>
                </a:lnTo>
                <a:lnTo>
                  <a:pt x="758" y="310"/>
                </a:lnTo>
                <a:lnTo>
                  <a:pt x="768" y="322"/>
                </a:lnTo>
                <a:lnTo>
                  <a:pt x="776" y="334"/>
                </a:lnTo>
                <a:lnTo>
                  <a:pt x="784" y="348"/>
                </a:lnTo>
                <a:lnTo>
                  <a:pt x="784" y="348"/>
                </a:lnTo>
                <a:lnTo>
                  <a:pt x="788" y="348"/>
                </a:lnTo>
                <a:lnTo>
                  <a:pt x="788" y="348"/>
                </a:lnTo>
                <a:lnTo>
                  <a:pt x="804" y="350"/>
                </a:lnTo>
                <a:lnTo>
                  <a:pt x="820" y="354"/>
                </a:lnTo>
                <a:lnTo>
                  <a:pt x="834" y="362"/>
                </a:lnTo>
                <a:lnTo>
                  <a:pt x="846" y="372"/>
                </a:lnTo>
                <a:lnTo>
                  <a:pt x="856" y="384"/>
                </a:lnTo>
                <a:lnTo>
                  <a:pt x="862" y="398"/>
                </a:lnTo>
                <a:lnTo>
                  <a:pt x="868" y="412"/>
                </a:lnTo>
                <a:lnTo>
                  <a:pt x="868" y="428"/>
                </a:lnTo>
                <a:lnTo>
                  <a:pt x="868" y="428"/>
                </a:lnTo>
                <a:lnTo>
                  <a:pt x="868" y="446"/>
                </a:lnTo>
                <a:lnTo>
                  <a:pt x="862" y="460"/>
                </a:lnTo>
                <a:lnTo>
                  <a:pt x="856" y="474"/>
                </a:lnTo>
                <a:lnTo>
                  <a:pt x="846" y="486"/>
                </a:lnTo>
                <a:lnTo>
                  <a:pt x="834" y="496"/>
                </a:lnTo>
                <a:lnTo>
                  <a:pt x="820" y="504"/>
                </a:lnTo>
                <a:lnTo>
                  <a:pt x="804" y="508"/>
                </a:lnTo>
                <a:lnTo>
                  <a:pt x="788" y="510"/>
                </a:lnTo>
                <a:lnTo>
                  <a:pt x="594" y="510"/>
                </a:lnTo>
                <a:lnTo>
                  <a:pt x="594" y="510"/>
                </a:lnTo>
                <a:lnTo>
                  <a:pt x="580" y="508"/>
                </a:lnTo>
                <a:lnTo>
                  <a:pt x="568" y="506"/>
                </a:lnTo>
                <a:lnTo>
                  <a:pt x="556" y="498"/>
                </a:lnTo>
                <a:lnTo>
                  <a:pt x="546" y="490"/>
                </a:lnTo>
                <a:lnTo>
                  <a:pt x="538" y="480"/>
                </a:lnTo>
                <a:lnTo>
                  <a:pt x="532" y="468"/>
                </a:lnTo>
                <a:lnTo>
                  <a:pt x="528" y="456"/>
                </a:lnTo>
                <a:lnTo>
                  <a:pt x="526" y="442"/>
                </a:lnTo>
                <a:lnTo>
                  <a:pt x="526" y="442"/>
                </a:lnTo>
                <a:lnTo>
                  <a:pt x="528" y="430"/>
                </a:lnTo>
                <a:lnTo>
                  <a:pt x="530" y="418"/>
                </a:lnTo>
                <a:lnTo>
                  <a:pt x="536" y="408"/>
                </a:lnTo>
                <a:lnTo>
                  <a:pt x="542" y="398"/>
                </a:lnTo>
                <a:lnTo>
                  <a:pt x="552" y="390"/>
                </a:lnTo>
                <a:lnTo>
                  <a:pt x="560" y="384"/>
                </a:lnTo>
                <a:lnTo>
                  <a:pt x="572" y="378"/>
                </a:lnTo>
                <a:lnTo>
                  <a:pt x="584" y="376"/>
                </a:lnTo>
                <a:lnTo>
                  <a:pt x="584" y="376"/>
                </a:lnTo>
                <a:lnTo>
                  <a:pt x="588" y="356"/>
                </a:lnTo>
                <a:lnTo>
                  <a:pt x="594" y="340"/>
                </a:lnTo>
                <a:lnTo>
                  <a:pt x="604" y="324"/>
                </a:lnTo>
                <a:lnTo>
                  <a:pt x="616" y="310"/>
                </a:lnTo>
                <a:lnTo>
                  <a:pt x="632" y="298"/>
                </a:lnTo>
                <a:lnTo>
                  <a:pt x="648" y="290"/>
                </a:lnTo>
                <a:lnTo>
                  <a:pt x="668" y="284"/>
                </a:lnTo>
                <a:lnTo>
                  <a:pt x="686" y="282"/>
                </a:lnTo>
                <a:lnTo>
                  <a:pt x="686" y="282"/>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53" name="Text Box 213"/>
          <p:cNvSpPr txBox="1">
            <a:spLocks noChangeArrowheads="1"/>
          </p:cNvSpPr>
          <p:nvPr/>
        </p:nvSpPr>
        <p:spPr bwMode="auto">
          <a:xfrm>
            <a:off x="6229293" y="2562032"/>
            <a:ext cx="1234704" cy="318508"/>
          </a:xfrm>
          <a:prstGeom prst="rect">
            <a:avLst/>
          </a:prstGeom>
          <a:noFill/>
          <a:ln w="3175">
            <a:noFill/>
            <a:prstDash val="dash"/>
            <a:miter lim="800000"/>
            <a:headEnd/>
            <a:tailEnd/>
          </a:ln>
          <a:effectLst/>
        </p:spPr>
        <p:txBody>
          <a:bodyPr wrap="square" lIns="68537" tIns="34270" rIns="68537" bIns="34270">
            <a:spAutoFit/>
          </a:bodyPr>
          <a:lstStyle/>
          <a:p>
            <a:pPr algn="ctr" eaLnBrk="0" fontAlgn="base" hangingPunct="0">
              <a:lnSpc>
                <a:spcPct val="90000"/>
              </a:lnSpc>
              <a:spcBef>
                <a:spcPct val="0"/>
              </a:spcBef>
              <a:spcAft>
                <a:spcPct val="0"/>
              </a:spcAft>
              <a:buClr>
                <a:srgbClr val="777777"/>
              </a:buClr>
              <a:buSzPct val="60000"/>
              <a:buFont typeface="Wingdings" pitchFamily="2" charset="2"/>
              <a:buNone/>
            </a:pPr>
            <a:r>
              <a:rPr lang="en-US" altLang="zh-CN" sz="900" dirty="0">
                <a:solidFill>
                  <a:schemeClr val="bg1"/>
                </a:solidFill>
                <a:latin typeface="FrutigerNext LT Medium" pitchFamily="34" charset="0"/>
              </a:rPr>
              <a:t>Power &amp; Site Controller</a:t>
            </a:r>
          </a:p>
        </p:txBody>
      </p:sp>
      <p:sp>
        <p:nvSpPr>
          <p:cNvPr id="55" name="Line 243"/>
          <p:cNvSpPr>
            <a:spLocks noChangeShapeType="1"/>
          </p:cNvSpPr>
          <p:nvPr/>
        </p:nvSpPr>
        <p:spPr bwMode="auto">
          <a:xfrm flipV="1">
            <a:off x="5852333" y="2453796"/>
            <a:ext cx="2375794" cy="11817"/>
          </a:xfrm>
          <a:prstGeom prst="line">
            <a:avLst/>
          </a:prstGeom>
          <a:noFill/>
          <a:ln w="9525">
            <a:solidFill>
              <a:srgbClr val="FFC000"/>
            </a:solidFill>
            <a:round/>
            <a:headEnd/>
            <a:tailEnd/>
          </a:ln>
          <a:effectLst/>
        </p:spPr>
        <p:txBody>
          <a:bodyPr wrap="square" lIns="59395" tIns="29697" rIns="59395" bIns="29697">
            <a:spAutoFit/>
          </a:bodyPr>
          <a:lstStyle/>
          <a:p>
            <a:pPr algn="ctr" fontAlgn="base">
              <a:spcBef>
                <a:spcPct val="0"/>
              </a:spcBef>
              <a:spcAft>
                <a:spcPct val="0"/>
              </a:spcAft>
            </a:pPr>
            <a:endParaRPr lang="zh-CN" altLang="en-US" sz="900">
              <a:solidFill>
                <a:srgbClr val="FFC000"/>
              </a:solidFill>
              <a:latin typeface="FrutigerNext LT Medium" pitchFamily="34" charset="0"/>
              <a:ea typeface="MS PGothic" pitchFamily="34" charset="-128"/>
            </a:endParaRPr>
          </a:p>
        </p:txBody>
      </p:sp>
      <p:sp>
        <p:nvSpPr>
          <p:cNvPr id="59" name="Rectangle 197"/>
          <p:cNvSpPr>
            <a:spLocks noChangeArrowheads="1"/>
          </p:cNvSpPr>
          <p:nvPr/>
        </p:nvSpPr>
        <p:spPr bwMode="auto">
          <a:xfrm>
            <a:off x="5151657" y="2943415"/>
            <a:ext cx="1124145" cy="207709"/>
          </a:xfrm>
          <a:prstGeom prst="rect">
            <a:avLst/>
          </a:prstGeom>
          <a:noFill/>
          <a:ln w="3175" algn="ctr">
            <a:noFill/>
            <a:prstDash val="dash"/>
            <a:miter lim="800000"/>
            <a:headEnd/>
            <a:tailEnd/>
          </a:ln>
          <a:effectLst/>
        </p:spPr>
        <p:txBody>
          <a:bodyPr lIns="68537" tIns="34270" rIns="68537" bIns="34270">
            <a:spAutoFit/>
          </a:bodyPr>
          <a:lstStyle/>
          <a:p>
            <a:pPr algn="ctr" eaLnBrk="0" fontAlgn="base" hangingPunct="0">
              <a:spcBef>
                <a:spcPct val="0"/>
              </a:spcBef>
              <a:spcAft>
                <a:spcPct val="0"/>
              </a:spcAft>
            </a:pPr>
            <a:r>
              <a:rPr lang="en-US" altLang="zh-CN" sz="900" dirty="0">
                <a:solidFill>
                  <a:schemeClr val="bg1"/>
                </a:solidFill>
                <a:latin typeface="FrutigerNext LT Medium" pitchFamily="34" charset="0"/>
              </a:rPr>
              <a:t>Network</a:t>
            </a:r>
          </a:p>
        </p:txBody>
      </p:sp>
      <p:grpSp>
        <p:nvGrpSpPr>
          <p:cNvPr id="9" name="组合 333"/>
          <p:cNvGrpSpPr/>
          <p:nvPr/>
        </p:nvGrpSpPr>
        <p:grpSpPr>
          <a:xfrm>
            <a:off x="6530350" y="3031992"/>
            <a:ext cx="272551" cy="384588"/>
            <a:chOff x="-6559535" y="2457450"/>
            <a:chExt cx="1612900" cy="2171701"/>
          </a:xfrm>
          <a:solidFill>
            <a:schemeClr val="bg1"/>
          </a:solidFill>
        </p:grpSpPr>
        <p:sp>
          <p:nvSpPr>
            <p:cNvPr id="86" name="Freeform 17"/>
            <p:cNvSpPr>
              <a:spLocks noEditPoints="1"/>
            </p:cNvSpPr>
            <p:nvPr/>
          </p:nvSpPr>
          <p:spPr bwMode="auto">
            <a:xfrm>
              <a:off x="-6559535" y="2457450"/>
              <a:ext cx="1612900" cy="161131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87" name="Freeform 18"/>
            <p:cNvSpPr>
              <a:spLocks noEditPoints="1"/>
            </p:cNvSpPr>
            <p:nvPr/>
          </p:nvSpPr>
          <p:spPr bwMode="auto">
            <a:xfrm>
              <a:off x="-6246813" y="4160838"/>
              <a:ext cx="987425" cy="468313"/>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grpSp>
      <p:sp>
        <p:nvSpPr>
          <p:cNvPr id="109" name="Freeform 13"/>
          <p:cNvSpPr>
            <a:spLocks noEditPoints="1"/>
          </p:cNvSpPr>
          <p:nvPr/>
        </p:nvSpPr>
        <p:spPr bwMode="auto">
          <a:xfrm>
            <a:off x="6371647" y="2389609"/>
            <a:ext cx="497586" cy="135127"/>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grpSp>
        <p:nvGrpSpPr>
          <p:cNvPr id="10" name="组合 14"/>
          <p:cNvGrpSpPr/>
          <p:nvPr/>
        </p:nvGrpSpPr>
        <p:grpSpPr>
          <a:xfrm>
            <a:off x="5033861" y="3321015"/>
            <a:ext cx="1368324" cy="439556"/>
            <a:chOff x="5119900" y="5909655"/>
            <a:chExt cx="1824591" cy="586125"/>
          </a:xfrm>
        </p:grpSpPr>
        <p:sp>
          <p:nvSpPr>
            <p:cNvPr id="148" name="Text Box 207"/>
            <p:cNvSpPr txBox="1">
              <a:spLocks noChangeArrowheads="1"/>
            </p:cNvSpPr>
            <p:nvPr/>
          </p:nvSpPr>
          <p:spPr bwMode="auto">
            <a:xfrm>
              <a:off x="5757129" y="5909655"/>
              <a:ext cx="1187362" cy="424714"/>
            </a:xfrm>
            <a:prstGeom prst="rect">
              <a:avLst/>
            </a:prstGeom>
            <a:noFill/>
            <a:ln w="3175">
              <a:noFill/>
              <a:prstDash val="dash"/>
              <a:miter lim="800000"/>
              <a:headEnd/>
              <a:tailEnd/>
            </a:ln>
            <a:effectLst/>
          </p:spPr>
          <p:txBody>
            <a:bodyPr wrap="square" lIns="68537" tIns="34270" rIns="68537" bIns="34270">
              <a:spAutoFit/>
            </a:bodyPr>
            <a:lstStyle/>
            <a:p>
              <a:pPr algn="ctr" eaLnBrk="0" fontAlgn="base" hangingPunct="0">
                <a:lnSpc>
                  <a:spcPct val="90000"/>
                </a:lnSpc>
                <a:spcBef>
                  <a:spcPct val="0"/>
                </a:spcBef>
                <a:spcAft>
                  <a:spcPct val="0"/>
                </a:spcAft>
                <a:buClr>
                  <a:srgbClr val="777777"/>
                </a:buClr>
                <a:buSzPct val="60000"/>
                <a:buFont typeface="Wingdings" pitchFamily="2" charset="2"/>
                <a:buNone/>
              </a:pPr>
              <a:r>
                <a:rPr lang="en-US" altLang="zh-CN" sz="900" dirty="0">
                  <a:solidFill>
                    <a:schemeClr val="bg1"/>
                  </a:solidFill>
                  <a:latin typeface="FrutigerNext LT Medium" pitchFamily="34" charset="0"/>
                  <a:ea typeface="黑体" pitchFamily="2" charset="-122"/>
                  <a:cs typeface="Arial" charset="0"/>
                </a:rPr>
                <a:t>Central NMS Workstation</a:t>
              </a:r>
            </a:p>
          </p:txBody>
        </p:sp>
        <p:grpSp>
          <p:nvGrpSpPr>
            <p:cNvPr id="11" name="组合 367"/>
            <p:cNvGrpSpPr/>
            <p:nvPr/>
          </p:nvGrpSpPr>
          <p:grpSpPr>
            <a:xfrm>
              <a:off x="5119900" y="5962145"/>
              <a:ext cx="724452" cy="533635"/>
              <a:chOff x="-1444626" y="2612827"/>
              <a:chExt cx="1444626" cy="1111251"/>
            </a:xfrm>
            <a:solidFill>
              <a:schemeClr val="bg1"/>
            </a:solidFill>
          </p:grpSpPr>
          <p:sp>
            <p:nvSpPr>
              <p:cNvPr id="150" name="Freeform 5"/>
              <p:cNvSpPr>
                <a:spLocks noEditPoints="1"/>
              </p:cNvSpPr>
              <p:nvPr/>
            </p:nvSpPr>
            <p:spPr bwMode="auto">
              <a:xfrm>
                <a:off x="-1444626" y="2725540"/>
                <a:ext cx="1087438" cy="998538"/>
              </a:xfrm>
              <a:custGeom>
                <a:avLst/>
                <a:gdLst/>
                <a:ahLst/>
                <a:cxnLst>
                  <a:cxn ang="0">
                    <a:pos x="11410" y="2"/>
                  </a:cxn>
                  <a:cxn ang="0">
                    <a:pos x="11555" y="20"/>
                  </a:cxn>
                  <a:cxn ang="0">
                    <a:pos x="11692" y="59"/>
                  </a:cxn>
                  <a:cxn ang="0">
                    <a:pos x="11821" y="117"/>
                  </a:cxn>
                  <a:cxn ang="0">
                    <a:pos x="11939" y="193"/>
                  </a:cxn>
                  <a:cxn ang="0">
                    <a:pos x="12044" y="284"/>
                  </a:cxn>
                  <a:cxn ang="0">
                    <a:pos x="12136" y="390"/>
                  </a:cxn>
                  <a:cxn ang="0">
                    <a:pos x="12211" y="508"/>
                  </a:cxn>
                  <a:cxn ang="0">
                    <a:pos x="12270" y="637"/>
                  </a:cxn>
                  <a:cxn ang="0">
                    <a:pos x="12309" y="774"/>
                  </a:cxn>
                  <a:cxn ang="0">
                    <a:pos x="12327" y="919"/>
                  </a:cxn>
                  <a:cxn ang="0">
                    <a:pos x="12327" y="8512"/>
                  </a:cxn>
                  <a:cxn ang="0">
                    <a:pos x="12309" y="8656"/>
                  </a:cxn>
                  <a:cxn ang="0">
                    <a:pos x="12270" y="8795"/>
                  </a:cxn>
                  <a:cxn ang="0">
                    <a:pos x="12211" y="8923"/>
                  </a:cxn>
                  <a:cxn ang="0">
                    <a:pos x="12136" y="9040"/>
                  </a:cxn>
                  <a:cxn ang="0">
                    <a:pos x="12044" y="9146"/>
                  </a:cxn>
                  <a:cxn ang="0">
                    <a:pos x="11939" y="9237"/>
                  </a:cxn>
                  <a:cxn ang="0">
                    <a:pos x="11821" y="9313"/>
                  </a:cxn>
                  <a:cxn ang="0">
                    <a:pos x="11692" y="9371"/>
                  </a:cxn>
                  <a:cxn ang="0">
                    <a:pos x="11555" y="9411"/>
                  </a:cxn>
                  <a:cxn ang="0">
                    <a:pos x="11410" y="9430"/>
                  </a:cxn>
                  <a:cxn ang="0">
                    <a:pos x="8133" y="9818"/>
                  </a:cxn>
                  <a:cxn ang="0">
                    <a:pos x="968" y="9431"/>
                  </a:cxn>
                  <a:cxn ang="0">
                    <a:pos x="821" y="9420"/>
                  </a:cxn>
                  <a:cxn ang="0">
                    <a:pos x="681" y="9387"/>
                  </a:cxn>
                  <a:cxn ang="0">
                    <a:pos x="550" y="9335"/>
                  </a:cxn>
                  <a:cxn ang="0">
                    <a:pos x="428" y="9265"/>
                  </a:cxn>
                  <a:cxn ang="0">
                    <a:pos x="318" y="9179"/>
                  </a:cxn>
                  <a:cxn ang="0">
                    <a:pos x="222" y="9077"/>
                  </a:cxn>
                  <a:cxn ang="0">
                    <a:pos x="140" y="8964"/>
                  </a:cxn>
                  <a:cxn ang="0">
                    <a:pos x="77" y="8838"/>
                  </a:cxn>
                  <a:cxn ang="0">
                    <a:pos x="31" y="8703"/>
                  </a:cxn>
                  <a:cxn ang="0">
                    <a:pos x="5" y="8561"/>
                  </a:cxn>
                  <a:cxn ang="0">
                    <a:pos x="0" y="969"/>
                  </a:cxn>
                  <a:cxn ang="0">
                    <a:pos x="11" y="822"/>
                  </a:cxn>
                  <a:cxn ang="0">
                    <a:pos x="44" y="682"/>
                  </a:cxn>
                  <a:cxn ang="0">
                    <a:pos x="96" y="550"/>
                  </a:cxn>
                  <a:cxn ang="0">
                    <a:pos x="166" y="428"/>
                  </a:cxn>
                  <a:cxn ang="0">
                    <a:pos x="252" y="318"/>
                  </a:cxn>
                  <a:cxn ang="0">
                    <a:pos x="353" y="222"/>
                  </a:cxn>
                  <a:cxn ang="0">
                    <a:pos x="467" y="141"/>
                  </a:cxn>
                  <a:cxn ang="0">
                    <a:pos x="592" y="76"/>
                  </a:cxn>
                  <a:cxn ang="0">
                    <a:pos x="727" y="30"/>
                  </a:cxn>
                  <a:cxn ang="0">
                    <a:pos x="869" y="5"/>
                  </a:cxn>
                  <a:cxn ang="0">
                    <a:pos x="2888" y="10546"/>
                  </a:cxn>
                  <a:cxn ang="0">
                    <a:pos x="9033" y="10200"/>
                  </a:cxn>
                  <a:cxn ang="0">
                    <a:pos x="2888" y="11322"/>
                  </a:cxn>
                  <a:cxn ang="0">
                    <a:pos x="11211" y="969"/>
                  </a:cxn>
                  <a:cxn ang="0">
                    <a:pos x="1117" y="969"/>
                  </a:cxn>
                </a:cxnLst>
                <a:rect l="0" t="0" r="r" b="b"/>
                <a:pathLst>
                  <a:path w="12329" h="11322">
                    <a:moveTo>
                      <a:pt x="968" y="0"/>
                    </a:moveTo>
                    <a:lnTo>
                      <a:pt x="11361" y="0"/>
                    </a:lnTo>
                    <a:lnTo>
                      <a:pt x="11410" y="2"/>
                    </a:lnTo>
                    <a:lnTo>
                      <a:pt x="11459" y="5"/>
                    </a:lnTo>
                    <a:lnTo>
                      <a:pt x="11507" y="11"/>
                    </a:lnTo>
                    <a:lnTo>
                      <a:pt x="11555" y="20"/>
                    </a:lnTo>
                    <a:lnTo>
                      <a:pt x="11601" y="30"/>
                    </a:lnTo>
                    <a:lnTo>
                      <a:pt x="11647" y="44"/>
                    </a:lnTo>
                    <a:lnTo>
                      <a:pt x="11692" y="59"/>
                    </a:lnTo>
                    <a:lnTo>
                      <a:pt x="11736" y="76"/>
                    </a:lnTo>
                    <a:lnTo>
                      <a:pt x="11779" y="96"/>
                    </a:lnTo>
                    <a:lnTo>
                      <a:pt x="11821" y="117"/>
                    </a:lnTo>
                    <a:lnTo>
                      <a:pt x="11861" y="141"/>
                    </a:lnTo>
                    <a:lnTo>
                      <a:pt x="11901" y="167"/>
                    </a:lnTo>
                    <a:lnTo>
                      <a:pt x="11939" y="193"/>
                    </a:lnTo>
                    <a:lnTo>
                      <a:pt x="11975" y="222"/>
                    </a:lnTo>
                    <a:lnTo>
                      <a:pt x="12011" y="253"/>
                    </a:lnTo>
                    <a:lnTo>
                      <a:pt x="12044" y="284"/>
                    </a:lnTo>
                    <a:lnTo>
                      <a:pt x="12076" y="318"/>
                    </a:lnTo>
                    <a:lnTo>
                      <a:pt x="12107" y="354"/>
                    </a:lnTo>
                    <a:lnTo>
                      <a:pt x="12136" y="390"/>
                    </a:lnTo>
                    <a:lnTo>
                      <a:pt x="12162" y="428"/>
                    </a:lnTo>
                    <a:lnTo>
                      <a:pt x="12188" y="468"/>
                    </a:lnTo>
                    <a:lnTo>
                      <a:pt x="12211" y="508"/>
                    </a:lnTo>
                    <a:lnTo>
                      <a:pt x="12233" y="550"/>
                    </a:lnTo>
                    <a:lnTo>
                      <a:pt x="12252" y="593"/>
                    </a:lnTo>
                    <a:lnTo>
                      <a:pt x="12270" y="637"/>
                    </a:lnTo>
                    <a:lnTo>
                      <a:pt x="12285" y="682"/>
                    </a:lnTo>
                    <a:lnTo>
                      <a:pt x="12298" y="728"/>
                    </a:lnTo>
                    <a:lnTo>
                      <a:pt x="12309" y="774"/>
                    </a:lnTo>
                    <a:lnTo>
                      <a:pt x="12318" y="822"/>
                    </a:lnTo>
                    <a:lnTo>
                      <a:pt x="12324" y="870"/>
                    </a:lnTo>
                    <a:lnTo>
                      <a:pt x="12327" y="919"/>
                    </a:lnTo>
                    <a:lnTo>
                      <a:pt x="12329" y="969"/>
                    </a:lnTo>
                    <a:lnTo>
                      <a:pt x="12329" y="8462"/>
                    </a:lnTo>
                    <a:lnTo>
                      <a:pt x="12327" y="8512"/>
                    </a:lnTo>
                    <a:lnTo>
                      <a:pt x="12324" y="8561"/>
                    </a:lnTo>
                    <a:lnTo>
                      <a:pt x="12318" y="8609"/>
                    </a:lnTo>
                    <a:lnTo>
                      <a:pt x="12309" y="8656"/>
                    </a:lnTo>
                    <a:lnTo>
                      <a:pt x="12298" y="8703"/>
                    </a:lnTo>
                    <a:lnTo>
                      <a:pt x="12285" y="8750"/>
                    </a:lnTo>
                    <a:lnTo>
                      <a:pt x="12270" y="8795"/>
                    </a:lnTo>
                    <a:lnTo>
                      <a:pt x="12252" y="8838"/>
                    </a:lnTo>
                    <a:lnTo>
                      <a:pt x="12233" y="8881"/>
                    </a:lnTo>
                    <a:lnTo>
                      <a:pt x="12211" y="8923"/>
                    </a:lnTo>
                    <a:lnTo>
                      <a:pt x="12188" y="8964"/>
                    </a:lnTo>
                    <a:lnTo>
                      <a:pt x="12162" y="9003"/>
                    </a:lnTo>
                    <a:lnTo>
                      <a:pt x="12136" y="9040"/>
                    </a:lnTo>
                    <a:lnTo>
                      <a:pt x="12107" y="9077"/>
                    </a:lnTo>
                    <a:lnTo>
                      <a:pt x="12076" y="9112"/>
                    </a:lnTo>
                    <a:lnTo>
                      <a:pt x="12044" y="9146"/>
                    </a:lnTo>
                    <a:lnTo>
                      <a:pt x="12011" y="9179"/>
                    </a:lnTo>
                    <a:lnTo>
                      <a:pt x="11975" y="9209"/>
                    </a:lnTo>
                    <a:lnTo>
                      <a:pt x="11939" y="9237"/>
                    </a:lnTo>
                    <a:lnTo>
                      <a:pt x="11901" y="9265"/>
                    </a:lnTo>
                    <a:lnTo>
                      <a:pt x="11861" y="9290"/>
                    </a:lnTo>
                    <a:lnTo>
                      <a:pt x="11821" y="9313"/>
                    </a:lnTo>
                    <a:lnTo>
                      <a:pt x="11779" y="9335"/>
                    </a:lnTo>
                    <a:lnTo>
                      <a:pt x="11736" y="9354"/>
                    </a:lnTo>
                    <a:lnTo>
                      <a:pt x="11692" y="9371"/>
                    </a:lnTo>
                    <a:lnTo>
                      <a:pt x="11647" y="9387"/>
                    </a:lnTo>
                    <a:lnTo>
                      <a:pt x="11601" y="9400"/>
                    </a:lnTo>
                    <a:lnTo>
                      <a:pt x="11555" y="9411"/>
                    </a:lnTo>
                    <a:lnTo>
                      <a:pt x="11507" y="9420"/>
                    </a:lnTo>
                    <a:lnTo>
                      <a:pt x="11459" y="9426"/>
                    </a:lnTo>
                    <a:lnTo>
                      <a:pt x="11410" y="9430"/>
                    </a:lnTo>
                    <a:lnTo>
                      <a:pt x="11361" y="9431"/>
                    </a:lnTo>
                    <a:lnTo>
                      <a:pt x="8133" y="9431"/>
                    </a:lnTo>
                    <a:lnTo>
                      <a:pt x="8133" y="9818"/>
                    </a:lnTo>
                    <a:lnTo>
                      <a:pt x="4195" y="9818"/>
                    </a:lnTo>
                    <a:lnTo>
                      <a:pt x="4195" y="9431"/>
                    </a:lnTo>
                    <a:lnTo>
                      <a:pt x="968" y="9431"/>
                    </a:lnTo>
                    <a:lnTo>
                      <a:pt x="918" y="9430"/>
                    </a:lnTo>
                    <a:lnTo>
                      <a:pt x="869" y="9426"/>
                    </a:lnTo>
                    <a:lnTo>
                      <a:pt x="821" y="9420"/>
                    </a:lnTo>
                    <a:lnTo>
                      <a:pt x="774" y="9411"/>
                    </a:lnTo>
                    <a:lnTo>
                      <a:pt x="727" y="9400"/>
                    </a:lnTo>
                    <a:lnTo>
                      <a:pt x="681" y="9387"/>
                    </a:lnTo>
                    <a:lnTo>
                      <a:pt x="636" y="9371"/>
                    </a:lnTo>
                    <a:lnTo>
                      <a:pt x="592" y="9354"/>
                    </a:lnTo>
                    <a:lnTo>
                      <a:pt x="550" y="9335"/>
                    </a:lnTo>
                    <a:lnTo>
                      <a:pt x="508" y="9313"/>
                    </a:lnTo>
                    <a:lnTo>
                      <a:pt x="467" y="9290"/>
                    </a:lnTo>
                    <a:lnTo>
                      <a:pt x="428" y="9265"/>
                    </a:lnTo>
                    <a:lnTo>
                      <a:pt x="390" y="9237"/>
                    </a:lnTo>
                    <a:lnTo>
                      <a:pt x="353" y="9209"/>
                    </a:lnTo>
                    <a:lnTo>
                      <a:pt x="318" y="9179"/>
                    </a:lnTo>
                    <a:lnTo>
                      <a:pt x="285" y="9146"/>
                    </a:lnTo>
                    <a:lnTo>
                      <a:pt x="252" y="9112"/>
                    </a:lnTo>
                    <a:lnTo>
                      <a:pt x="222" y="9077"/>
                    </a:lnTo>
                    <a:lnTo>
                      <a:pt x="192" y="9040"/>
                    </a:lnTo>
                    <a:lnTo>
                      <a:pt x="166" y="9003"/>
                    </a:lnTo>
                    <a:lnTo>
                      <a:pt x="140" y="8964"/>
                    </a:lnTo>
                    <a:lnTo>
                      <a:pt x="117" y="8923"/>
                    </a:lnTo>
                    <a:lnTo>
                      <a:pt x="96" y="8881"/>
                    </a:lnTo>
                    <a:lnTo>
                      <a:pt x="77" y="8838"/>
                    </a:lnTo>
                    <a:lnTo>
                      <a:pt x="59" y="8795"/>
                    </a:lnTo>
                    <a:lnTo>
                      <a:pt x="44" y="8750"/>
                    </a:lnTo>
                    <a:lnTo>
                      <a:pt x="31" y="8703"/>
                    </a:lnTo>
                    <a:lnTo>
                      <a:pt x="19" y="8656"/>
                    </a:lnTo>
                    <a:lnTo>
                      <a:pt x="11" y="8609"/>
                    </a:lnTo>
                    <a:lnTo>
                      <a:pt x="5" y="8561"/>
                    </a:lnTo>
                    <a:lnTo>
                      <a:pt x="1" y="8512"/>
                    </a:lnTo>
                    <a:lnTo>
                      <a:pt x="0" y="8462"/>
                    </a:lnTo>
                    <a:lnTo>
                      <a:pt x="0" y="969"/>
                    </a:lnTo>
                    <a:lnTo>
                      <a:pt x="1" y="919"/>
                    </a:lnTo>
                    <a:lnTo>
                      <a:pt x="5" y="870"/>
                    </a:lnTo>
                    <a:lnTo>
                      <a:pt x="11" y="822"/>
                    </a:lnTo>
                    <a:lnTo>
                      <a:pt x="19" y="774"/>
                    </a:lnTo>
                    <a:lnTo>
                      <a:pt x="31" y="728"/>
                    </a:lnTo>
                    <a:lnTo>
                      <a:pt x="44" y="682"/>
                    </a:lnTo>
                    <a:lnTo>
                      <a:pt x="59" y="637"/>
                    </a:lnTo>
                    <a:lnTo>
                      <a:pt x="77" y="593"/>
                    </a:lnTo>
                    <a:lnTo>
                      <a:pt x="96" y="550"/>
                    </a:lnTo>
                    <a:lnTo>
                      <a:pt x="117" y="508"/>
                    </a:lnTo>
                    <a:lnTo>
                      <a:pt x="140" y="468"/>
                    </a:lnTo>
                    <a:lnTo>
                      <a:pt x="166" y="428"/>
                    </a:lnTo>
                    <a:lnTo>
                      <a:pt x="192" y="390"/>
                    </a:lnTo>
                    <a:lnTo>
                      <a:pt x="222" y="354"/>
                    </a:lnTo>
                    <a:lnTo>
                      <a:pt x="252" y="318"/>
                    </a:lnTo>
                    <a:lnTo>
                      <a:pt x="285" y="284"/>
                    </a:lnTo>
                    <a:lnTo>
                      <a:pt x="318" y="253"/>
                    </a:lnTo>
                    <a:lnTo>
                      <a:pt x="353" y="222"/>
                    </a:lnTo>
                    <a:lnTo>
                      <a:pt x="390" y="193"/>
                    </a:lnTo>
                    <a:lnTo>
                      <a:pt x="428" y="167"/>
                    </a:lnTo>
                    <a:lnTo>
                      <a:pt x="467" y="141"/>
                    </a:lnTo>
                    <a:lnTo>
                      <a:pt x="508" y="117"/>
                    </a:lnTo>
                    <a:lnTo>
                      <a:pt x="550" y="96"/>
                    </a:lnTo>
                    <a:lnTo>
                      <a:pt x="592" y="76"/>
                    </a:lnTo>
                    <a:lnTo>
                      <a:pt x="636" y="59"/>
                    </a:lnTo>
                    <a:lnTo>
                      <a:pt x="681" y="44"/>
                    </a:lnTo>
                    <a:lnTo>
                      <a:pt x="727" y="30"/>
                    </a:lnTo>
                    <a:lnTo>
                      <a:pt x="774" y="20"/>
                    </a:lnTo>
                    <a:lnTo>
                      <a:pt x="821" y="11"/>
                    </a:lnTo>
                    <a:lnTo>
                      <a:pt x="869" y="5"/>
                    </a:lnTo>
                    <a:lnTo>
                      <a:pt x="918" y="2"/>
                    </a:lnTo>
                    <a:lnTo>
                      <a:pt x="968" y="0"/>
                    </a:lnTo>
                    <a:close/>
                    <a:moveTo>
                      <a:pt x="2888" y="10546"/>
                    </a:moveTo>
                    <a:lnTo>
                      <a:pt x="2888" y="10546"/>
                    </a:lnTo>
                    <a:lnTo>
                      <a:pt x="3295" y="10200"/>
                    </a:lnTo>
                    <a:lnTo>
                      <a:pt x="9033" y="10200"/>
                    </a:lnTo>
                    <a:lnTo>
                      <a:pt x="9441" y="10546"/>
                    </a:lnTo>
                    <a:lnTo>
                      <a:pt x="9441" y="11322"/>
                    </a:lnTo>
                    <a:lnTo>
                      <a:pt x="2888" y="11322"/>
                    </a:lnTo>
                    <a:lnTo>
                      <a:pt x="2888" y="10546"/>
                    </a:lnTo>
                    <a:close/>
                    <a:moveTo>
                      <a:pt x="1117" y="969"/>
                    </a:moveTo>
                    <a:lnTo>
                      <a:pt x="11211" y="969"/>
                    </a:lnTo>
                    <a:lnTo>
                      <a:pt x="11211" y="8462"/>
                    </a:lnTo>
                    <a:lnTo>
                      <a:pt x="1117" y="8462"/>
                    </a:lnTo>
                    <a:lnTo>
                      <a:pt x="1117" y="969"/>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u="sng">
                  <a:latin typeface="FrutigerNext LT Medium" pitchFamily="34" charset="0"/>
                  <a:cs typeface="Arial" pitchFamily="34" charset="0"/>
                </a:endParaRPr>
              </a:p>
            </p:txBody>
          </p:sp>
          <p:sp>
            <p:nvSpPr>
              <p:cNvPr id="151" name="Freeform 6"/>
              <p:cNvSpPr>
                <a:spLocks noEditPoints="1"/>
              </p:cNvSpPr>
              <p:nvPr/>
            </p:nvSpPr>
            <p:spPr bwMode="auto">
              <a:xfrm>
                <a:off x="-598488" y="2612827"/>
                <a:ext cx="598488" cy="1103313"/>
              </a:xfrm>
              <a:custGeom>
                <a:avLst/>
                <a:gdLst/>
                <a:ahLst/>
                <a:cxnLst>
                  <a:cxn ang="0">
                    <a:pos x="6426" y="15"/>
                  </a:cxn>
                  <a:cxn ang="0">
                    <a:pos x="6572" y="81"/>
                  </a:cxn>
                  <a:cxn ang="0">
                    <a:pos x="6686" y="190"/>
                  </a:cxn>
                  <a:cxn ang="0">
                    <a:pos x="6759" y="332"/>
                  </a:cxn>
                  <a:cxn ang="0">
                    <a:pos x="6780" y="12044"/>
                  </a:cxn>
                  <a:cxn ang="0">
                    <a:pos x="6751" y="12206"/>
                  </a:cxn>
                  <a:cxn ang="0">
                    <a:pos x="6671" y="12344"/>
                  </a:cxn>
                  <a:cxn ang="0">
                    <a:pos x="6553" y="12447"/>
                  </a:cxn>
                  <a:cxn ang="0">
                    <a:pos x="6403" y="12506"/>
                  </a:cxn>
                  <a:cxn ang="0">
                    <a:pos x="424" y="12513"/>
                  </a:cxn>
                  <a:cxn ang="0">
                    <a:pos x="268" y="12469"/>
                  </a:cxn>
                  <a:cxn ang="0">
                    <a:pos x="139" y="12377"/>
                  </a:cxn>
                  <a:cxn ang="0">
                    <a:pos x="47" y="12248"/>
                  </a:cxn>
                  <a:cxn ang="0">
                    <a:pos x="3" y="12092"/>
                  </a:cxn>
                  <a:cxn ang="0">
                    <a:pos x="1971" y="10952"/>
                  </a:cxn>
                  <a:cxn ang="0">
                    <a:pos x="2201" y="10885"/>
                  </a:cxn>
                  <a:cxn ang="0">
                    <a:pos x="2412" y="10778"/>
                  </a:cxn>
                  <a:cxn ang="0">
                    <a:pos x="2782" y="10424"/>
                  </a:cxn>
                  <a:cxn ang="0">
                    <a:pos x="2899" y="10222"/>
                  </a:cxn>
                  <a:cxn ang="0">
                    <a:pos x="2963" y="10051"/>
                  </a:cxn>
                  <a:cxn ang="0">
                    <a:pos x="3003" y="9870"/>
                  </a:cxn>
                  <a:cxn ang="0">
                    <a:pos x="3018" y="9679"/>
                  </a:cxn>
                  <a:cxn ang="0">
                    <a:pos x="6497" y="1691"/>
                  </a:cxn>
                  <a:cxn ang="0">
                    <a:pos x="2719" y="1479"/>
                  </a:cxn>
                  <a:cxn ang="0">
                    <a:pos x="2505" y="1273"/>
                  </a:cxn>
                  <a:cxn ang="0">
                    <a:pos x="2248" y="1121"/>
                  </a:cxn>
                  <a:cxn ang="0">
                    <a:pos x="1957" y="1032"/>
                  </a:cxn>
                  <a:cxn ang="0">
                    <a:pos x="0" y="471"/>
                  </a:cxn>
                  <a:cxn ang="0">
                    <a:pos x="28" y="310"/>
                  </a:cxn>
                  <a:cxn ang="0">
                    <a:pos x="108" y="172"/>
                  </a:cxn>
                  <a:cxn ang="0">
                    <a:pos x="227" y="69"/>
                  </a:cxn>
                  <a:cxn ang="0">
                    <a:pos x="376" y="9"/>
                  </a:cxn>
                  <a:cxn ang="0">
                    <a:pos x="5844" y="5014"/>
                  </a:cxn>
                  <a:cxn ang="0">
                    <a:pos x="5995" y="5056"/>
                  </a:cxn>
                  <a:cxn ang="0">
                    <a:pos x="6119" y="5145"/>
                  </a:cxn>
                  <a:cxn ang="0">
                    <a:pos x="6208" y="5269"/>
                  </a:cxn>
                  <a:cxn ang="0">
                    <a:pos x="6250" y="5419"/>
                  </a:cxn>
                  <a:cxn ang="0">
                    <a:pos x="6238" y="5579"/>
                  </a:cxn>
                  <a:cxn ang="0">
                    <a:pos x="6175" y="5720"/>
                  </a:cxn>
                  <a:cxn ang="0">
                    <a:pos x="6070" y="5830"/>
                  </a:cxn>
                  <a:cxn ang="0">
                    <a:pos x="5933" y="5900"/>
                  </a:cxn>
                  <a:cxn ang="0">
                    <a:pos x="5775" y="5919"/>
                  </a:cxn>
                  <a:cxn ang="0">
                    <a:pos x="5621" y="5885"/>
                  </a:cxn>
                  <a:cxn ang="0">
                    <a:pos x="5493" y="5803"/>
                  </a:cxn>
                  <a:cxn ang="0">
                    <a:pos x="5399" y="5682"/>
                  </a:cxn>
                  <a:cxn ang="0">
                    <a:pos x="5349" y="5535"/>
                  </a:cxn>
                  <a:cxn ang="0">
                    <a:pos x="5353" y="5374"/>
                  </a:cxn>
                  <a:cxn ang="0">
                    <a:pos x="5409" y="5231"/>
                  </a:cxn>
                  <a:cxn ang="0">
                    <a:pos x="5510" y="5115"/>
                  </a:cxn>
                  <a:cxn ang="0">
                    <a:pos x="5643" y="5039"/>
                  </a:cxn>
                  <a:cxn ang="0">
                    <a:pos x="5798" y="5011"/>
                  </a:cxn>
                  <a:cxn ang="0">
                    <a:pos x="4028" y="9504"/>
                  </a:cxn>
                  <a:cxn ang="0">
                    <a:pos x="3533" y="11795"/>
                  </a:cxn>
                  <a:cxn ang="0">
                    <a:pos x="3006" y="2139"/>
                  </a:cxn>
                  <a:cxn ang="0">
                    <a:pos x="3018" y="3648"/>
                  </a:cxn>
                </a:cxnLst>
                <a:rect l="0" t="0" r="r" b="b"/>
                <a:pathLst>
                  <a:path w="6780" h="12516">
                    <a:moveTo>
                      <a:pt x="472" y="0"/>
                    </a:moveTo>
                    <a:lnTo>
                      <a:pt x="6309" y="0"/>
                    </a:lnTo>
                    <a:lnTo>
                      <a:pt x="6333" y="1"/>
                    </a:lnTo>
                    <a:lnTo>
                      <a:pt x="6357" y="2"/>
                    </a:lnTo>
                    <a:lnTo>
                      <a:pt x="6381" y="5"/>
                    </a:lnTo>
                    <a:lnTo>
                      <a:pt x="6403" y="9"/>
                    </a:lnTo>
                    <a:lnTo>
                      <a:pt x="6426" y="15"/>
                    </a:lnTo>
                    <a:lnTo>
                      <a:pt x="6448" y="22"/>
                    </a:lnTo>
                    <a:lnTo>
                      <a:pt x="6470" y="29"/>
                    </a:lnTo>
                    <a:lnTo>
                      <a:pt x="6491" y="37"/>
                    </a:lnTo>
                    <a:lnTo>
                      <a:pt x="6513" y="47"/>
                    </a:lnTo>
                    <a:lnTo>
                      <a:pt x="6533" y="57"/>
                    </a:lnTo>
                    <a:lnTo>
                      <a:pt x="6553" y="69"/>
                    </a:lnTo>
                    <a:lnTo>
                      <a:pt x="6572" y="81"/>
                    </a:lnTo>
                    <a:lnTo>
                      <a:pt x="6591" y="94"/>
                    </a:lnTo>
                    <a:lnTo>
                      <a:pt x="6608" y="109"/>
                    </a:lnTo>
                    <a:lnTo>
                      <a:pt x="6625" y="123"/>
                    </a:lnTo>
                    <a:lnTo>
                      <a:pt x="6642" y="138"/>
                    </a:lnTo>
                    <a:lnTo>
                      <a:pt x="6657" y="155"/>
                    </a:lnTo>
                    <a:lnTo>
                      <a:pt x="6671" y="172"/>
                    </a:lnTo>
                    <a:lnTo>
                      <a:pt x="6686" y="190"/>
                    </a:lnTo>
                    <a:lnTo>
                      <a:pt x="6699" y="208"/>
                    </a:lnTo>
                    <a:lnTo>
                      <a:pt x="6711" y="227"/>
                    </a:lnTo>
                    <a:lnTo>
                      <a:pt x="6723" y="247"/>
                    </a:lnTo>
                    <a:lnTo>
                      <a:pt x="6733" y="267"/>
                    </a:lnTo>
                    <a:lnTo>
                      <a:pt x="6743" y="289"/>
                    </a:lnTo>
                    <a:lnTo>
                      <a:pt x="6751" y="310"/>
                    </a:lnTo>
                    <a:lnTo>
                      <a:pt x="6759" y="332"/>
                    </a:lnTo>
                    <a:lnTo>
                      <a:pt x="6765" y="354"/>
                    </a:lnTo>
                    <a:lnTo>
                      <a:pt x="6771" y="377"/>
                    </a:lnTo>
                    <a:lnTo>
                      <a:pt x="6775" y="400"/>
                    </a:lnTo>
                    <a:lnTo>
                      <a:pt x="6778" y="423"/>
                    </a:lnTo>
                    <a:lnTo>
                      <a:pt x="6779" y="448"/>
                    </a:lnTo>
                    <a:lnTo>
                      <a:pt x="6780" y="471"/>
                    </a:lnTo>
                    <a:lnTo>
                      <a:pt x="6780" y="12044"/>
                    </a:lnTo>
                    <a:lnTo>
                      <a:pt x="6779" y="12068"/>
                    </a:lnTo>
                    <a:lnTo>
                      <a:pt x="6778" y="12092"/>
                    </a:lnTo>
                    <a:lnTo>
                      <a:pt x="6775" y="12115"/>
                    </a:lnTo>
                    <a:lnTo>
                      <a:pt x="6771" y="12139"/>
                    </a:lnTo>
                    <a:lnTo>
                      <a:pt x="6765" y="12162"/>
                    </a:lnTo>
                    <a:lnTo>
                      <a:pt x="6759" y="12184"/>
                    </a:lnTo>
                    <a:lnTo>
                      <a:pt x="6751" y="12206"/>
                    </a:lnTo>
                    <a:lnTo>
                      <a:pt x="6743" y="12227"/>
                    </a:lnTo>
                    <a:lnTo>
                      <a:pt x="6733" y="12248"/>
                    </a:lnTo>
                    <a:lnTo>
                      <a:pt x="6723" y="12268"/>
                    </a:lnTo>
                    <a:lnTo>
                      <a:pt x="6711" y="12289"/>
                    </a:lnTo>
                    <a:lnTo>
                      <a:pt x="6699" y="12307"/>
                    </a:lnTo>
                    <a:lnTo>
                      <a:pt x="6686" y="12325"/>
                    </a:lnTo>
                    <a:lnTo>
                      <a:pt x="6671" y="12344"/>
                    </a:lnTo>
                    <a:lnTo>
                      <a:pt x="6657" y="12360"/>
                    </a:lnTo>
                    <a:lnTo>
                      <a:pt x="6642" y="12377"/>
                    </a:lnTo>
                    <a:lnTo>
                      <a:pt x="6625" y="12393"/>
                    </a:lnTo>
                    <a:lnTo>
                      <a:pt x="6608" y="12407"/>
                    </a:lnTo>
                    <a:lnTo>
                      <a:pt x="6591" y="12422"/>
                    </a:lnTo>
                    <a:lnTo>
                      <a:pt x="6572" y="12435"/>
                    </a:lnTo>
                    <a:lnTo>
                      <a:pt x="6553" y="12447"/>
                    </a:lnTo>
                    <a:lnTo>
                      <a:pt x="6533" y="12459"/>
                    </a:lnTo>
                    <a:lnTo>
                      <a:pt x="6513" y="12469"/>
                    </a:lnTo>
                    <a:lnTo>
                      <a:pt x="6491" y="12478"/>
                    </a:lnTo>
                    <a:lnTo>
                      <a:pt x="6470" y="12487"/>
                    </a:lnTo>
                    <a:lnTo>
                      <a:pt x="6448" y="12494"/>
                    </a:lnTo>
                    <a:lnTo>
                      <a:pt x="6426" y="12501"/>
                    </a:lnTo>
                    <a:lnTo>
                      <a:pt x="6403" y="12506"/>
                    </a:lnTo>
                    <a:lnTo>
                      <a:pt x="6381" y="12510"/>
                    </a:lnTo>
                    <a:lnTo>
                      <a:pt x="6357" y="12513"/>
                    </a:lnTo>
                    <a:lnTo>
                      <a:pt x="6333" y="12515"/>
                    </a:lnTo>
                    <a:lnTo>
                      <a:pt x="6309" y="12516"/>
                    </a:lnTo>
                    <a:lnTo>
                      <a:pt x="472" y="12516"/>
                    </a:lnTo>
                    <a:lnTo>
                      <a:pt x="447" y="12515"/>
                    </a:lnTo>
                    <a:lnTo>
                      <a:pt x="424" y="12513"/>
                    </a:lnTo>
                    <a:lnTo>
                      <a:pt x="400" y="12510"/>
                    </a:lnTo>
                    <a:lnTo>
                      <a:pt x="376" y="12506"/>
                    </a:lnTo>
                    <a:lnTo>
                      <a:pt x="354" y="12501"/>
                    </a:lnTo>
                    <a:lnTo>
                      <a:pt x="331" y="12494"/>
                    </a:lnTo>
                    <a:lnTo>
                      <a:pt x="310" y="12487"/>
                    </a:lnTo>
                    <a:lnTo>
                      <a:pt x="288" y="12478"/>
                    </a:lnTo>
                    <a:lnTo>
                      <a:pt x="268" y="12469"/>
                    </a:lnTo>
                    <a:lnTo>
                      <a:pt x="247" y="12459"/>
                    </a:lnTo>
                    <a:lnTo>
                      <a:pt x="227" y="12447"/>
                    </a:lnTo>
                    <a:lnTo>
                      <a:pt x="209" y="12435"/>
                    </a:lnTo>
                    <a:lnTo>
                      <a:pt x="190" y="12422"/>
                    </a:lnTo>
                    <a:lnTo>
                      <a:pt x="172" y="12407"/>
                    </a:lnTo>
                    <a:lnTo>
                      <a:pt x="155" y="12393"/>
                    </a:lnTo>
                    <a:lnTo>
                      <a:pt x="139" y="12377"/>
                    </a:lnTo>
                    <a:lnTo>
                      <a:pt x="123" y="12360"/>
                    </a:lnTo>
                    <a:lnTo>
                      <a:pt x="108" y="12344"/>
                    </a:lnTo>
                    <a:lnTo>
                      <a:pt x="94" y="12325"/>
                    </a:lnTo>
                    <a:lnTo>
                      <a:pt x="81" y="12307"/>
                    </a:lnTo>
                    <a:lnTo>
                      <a:pt x="68" y="12289"/>
                    </a:lnTo>
                    <a:lnTo>
                      <a:pt x="57" y="12268"/>
                    </a:lnTo>
                    <a:lnTo>
                      <a:pt x="47" y="12248"/>
                    </a:lnTo>
                    <a:lnTo>
                      <a:pt x="38" y="12227"/>
                    </a:lnTo>
                    <a:lnTo>
                      <a:pt x="28" y="12206"/>
                    </a:lnTo>
                    <a:lnTo>
                      <a:pt x="21" y="12184"/>
                    </a:lnTo>
                    <a:lnTo>
                      <a:pt x="15" y="12162"/>
                    </a:lnTo>
                    <a:lnTo>
                      <a:pt x="10" y="12139"/>
                    </a:lnTo>
                    <a:lnTo>
                      <a:pt x="6" y="12115"/>
                    </a:lnTo>
                    <a:lnTo>
                      <a:pt x="3" y="12092"/>
                    </a:lnTo>
                    <a:lnTo>
                      <a:pt x="1" y="12068"/>
                    </a:lnTo>
                    <a:lnTo>
                      <a:pt x="0" y="12044"/>
                    </a:lnTo>
                    <a:lnTo>
                      <a:pt x="0" y="10974"/>
                    </a:lnTo>
                    <a:lnTo>
                      <a:pt x="1687" y="10974"/>
                    </a:lnTo>
                    <a:lnTo>
                      <a:pt x="1687" y="11795"/>
                    </a:lnTo>
                    <a:lnTo>
                      <a:pt x="1971" y="11795"/>
                    </a:lnTo>
                    <a:lnTo>
                      <a:pt x="1971" y="10952"/>
                    </a:lnTo>
                    <a:lnTo>
                      <a:pt x="2005" y="10945"/>
                    </a:lnTo>
                    <a:lnTo>
                      <a:pt x="2039" y="10937"/>
                    </a:lnTo>
                    <a:lnTo>
                      <a:pt x="2072" y="10928"/>
                    </a:lnTo>
                    <a:lnTo>
                      <a:pt x="2105" y="10919"/>
                    </a:lnTo>
                    <a:lnTo>
                      <a:pt x="2137" y="10909"/>
                    </a:lnTo>
                    <a:lnTo>
                      <a:pt x="2169" y="10897"/>
                    </a:lnTo>
                    <a:lnTo>
                      <a:pt x="2201" y="10885"/>
                    </a:lnTo>
                    <a:lnTo>
                      <a:pt x="2233" y="10872"/>
                    </a:lnTo>
                    <a:lnTo>
                      <a:pt x="2263" y="10858"/>
                    </a:lnTo>
                    <a:lnTo>
                      <a:pt x="2294" y="10844"/>
                    </a:lnTo>
                    <a:lnTo>
                      <a:pt x="2324" y="10829"/>
                    </a:lnTo>
                    <a:lnTo>
                      <a:pt x="2353" y="10812"/>
                    </a:lnTo>
                    <a:lnTo>
                      <a:pt x="2383" y="10796"/>
                    </a:lnTo>
                    <a:lnTo>
                      <a:pt x="2412" y="10778"/>
                    </a:lnTo>
                    <a:lnTo>
                      <a:pt x="2439" y="10760"/>
                    </a:lnTo>
                    <a:lnTo>
                      <a:pt x="2467" y="10741"/>
                    </a:lnTo>
                    <a:lnTo>
                      <a:pt x="2467" y="11795"/>
                    </a:lnTo>
                    <a:lnTo>
                      <a:pt x="2753" y="11795"/>
                    </a:lnTo>
                    <a:lnTo>
                      <a:pt x="2753" y="10466"/>
                    </a:lnTo>
                    <a:lnTo>
                      <a:pt x="2768" y="10446"/>
                    </a:lnTo>
                    <a:lnTo>
                      <a:pt x="2782" y="10424"/>
                    </a:lnTo>
                    <a:lnTo>
                      <a:pt x="2797" y="10403"/>
                    </a:lnTo>
                    <a:lnTo>
                      <a:pt x="2811" y="10381"/>
                    </a:lnTo>
                    <a:lnTo>
                      <a:pt x="2839" y="10337"/>
                    </a:lnTo>
                    <a:lnTo>
                      <a:pt x="2864" y="10292"/>
                    </a:lnTo>
                    <a:lnTo>
                      <a:pt x="2875" y="10269"/>
                    </a:lnTo>
                    <a:lnTo>
                      <a:pt x="2888" y="10246"/>
                    </a:lnTo>
                    <a:lnTo>
                      <a:pt x="2899" y="10222"/>
                    </a:lnTo>
                    <a:lnTo>
                      <a:pt x="2909" y="10199"/>
                    </a:lnTo>
                    <a:lnTo>
                      <a:pt x="2919" y="10175"/>
                    </a:lnTo>
                    <a:lnTo>
                      <a:pt x="2930" y="10150"/>
                    </a:lnTo>
                    <a:lnTo>
                      <a:pt x="2939" y="10126"/>
                    </a:lnTo>
                    <a:lnTo>
                      <a:pt x="2947" y="10101"/>
                    </a:lnTo>
                    <a:lnTo>
                      <a:pt x="2955" y="10077"/>
                    </a:lnTo>
                    <a:lnTo>
                      <a:pt x="2963" y="10051"/>
                    </a:lnTo>
                    <a:lnTo>
                      <a:pt x="2971" y="10025"/>
                    </a:lnTo>
                    <a:lnTo>
                      <a:pt x="2978" y="10000"/>
                    </a:lnTo>
                    <a:lnTo>
                      <a:pt x="2984" y="9974"/>
                    </a:lnTo>
                    <a:lnTo>
                      <a:pt x="2989" y="9949"/>
                    </a:lnTo>
                    <a:lnTo>
                      <a:pt x="2995" y="9922"/>
                    </a:lnTo>
                    <a:lnTo>
                      <a:pt x="2999" y="9896"/>
                    </a:lnTo>
                    <a:lnTo>
                      <a:pt x="3003" y="9870"/>
                    </a:lnTo>
                    <a:lnTo>
                      <a:pt x="3007" y="9843"/>
                    </a:lnTo>
                    <a:lnTo>
                      <a:pt x="3011" y="9817"/>
                    </a:lnTo>
                    <a:lnTo>
                      <a:pt x="3013" y="9789"/>
                    </a:lnTo>
                    <a:lnTo>
                      <a:pt x="3015" y="9762"/>
                    </a:lnTo>
                    <a:lnTo>
                      <a:pt x="3017" y="9735"/>
                    </a:lnTo>
                    <a:lnTo>
                      <a:pt x="3018" y="9707"/>
                    </a:lnTo>
                    <a:lnTo>
                      <a:pt x="3018" y="9679"/>
                    </a:lnTo>
                    <a:lnTo>
                      <a:pt x="3018" y="3934"/>
                    </a:lnTo>
                    <a:lnTo>
                      <a:pt x="6497" y="3934"/>
                    </a:lnTo>
                    <a:lnTo>
                      <a:pt x="6497" y="3771"/>
                    </a:lnTo>
                    <a:lnTo>
                      <a:pt x="6497" y="3771"/>
                    </a:lnTo>
                    <a:lnTo>
                      <a:pt x="6497" y="1977"/>
                    </a:lnTo>
                    <a:lnTo>
                      <a:pt x="6497" y="1746"/>
                    </a:lnTo>
                    <a:lnTo>
                      <a:pt x="6497" y="1691"/>
                    </a:lnTo>
                    <a:lnTo>
                      <a:pt x="2862" y="1691"/>
                    </a:lnTo>
                    <a:lnTo>
                      <a:pt x="2842" y="1655"/>
                    </a:lnTo>
                    <a:lnTo>
                      <a:pt x="2819" y="1618"/>
                    </a:lnTo>
                    <a:lnTo>
                      <a:pt x="2796" y="1582"/>
                    </a:lnTo>
                    <a:lnTo>
                      <a:pt x="2771" y="1547"/>
                    </a:lnTo>
                    <a:lnTo>
                      <a:pt x="2745" y="1512"/>
                    </a:lnTo>
                    <a:lnTo>
                      <a:pt x="2719" y="1479"/>
                    </a:lnTo>
                    <a:lnTo>
                      <a:pt x="2691" y="1447"/>
                    </a:lnTo>
                    <a:lnTo>
                      <a:pt x="2662" y="1416"/>
                    </a:lnTo>
                    <a:lnTo>
                      <a:pt x="2633" y="1385"/>
                    </a:lnTo>
                    <a:lnTo>
                      <a:pt x="2602" y="1355"/>
                    </a:lnTo>
                    <a:lnTo>
                      <a:pt x="2570" y="1327"/>
                    </a:lnTo>
                    <a:lnTo>
                      <a:pt x="2538" y="1299"/>
                    </a:lnTo>
                    <a:lnTo>
                      <a:pt x="2505" y="1273"/>
                    </a:lnTo>
                    <a:lnTo>
                      <a:pt x="2470" y="1248"/>
                    </a:lnTo>
                    <a:lnTo>
                      <a:pt x="2435" y="1223"/>
                    </a:lnTo>
                    <a:lnTo>
                      <a:pt x="2399" y="1201"/>
                    </a:lnTo>
                    <a:lnTo>
                      <a:pt x="2363" y="1179"/>
                    </a:lnTo>
                    <a:lnTo>
                      <a:pt x="2325" y="1159"/>
                    </a:lnTo>
                    <a:lnTo>
                      <a:pt x="2287" y="1139"/>
                    </a:lnTo>
                    <a:lnTo>
                      <a:pt x="2248" y="1121"/>
                    </a:lnTo>
                    <a:lnTo>
                      <a:pt x="2208" y="1104"/>
                    </a:lnTo>
                    <a:lnTo>
                      <a:pt x="2168" y="1089"/>
                    </a:lnTo>
                    <a:lnTo>
                      <a:pt x="2127" y="1075"/>
                    </a:lnTo>
                    <a:lnTo>
                      <a:pt x="2085" y="1061"/>
                    </a:lnTo>
                    <a:lnTo>
                      <a:pt x="2043" y="1050"/>
                    </a:lnTo>
                    <a:lnTo>
                      <a:pt x="2000" y="1041"/>
                    </a:lnTo>
                    <a:lnTo>
                      <a:pt x="1957" y="1032"/>
                    </a:lnTo>
                    <a:lnTo>
                      <a:pt x="1914" y="1025"/>
                    </a:lnTo>
                    <a:lnTo>
                      <a:pt x="1870" y="1019"/>
                    </a:lnTo>
                    <a:lnTo>
                      <a:pt x="1825" y="1015"/>
                    </a:lnTo>
                    <a:lnTo>
                      <a:pt x="1780" y="1013"/>
                    </a:lnTo>
                    <a:lnTo>
                      <a:pt x="1735" y="1012"/>
                    </a:lnTo>
                    <a:lnTo>
                      <a:pt x="0" y="1012"/>
                    </a:lnTo>
                    <a:lnTo>
                      <a:pt x="0" y="471"/>
                    </a:lnTo>
                    <a:lnTo>
                      <a:pt x="1" y="448"/>
                    </a:lnTo>
                    <a:lnTo>
                      <a:pt x="3" y="423"/>
                    </a:lnTo>
                    <a:lnTo>
                      <a:pt x="6" y="400"/>
                    </a:lnTo>
                    <a:lnTo>
                      <a:pt x="10" y="377"/>
                    </a:lnTo>
                    <a:lnTo>
                      <a:pt x="15" y="354"/>
                    </a:lnTo>
                    <a:lnTo>
                      <a:pt x="21" y="332"/>
                    </a:lnTo>
                    <a:lnTo>
                      <a:pt x="28" y="310"/>
                    </a:lnTo>
                    <a:lnTo>
                      <a:pt x="38" y="289"/>
                    </a:lnTo>
                    <a:lnTo>
                      <a:pt x="47" y="267"/>
                    </a:lnTo>
                    <a:lnTo>
                      <a:pt x="57" y="247"/>
                    </a:lnTo>
                    <a:lnTo>
                      <a:pt x="68" y="227"/>
                    </a:lnTo>
                    <a:lnTo>
                      <a:pt x="81" y="208"/>
                    </a:lnTo>
                    <a:lnTo>
                      <a:pt x="94" y="190"/>
                    </a:lnTo>
                    <a:lnTo>
                      <a:pt x="108" y="172"/>
                    </a:lnTo>
                    <a:lnTo>
                      <a:pt x="123" y="155"/>
                    </a:lnTo>
                    <a:lnTo>
                      <a:pt x="139" y="138"/>
                    </a:lnTo>
                    <a:lnTo>
                      <a:pt x="155" y="123"/>
                    </a:lnTo>
                    <a:lnTo>
                      <a:pt x="172" y="109"/>
                    </a:lnTo>
                    <a:lnTo>
                      <a:pt x="190" y="94"/>
                    </a:lnTo>
                    <a:lnTo>
                      <a:pt x="209" y="81"/>
                    </a:lnTo>
                    <a:lnTo>
                      <a:pt x="227" y="69"/>
                    </a:lnTo>
                    <a:lnTo>
                      <a:pt x="247" y="57"/>
                    </a:lnTo>
                    <a:lnTo>
                      <a:pt x="268" y="47"/>
                    </a:lnTo>
                    <a:lnTo>
                      <a:pt x="288" y="37"/>
                    </a:lnTo>
                    <a:lnTo>
                      <a:pt x="310" y="29"/>
                    </a:lnTo>
                    <a:lnTo>
                      <a:pt x="331" y="22"/>
                    </a:lnTo>
                    <a:lnTo>
                      <a:pt x="354" y="15"/>
                    </a:lnTo>
                    <a:lnTo>
                      <a:pt x="376" y="9"/>
                    </a:lnTo>
                    <a:lnTo>
                      <a:pt x="400" y="5"/>
                    </a:lnTo>
                    <a:lnTo>
                      <a:pt x="424" y="2"/>
                    </a:lnTo>
                    <a:lnTo>
                      <a:pt x="447" y="1"/>
                    </a:lnTo>
                    <a:lnTo>
                      <a:pt x="472" y="0"/>
                    </a:lnTo>
                    <a:close/>
                    <a:moveTo>
                      <a:pt x="5798" y="5011"/>
                    </a:moveTo>
                    <a:lnTo>
                      <a:pt x="5822" y="5012"/>
                    </a:lnTo>
                    <a:lnTo>
                      <a:pt x="5844" y="5014"/>
                    </a:lnTo>
                    <a:lnTo>
                      <a:pt x="5867" y="5017"/>
                    </a:lnTo>
                    <a:lnTo>
                      <a:pt x="5889" y="5021"/>
                    </a:lnTo>
                    <a:lnTo>
                      <a:pt x="5912" y="5026"/>
                    </a:lnTo>
                    <a:lnTo>
                      <a:pt x="5933" y="5032"/>
                    </a:lnTo>
                    <a:lnTo>
                      <a:pt x="5954" y="5039"/>
                    </a:lnTo>
                    <a:lnTo>
                      <a:pt x="5974" y="5047"/>
                    </a:lnTo>
                    <a:lnTo>
                      <a:pt x="5995" y="5056"/>
                    </a:lnTo>
                    <a:lnTo>
                      <a:pt x="6014" y="5066"/>
                    </a:lnTo>
                    <a:lnTo>
                      <a:pt x="6034" y="5077"/>
                    </a:lnTo>
                    <a:lnTo>
                      <a:pt x="6052" y="5090"/>
                    </a:lnTo>
                    <a:lnTo>
                      <a:pt x="6070" y="5102"/>
                    </a:lnTo>
                    <a:lnTo>
                      <a:pt x="6087" y="5115"/>
                    </a:lnTo>
                    <a:lnTo>
                      <a:pt x="6103" y="5130"/>
                    </a:lnTo>
                    <a:lnTo>
                      <a:pt x="6119" y="5145"/>
                    </a:lnTo>
                    <a:lnTo>
                      <a:pt x="6134" y="5160"/>
                    </a:lnTo>
                    <a:lnTo>
                      <a:pt x="6148" y="5177"/>
                    </a:lnTo>
                    <a:lnTo>
                      <a:pt x="6162" y="5194"/>
                    </a:lnTo>
                    <a:lnTo>
                      <a:pt x="6175" y="5211"/>
                    </a:lnTo>
                    <a:lnTo>
                      <a:pt x="6186" y="5231"/>
                    </a:lnTo>
                    <a:lnTo>
                      <a:pt x="6197" y="5249"/>
                    </a:lnTo>
                    <a:lnTo>
                      <a:pt x="6208" y="5269"/>
                    </a:lnTo>
                    <a:lnTo>
                      <a:pt x="6217" y="5289"/>
                    </a:lnTo>
                    <a:lnTo>
                      <a:pt x="6225" y="5310"/>
                    </a:lnTo>
                    <a:lnTo>
                      <a:pt x="6232" y="5331"/>
                    </a:lnTo>
                    <a:lnTo>
                      <a:pt x="6238" y="5353"/>
                    </a:lnTo>
                    <a:lnTo>
                      <a:pt x="6244" y="5374"/>
                    </a:lnTo>
                    <a:lnTo>
                      <a:pt x="6247" y="5397"/>
                    </a:lnTo>
                    <a:lnTo>
                      <a:pt x="6250" y="5419"/>
                    </a:lnTo>
                    <a:lnTo>
                      <a:pt x="6252" y="5443"/>
                    </a:lnTo>
                    <a:lnTo>
                      <a:pt x="6253" y="5466"/>
                    </a:lnTo>
                    <a:lnTo>
                      <a:pt x="6252" y="5489"/>
                    </a:lnTo>
                    <a:lnTo>
                      <a:pt x="6250" y="5513"/>
                    </a:lnTo>
                    <a:lnTo>
                      <a:pt x="6247" y="5535"/>
                    </a:lnTo>
                    <a:lnTo>
                      <a:pt x="6244" y="5557"/>
                    </a:lnTo>
                    <a:lnTo>
                      <a:pt x="6238" y="5579"/>
                    </a:lnTo>
                    <a:lnTo>
                      <a:pt x="6232" y="5601"/>
                    </a:lnTo>
                    <a:lnTo>
                      <a:pt x="6225" y="5622"/>
                    </a:lnTo>
                    <a:lnTo>
                      <a:pt x="6217" y="5643"/>
                    </a:lnTo>
                    <a:lnTo>
                      <a:pt x="6208" y="5662"/>
                    </a:lnTo>
                    <a:lnTo>
                      <a:pt x="6197" y="5682"/>
                    </a:lnTo>
                    <a:lnTo>
                      <a:pt x="6186" y="5701"/>
                    </a:lnTo>
                    <a:lnTo>
                      <a:pt x="6175" y="5720"/>
                    </a:lnTo>
                    <a:lnTo>
                      <a:pt x="6162" y="5738"/>
                    </a:lnTo>
                    <a:lnTo>
                      <a:pt x="6148" y="5754"/>
                    </a:lnTo>
                    <a:lnTo>
                      <a:pt x="6134" y="5771"/>
                    </a:lnTo>
                    <a:lnTo>
                      <a:pt x="6119" y="5787"/>
                    </a:lnTo>
                    <a:lnTo>
                      <a:pt x="6103" y="5803"/>
                    </a:lnTo>
                    <a:lnTo>
                      <a:pt x="6087" y="5817"/>
                    </a:lnTo>
                    <a:lnTo>
                      <a:pt x="6070" y="5830"/>
                    </a:lnTo>
                    <a:lnTo>
                      <a:pt x="6052" y="5843"/>
                    </a:lnTo>
                    <a:lnTo>
                      <a:pt x="6034" y="5855"/>
                    </a:lnTo>
                    <a:lnTo>
                      <a:pt x="6014" y="5865"/>
                    </a:lnTo>
                    <a:lnTo>
                      <a:pt x="5995" y="5875"/>
                    </a:lnTo>
                    <a:lnTo>
                      <a:pt x="5974" y="5885"/>
                    </a:lnTo>
                    <a:lnTo>
                      <a:pt x="5954" y="5893"/>
                    </a:lnTo>
                    <a:lnTo>
                      <a:pt x="5933" y="5900"/>
                    </a:lnTo>
                    <a:lnTo>
                      <a:pt x="5912" y="5906"/>
                    </a:lnTo>
                    <a:lnTo>
                      <a:pt x="5889" y="5911"/>
                    </a:lnTo>
                    <a:lnTo>
                      <a:pt x="5867" y="5915"/>
                    </a:lnTo>
                    <a:lnTo>
                      <a:pt x="5844" y="5918"/>
                    </a:lnTo>
                    <a:lnTo>
                      <a:pt x="5822" y="5919"/>
                    </a:lnTo>
                    <a:lnTo>
                      <a:pt x="5798" y="5920"/>
                    </a:lnTo>
                    <a:lnTo>
                      <a:pt x="5775" y="5919"/>
                    </a:lnTo>
                    <a:lnTo>
                      <a:pt x="5752" y="5918"/>
                    </a:lnTo>
                    <a:lnTo>
                      <a:pt x="5729" y="5915"/>
                    </a:lnTo>
                    <a:lnTo>
                      <a:pt x="5707" y="5911"/>
                    </a:lnTo>
                    <a:lnTo>
                      <a:pt x="5685" y="5906"/>
                    </a:lnTo>
                    <a:lnTo>
                      <a:pt x="5663" y="5900"/>
                    </a:lnTo>
                    <a:lnTo>
                      <a:pt x="5643" y="5893"/>
                    </a:lnTo>
                    <a:lnTo>
                      <a:pt x="5621" y="5885"/>
                    </a:lnTo>
                    <a:lnTo>
                      <a:pt x="5602" y="5875"/>
                    </a:lnTo>
                    <a:lnTo>
                      <a:pt x="5582" y="5865"/>
                    </a:lnTo>
                    <a:lnTo>
                      <a:pt x="5563" y="5855"/>
                    </a:lnTo>
                    <a:lnTo>
                      <a:pt x="5544" y="5843"/>
                    </a:lnTo>
                    <a:lnTo>
                      <a:pt x="5527" y="5830"/>
                    </a:lnTo>
                    <a:lnTo>
                      <a:pt x="5510" y="5817"/>
                    </a:lnTo>
                    <a:lnTo>
                      <a:pt x="5493" y="5803"/>
                    </a:lnTo>
                    <a:lnTo>
                      <a:pt x="5477" y="5787"/>
                    </a:lnTo>
                    <a:lnTo>
                      <a:pt x="5462" y="5771"/>
                    </a:lnTo>
                    <a:lnTo>
                      <a:pt x="5448" y="5754"/>
                    </a:lnTo>
                    <a:lnTo>
                      <a:pt x="5434" y="5738"/>
                    </a:lnTo>
                    <a:lnTo>
                      <a:pt x="5421" y="5720"/>
                    </a:lnTo>
                    <a:lnTo>
                      <a:pt x="5409" y="5701"/>
                    </a:lnTo>
                    <a:lnTo>
                      <a:pt x="5399" y="5682"/>
                    </a:lnTo>
                    <a:lnTo>
                      <a:pt x="5389" y="5662"/>
                    </a:lnTo>
                    <a:lnTo>
                      <a:pt x="5380" y="5643"/>
                    </a:lnTo>
                    <a:lnTo>
                      <a:pt x="5371" y="5622"/>
                    </a:lnTo>
                    <a:lnTo>
                      <a:pt x="5364" y="5601"/>
                    </a:lnTo>
                    <a:lnTo>
                      <a:pt x="5358" y="5579"/>
                    </a:lnTo>
                    <a:lnTo>
                      <a:pt x="5353" y="5557"/>
                    </a:lnTo>
                    <a:lnTo>
                      <a:pt x="5349" y="5535"/>
                    </a:lnTo>
                    <a:lnTo>
                      <a:pt x="5346" y="5513"/>
                    </a:lnTo>
                    <a:lnTo>
                      <a:pt x="5345" y="5489"/>
                    </a:lnTo>
                    <a:lnTo>
                      <a:pt x="5344" y="5466"/>
                    </a:lnTo>
                    <a:lnTo>
                      <a:pt x="5345" y="5443"/>
                    </a:lnTo>
                    <a:lnTo>
                      <a:pt x="5346" y="5419"/>
                    </a:lnTo>
                    <a:lnTo>
                      <a:pt x="5349" y="5397"/>
                    </a:lnTo>
                    <a:lnTo>
                      <a:pt x="5353" y="5374"/>
                    </a:lnTo>
                    <a:lnTo>
                      <a:pt x="5358" y="5353"/>
                    </a:lnTo>
                    <a:lnTo>
                      <a:pt x="5364" y="5331"/>
                    </a:lnTo>
                    <a:lnTo>
                      <a:pt x="5371" y="5310"/>
                    </a:lnTo>
                    <a:lnTo>
                      <a:pt x="5380" y="5289"/>
                    </a:lnTo>
                    <a:lnTo>
                      <a:pt x="5389" y="5269"/>
                    </a:lnTo>
                    <a:lnTo>
                      <a:pt x="5399" y="5249"/>
                    </a:lnTo>
                    <a:lnTo>
                      <a:pt x="5409" y="5231"/>
                    </a:lnTo>
                    <a:lnTo>
                      <a:pt x="5421" y="5211"/>
                    </a:lnTo>
                    <a:lnTo>
                      <a:pt x="5434" y="5194"/>
                    </a:lnTo>
                    <a:lnTo>
                      <a:pt x="5448" y="5177"/>
                    </a:lnTo>
                    <a:lnTo>
                      <a:pt x="5462" y="5160"/>
                    </a:lnTo>
                    <a:lnTo>
                      <a:pt x="5477" y="5145"/>
                    </a:lnTo>
                    <a:lnTo>
                      <a:pt x="5493" y="5130"/>
                    </a:lnTo>
                    <a:lnTo>
                      <a:pt x="5510" y="5115"/>
                    </a:lnTo>
                    <a:lnTo>
                      <a:pt x="5527" y="5102"/>
                    </a:lnTo>
                    <a:lnTo>
                      <a:pt x="5544" y="5090"/>
                    </a:lnTo>
                    <a:lnTo>
                      <a:pt x="5563" y="5077"/>
                    </a:lnTo>
                    <a:lnTo>
                      <a:pt x="5582" y="5066"/>
                    </a:lnTo>
                    <a:lnTo>
                      <a:pt x="5602" y="5056"/>
                    </a:lnTo>
                    <a:lnTo>
                      <a:pt x="5621" y="5047"/>
                    </a:lnTo>
                    <a:lnTo>
                      <a:pt x="5643" y="5039"/>
                    </a:lnTo>
                    <a:lnTo>
                      <a:pt x="5663" y="5032"/>
                    </a:lnTo>
                    <a:lnTo>
                      <a:pt x="5685" y="5026"/>
                    </a:lnTo>
                    <a:lnTo>
                      <a:pt x="5707" y="5021"/>
                    </a:lnTo>
                    <a:lnTo>
                      <a:pt x="5729" y="5017"/>
                    </a:lnTo>
                    <a:lnTo>
                      <a:pt x="5752" y="5014"/>
                    </a:lnTo>
                    <a:lnTo>
                      <a:pt x="5775" y="5012"/>
                    </a:lnTo>
                    <a:lnTo>
                      <a:pt x="5798" y="5011"/>
                    </a:lnTo>
                    <a:close/>
                    <a:moveTo>
                      <a:pt x="4808" y="11795"/>
                    </a:moveTo>
                    <a:lnTo>
                      <a:pt x="4808" y="9504"/>
                    </a:lnTo>
                    <a:lnTo>
                      <a:pt x="5094" y="9504"/>
                    </a:lnTo>
                    <a:lnTo>
                      <a:pt x="5094" y="11795"/>
                    </a:lnTo>
                    <a:lnTo>
                      <a:pt x="4808" y="11795"/>
                    </a:lnTo>
                    <a:close/>
                    <a:moveTo>
                      <a:pt x="4028" y="11795"/>
                    </a:moveTo>
                    <a:lnTo>
                      <a:pt x="4028" y="9504"/>
                    </a:lnTo>
                    <a:lnTo>
                      <a:pt x="4313" y="9504"/>
                    </a:lnTo>
                    <a:lnTo>
                      <a:pt x="4313" y="11795"/>
                    </a:lnTo>
                    <a:lnTo>
                      <a:pt x="4028" y="11795"/>
                    </a:lnTo>
                    <a:close/>
                    <a:moveTo>
                      <a:pt x="3247" y="11795"/>
                    </a:moveTo>
                    <a:lnTo>
                      <a:pt x="3247" y="9504"/>
                    </a:lnTo>
                    <a:lnTo>
                      <a:pt x="3533" y="9504"/>
                    </a:lnTo>
                    <a:lnTo>
                      <a:pt x="3533" y="11795"/>
                    </a:lnTo>
                    <a:lnTo>
                      <a:pt x="3247" y="11795"/>
                    </a:lnTo>
                    <a:close/>
                    <a:moveTo>
                      <a:pt x="3018" y="3648"/>
                    </a:moveTo>
                    <a:lnTo>
                      <a:pt x="3018" y="2307"/>
                    </a:lnTo>
                    <a:lnTo>
                      <a:pt x="3017" y="2265"/>
                    </a:lnTo>
                    <a:lnTo>
                      <a:pt x="3015" y="2222"/>
                    </a:lnTo>
                    <a:lnTo>
                      <a:pt x="3012" y="2181"/>
                    </a:lnTo>
                    <a:lnTo>
                      <a:pt x="3006" y="2139"/>
                    </a:lnTo>
                    <a:lnTo>
                      <a:pt x="3000" y="2098"/>
                    </a:lnTo>
                    <a:lnTo>
                      <a:pt x="2993" y="2057"/>
                    </a:lnTo>
                    <a:lnTo>
                      <a:pt x="2985" y="2017"/>
                    </a:lnTo>
                    <a:lnTo>
                      <a:pt x="2975" y="1977"/>
                    </a:lnTo>
                    <a:lnTo>
                      <a:pt x="6212" y="1977"/>
                    </a:lnTo>
                    <a:lnTo>
                      <a:pt x="6212" y="3648"/>
                    </a:lnTo>
                    <a:lnTo>
                      <a:pt x="3018" y="3648"/>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u="sng">
                  <a:latin typeface="FrutigerNext LT Medium" pitchFamily="34" charset="0"/>
                  <a:cs typeface="Arial" pitchFamily="34" charset="0"/>
                </a:endParaRPr>
              </a:p>
            </p:txBody>
          </p:sp>
        </p:grpSp>
      </p:grpSp>
      <p:sp>
        <p:nvSpPr>
          <p:cNvPr id="154" name="Text Box 195"/>
          <p:cNvSpPr txBox="1">
            <a:spLocks noChangeArrowheads="1"/>
          </p:cNvSpPr>
          <p:nvPr/>
        </p:nvSpPr>
        <p:spPr bwMode="auto">
          <a:xfrm>
            <a:off x="8247938" y="2689504"/>
            <a:ext cx="673004" cy="193859"/>
          </a:xfrm>
          <a:prstGeom prst="rect">
            <a:avLst/>
          </a:prstGeom>
          <a:noFill/>
          <a:ln w="3175">
            <a:noFill/>
            <a:prstDash val="dash"/>
            <a:miter lim="800000"/>
            <a:headEnd/>
            <a:tailEnd/>
          </a:ln>
          <a:effectLst/>
        </p:spPr>
        <p:txBody>
          <a:bodyPr wrap="square" lIns="68537" tIns="34270" rIns="68537" bIns="34270">
            <a:spAutoFit/>
          </a:bodyPr>
          <a:lstStyle/>
          <a:p>
            <a:pPr eaLnBrk="0" fontAlgn="base" hangingPunct="0">
              <a:lnSpc>
                <a:spcPct val="90000"/>
              </a:lnSpc>
              <a:spcBef>
                <a:spcPct val="0"/>
              </a:spcBef>
              <a:spcAft>
                <a:spcPct val="0"/>
              </a:spcAft>
              <a:buClr>
                <a:srgbClr val="777777"/>
              </a:buClr>
              <a:buSzPct val="60000"/>
              <a:buFont typeface="Wingdings" pitchFamily="2" charset="2"/>
              <a:buNone/>
            </a:pPr>
            <a:r>
              <a:rPr lang="en-US" altLang="zh-CN" sz="900" dirty="0">
                <a:solidFill>
                  <a:schemeClr val="bg1"/>
                </a:solidFill>
                <a:latin typeface="FrutigerNext LT Medium" pitchFamily="34" charset="0"/>
                <a:ea typeface="黑体" pitchFamily="2" charset="-122"/>
                <a:cs typeface="Arial" charset="0"/>
              </a:rPr>
              <a:t>Chip</a:t>
            </a:r>
            <a:endParaRPr lang="en-US" altLang="zh-CN" sz="900" dirty="0">
              <a:solidFill>
                <a:schemeClr val="bg1"/>
              </a:solidFill>
              <a:latin typeface="FrutigerNext LT Medium" pitchFamily="34" charset="0"/>
              <a:ea typeface="黑体" pitchFamily="2" charset="-122"/>
              <a:cs typeface="Arial" charset="0"/>
            </a:endParaRPr>
          </a:p>
        </p:txBody>
      </p:sp>
      <p:pic>
        <p:nvPicPr>
          <p:cNvPr id="205" name="Picture 5"/>
          <p:cNvPicPr>
            <a:picLocks noChangeAspect="1" noChangeArrowheads="1"/>
          </p:cNvPicPr>
          <p:nvPr/>
        </p:nvPicPr>
        <p:blipFill>
          <a:blip r:embed="rId9" cstate="print">
            <a:clrChange>
              <a:clrFrom>
                <a:srgbClr val="FFCC99"/>
              </a:clrFrom>
              <a:clrTo>
                <a:srgbClr val="FFCC99">
                  <a:alpha val="0"/>
                </a:srgbClr>
              </a:clrTo>
            </a:clrChange>
          </a:blip>
          <a:srcRect/>
          <a:stretch>
            <a:fillRect/>
          </a:stretch>
        </p:blipFill>
        <p:spPr bwMode="auto">
          <a:xfrm>
            <a:off x="8036159" y="2310213"/>
            <a:ext cx="551639" cy="441311"/>
          </a:xfrm>
          <a:prstGeom prst="rect">
            <a:avLst/>
          </a:prstGeom>
          <a:noFill/>
          <a:ln w="9525">
            <a:noFill/>
            <a:miter lim="800000"/>
            <a:headEnd/>
            <a:tailEnd/>
          </a:ln>
        </p:spPr>
      </p:pic>
      <p:grpSp>
        <p:nvGrpSpPr>
          <p:cNvPr id="12" name="组合 521"/>
          <p:cNvGrpSpPr/>
          <p:nvPr/>
        </p:nvGrpSpPr>
        <p:grpSpPr>
          <a:xfrm>
            <a:off x="7479619" y="2359810"/>
            <a:ext cx="273692" cy="449955"/>
            <a:chOff x="-909638" y="971550"/>
            <a:chExt cx="909638" cy="2039938"/>
          </a:xfrm>
          <a:solidFill>
            <a:schemeClr val="bg1"/>
          </a:solidFill>
        </p:grpSpPr>
        <p:sp>
          <p:nvSpPr>
            <p:cNvPr id="211"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212"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213"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214"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215"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grpSp>
      <p:sp>
        <p:nvSpPr>
          <p:cNvPr id="216" name="Text Box 195"/>
          <p:cNvSpPr txBox="1">
            <a:spLocks noChangeArrowheads="1"/>
          </p:cNvSpPr>
          <p:nvPr/>
        </p:nvSpPr>
        <p:spPr bwMode="auto">
          <a:xfrm>
            <a:off x="7330797" y="2803792"/>
            <a:ext cx="921631" cy="193859"/>
          </a:xfrm>
          <a:prstGeom prst="rect">
            <a:avLst/>
          </a:prstGeom>
          <a:noFill/>
          <a:ln w="3175">
            <a:noFill/>
            <a:prstDash val="dash"/>
            <a:miter lim="800000"/>
            <a:headEnd/>
            <a:tailEnd/>
          </a:ln>
          <a:effectLst/>
        </p:spPr>
        <p:txBody>
          <a:bodyPr wrap="square" lIns="68537" tIns="34270" rIns="68537" bIns="34270">
            <a:spAutoFit/>
          </a:bodyPr>
          <a:lstStyle/>
          <a:p>
            <a:pPr eaLnBrk="0" fontAlgn="base" hangingPunct="0">
              <a:lnSpc>
                <a:spcPct val="90000"/>
              </a:lnSpc>
              <a:spcBef>
                <a:spcPct val="0"/>
              </a:spcBef>
              <a:spcAft>
                <a:spcPct val="0"/>
              </a:spcAft>
              <a:buClr>
                <a:srgbClr val="777777"/>
              </a:buClr>
              <a:buSzPct val="60000"/>
              <a:buFont typeface="Wingdings" pitchFamily="2" charset="2"/>
              <a:buNone/>
            </a:pPr>
            <a:r>
              <a:rPr lang="en-US" altLang="zh-CN" sz="900" dirty="0">
                <a:solidFill>
                  <a:schemeClr val="bg1"/>
                </a:solidFill>
                <a:latin typeface="FrutigerNext LT Medium" pitchFamily="34" charset="0"/>
                <a:ea typeface="黑体" pitchFamily="2" charset="-122"/>
                <a:cs typeface="Arial" charset="0"/>
              </a:rPr>
              <a:t>Equipment</a:t>
            </a:r>
            <a:endParaRPr lang="en-US" altLang="zh-CN" sz="900" dirty="0">
              <a:solidFill>
                <a:schemeClr val="bg1"/>
              </a:solidFill>
              <a:latin typeface="FrutigerNext LT Medium" pitchFamily="34" charset="0"/>
              <a:ea typeface="黑体" pitchFamily="2" charset="-122"/>
              <a:cs typeface="Arial" charset="0"/>
            </a:endParaRPr>
          </a:p>
        </p:txBody>
      </p:sp>
      <p:grpSp>
        <p:nvGrpSpPr>
          <p:cNvPr id="13" name="组合 739"/>
          <p:cNvGrpSpPr/>
          <p:nvPr/>
        </p:nvGrpSpPr>
        <p:grpSpPr>
          <a:xfrm>
            <a:off x="8189937" y="3143162"/>
            <a:ext cx="313995" cy="271622"/>
            <a:chOff x="5862637" y="5370120"/>
            <a:chExt cx="733426" cy="621105"/>
          </a:xfrm>
          <a:solidFill>
            <a:schemeClr val="bg1"/>
          </a:solidFill>
        </p:grpSpPr>
        <p:grpSp>
          <p:nvGrpSpPr>
            <p:cNvPr id="14" name="组合 306"/>
            <p:cNvGrpSpPr/>
            <p:nvPr/>
          </p:nvGrpSpPr>
          <p:grpSpPr>
            <a:xfrm>
              <a:off x="5886224" y="5370120"/>
              <a:ext cx="673100" cy="401350"/>
              <a:chOff x="16670338" y="4092863"/>
              <a:chExt cx="673100" cy="401350"/>
            </a:xfrm>
            <a:grpFill/>
          </p:grpSpPr>
          <p:sp>
            <p:nvSpPr>
              <p:cNvPr id="259" name="Freeform 124"/>
              <p:cNvSpPr>
                <a:spLocks noEditPoints="1"/>
              </p:cNvSpPr>
              <p:nvPr/>
            </p:nvSpPr>
            <p:spPr bwMode="auto">
              <a:xfrm>
                <a:off x="16670338" y="4254500"/>
                <a:ext cx="673100" cy="239713"/>
              </a:xfrm>
              <a:custGeom>
                <a:avLst/>
                <a:gdLst/>
                <a:ahLst/>
                <a:cxnLst>
                  <a:cxn ang="0">
                    <a:pos x="415" y="0"/>
                  </a:cxn>
                  <a:cxn ang="0">
                    <a:pos x="9" y="0"/>
                  </a:cxn>
                  <a:cxn ang="0">
                    <a:pos x="9" y="0"/>
                  </a:cxn>
                  <a:cxn ang="0">
                    <a:pos x="4" y="4"/>
                  </a:cxn>
                  <a:cxn ang="0">
                    <a:pos x="0" y="8"/>
                  </a:cxn>
                  <a:cxn ang="0">
                    <a:pos x="0" y="142"/>
                  </a:cxn>
                  <a:cxn ang="0">
                    <a:pos x="0" y="142"/>
                  </a:cxn>
                  <a:cxn ang="0">
                    <a:pos x="4" y="147"/>
                  </a:cxn>
                  <a:cxn ang="0">
                    <a:pos x="9" y="151"/>
                  </a:cxn>
                  <a:cxn ang="0">
                    <a:pos x="415" y="151"/>
                  </a:cxn>
                  <a:cxn ang="0">
                    <a:pos x="415" y="151"/>
                  </a:cxn>
                  <a:cxn ang="0">
                    <a:pos x="420" y="147"/>
                  </a:cxn>
                  <a:cxn ang="0">
                    <a:pos x="424" y="142"/>
                  </a:cxn>
                  <a:cxn ang="0">
                    <a:pos x="424" y="8"/>
                  </a:cxn>
                  <a:cxn ang="0">
                    <a:pos x="424" y="8"/>
                  </a:cxn>
                  <a:cxn ang="0">
                    <a:pos x="420" y="4"/>
                  </a:cxn>
                  <a:cxn ang="0">
                    <a:pos x="415" y="0"/>
                  </a:cxn>
                  <a:cxn ang="0">
                    <a:pos x="415" y="0"/>
                  </a:cxn>
                  <a:cxn ang="0">
                    <a:pos x="78" y="103"/>
                  </a:cxn>
                  <a:cxn ang="0">
                    <a:pos x="78" y="103"/>
                  </a:cxn>
                  <a:cxn ang="0">
                    <a:pos x="61" y="103"/>
                  </a:cxn>
                  <a:cxn ang="0">
                    <a:pos x="48" y="95"/>
                  </a:cxn>
                  <a:cxn ang="0">
                    <a:pos x="39" y="86"/>
                  </a:cxn>
                  <a:cxn ang="0">
                    <a:pos x="35" y="73"/>
                  </a:cxn>
                  <a:cxn ang="0">
                    <a:pos x="35" y="73"/>
                  </a:cxn>
                  <a:cxn ang="0">
                    <a:pos x="39" y="64"/>
                  </a:cxn>
                  <a:cxn ang="0">
                    <a:pos x="48" y="56"/>
                  </a:cxn>
                  <a:cxn ang="0">
                    <a:pos x="61" y="47"/>
                  </a:cxn>
                  <a:cxn ang="0">
                    <a:pos x="78" y="47"/>
                  </a:cxn>
                  <a:cxn ang="0">
                    <a:pos x="78" y="47"/>
                  </a:cxn>
                  <a:cxn ang="0">
                    <a:pos x="95" y="47"/>
                  </a:cxn>
                  <a:cxn ang="0">
                    <a:pos x="108" y="56"/>
                  </a:cxn>
                  <a:cxn ang="0">
                    <a:pos x="117" y="64"/>
                  </a:cxn>
                  <a:cxn ang="0">
                    <a:pos x="121" y="73"/>
                  </a:cxn>
                  <a:cxn ang="0">
                    <a:pos x="121" y="73"/>
                  </a:cxn>
                  <a:cxn ang="0">
                    <a:pos x="117" y="86"/>
                  </a:cxn>
                  <a:cxn ang="0">
                    <a:pos x="108" y="95"/>
                  </a:cxn>
                  <a:cxn ang="0">
                    <a:pos x="95" y="103"/>
                  </a:cxn>
                  <a:cxn ang="0">
                    <a:pos x="78" y="103"/>
                  </a:cxn>
                  <a:cxn ang="0">
                    <a:pos x="78" y="103"/>
                  </a:cxn>
                  <a:cxn ang="0">
                    <a:pos x="389" y="86"/>
                  </a:cxn>
                  <a:cxn ang="0">
                    <a:pos x="389" y="86"/>
                  </a:cxn>
                  <a:cxn ang="0">
                    <a:pos x="385" y="95"/>
                  </a:cxn>
                  <a:cxn ang="0">
                    <a:pos x="377" y="99"/>
                  </a:cxn>
                  <a:cxn ang="0">
                    <a:pos x="195" y="99"/>
                  </a:cxn>
                  <a:cxn ang="0">
                    <a:pos x="195" y="99"/>
                  </a:cxn>
                  <a:cxn ang="0">
                    <a:pos x="186" y="95"/>
                  </a:cxn>
                  <a:cxn ang="0">
                    <a:pos x="182" y="86"/>
                  </a:cxn>
                  <a:cxn ang="0">
                    <a:pos x="182" y="64"/>
                  </a:cxn>
                  <a:cxn ang="0">
                    <a:pos x="182" y="64"/>
                  </a:cxn>
                  <a:cxn ang="0">
                    <a:pos x="186" y="56"/>
                  </a:cxn>
                  <a:cxn ang="0">
                    <a:pos x="195" y="51"/>
                  </a:cxn>
                  <a:cxn ang="0">
                    <a:pos x="377" y="51"/>
                  </a:cxn>
                  <a:cxn ang="0">
                    <a:pos x="377" y="51"/>
                  </a:cxn>
                  <a:cxn ang="0">
                    <a:pos x="385" y="56"/>
                  </a:cxn>
                  <a:cxn ang="0">
                    <a:pos x="389" y="64"/>
                  </a:cxn>
                  <a:cxn ang="0">
                    <a:pos x="389" y="86"/>
                  </a:cxn>
                </a:cxnLst>
                <a:rect l="0" t="0" r="r" b="b"/>
                <a:pathLst>
                  <a:path w="424" h="151">
                    <a:moveTo>
                      <a:pt x="415" y="0"/>
                    </a:moveTo>
                    <a:lnTo>
                      <a:pt x="9" y="0"/>
                    </a:lnTo>
                    <a:lnTo>
                      <a:pt x="9" y="0"/>
                    </a:lnTo>
                    <a:lnTo>
                      <a:pt x="4" y="4"/>
                    </a:lnTo>
                    <a:lnTo>
                      <a:pt x="0" y="8"/>
                    </a:lnTo>
                    <a:lnTo>
                      <a:pt x="0" y="142"/>
                    </a:lnTo>
                    <a:lnTo>
                      <a:pt x="0" y="142"/>
                    </a:lnTo>
                    <a:lnTo>
                      <a:pt x="4" y="147"/>
                    </a:lnTo>
                    <a:lnTo>
                      <a:pt x="9" y="151"/>
                    </a:lnTo>
                    <a:lnTo>
                      <a:pt x="415" y="151"/>
                    </a:lnTo>
                    <a:lnTo>
                      <a:pt x="415" y="151"/>
                    </a:lnTo>
                    <a:lnTo>
                      <a:pt x="420" y="147"/>
                    </a:lnTo>
                    <a:lnTo>
                      <a:pt x="424" y="142"/>
                    </a:lnTo>
                    <a:lnTo>
                      <a:pt x="424" y="8"/>
                    </a:lnTo>
                    <a:lnTo>
                      <a:pt x="424" y="8"/>
                    </a:lnTo>
                    <a:lnTo>
                      <a:pt x="420" y="4"/>
                    </a:lnTo>
                    <a:lnTo>
                      <a:pt x="415" y="0"/>
                    </a:lnTo>
                    <a:lnTo>
                      <a:pt x="415" y="0"/>
                    </a:lnTo>
                    <a:close/>
                    <a:moveTo>
                      <a:pt x="78" y="103"/>
                    </a:moveTo>
                    <a:lnTo>
                      <a:pt x="78" y="103"/>
                    </a:lnTo>
                    <a:lnTo>
                      <a:pt x="61" y="103"/>
                    </a:lnTo>
                    <a:lnTo>
                      <a:pt x="48" y="95"/>
                    </a:lnTo>
                    <a:lnTo>
                      <a:pt x="39" y="86"/>
                    </a:lnTo>
                    <a:lnTo>
                      <a:pt x="35" y="73"/>
                    </a:lnTo>
                    <a:lnTo>
                      <a:pt x="35" y="73"/>
                    </a:lnTo>
                    <a:lnTo>
                      <a:pt x="39" y="64"/>
                    </a:lnTo>
                    <a:lnTo>
                      <a:pt x="48" y="56"/>
                    </a:lnTo>
                    <a:lnTo>
                      <a:pt x="61" y="47"/>
                    </a:lnTo>
                    <a:lnTo>
                      <a:pt x="78" y="47"/>
                    </a:lnTo>
                    <a:lnTo>
                      <a:pt x="78" y="47"/>
                    </a:lnTo>
                    <a:lnTo>
                      <a:pt x="95" y="47"/>
                    </a:lnTo>
                    <a:lnTo>
                      <a:pt x="108" y="56"/>
                    </a:lnTo>
                    <a:lnTo>
                      <a:pt x="117" y="64"/>
                    </a:lnTo>
                    <a:lnTo>
                      <a:pt x="121" y="73"/>
                    </a:lnTo>
                    <a:lnTo>
                      <a:pt x="121" y="73"/>
                    </a:lnTo>
                    <a:lnTo>
                      <a:pt x="117" y="86"/>
                    </a:lnTo>
                    <a:lnTo>
                      <a:pt x="108" y="95"/>
                    </a:lnTo>
                    <a:lnTo>
                      <a:pt x="95" y="103"/>
                    </a:lnTo>
                    <a:lnTo>
                      <a:pt x="78" y="103"/>
                    </a:lnTo>
                    <a:lnTo>
                      <a:pt x="78" y="103"/>
                    </a:lnTo>
                    <a:close/>
                    <a:moveTo>
                      <a:pt x="389" y="86"/>
                    </a:moveTo>
                    <a:lnTo>
                      <a:pt x="389" y="86"/>
                    </a:lnTo>
                    <a:lnTo>
                      <a:pt x="385" y="95"/>
                    </a:lnTo>
                    <a:lnTo>
                      <a:pt x="377" y="99"/>
                    </a:lnTo>
                    <a:lnTo>
                      <a:pt x="195" y="99"/>
                    </a:lnTo>
                    <a:lnTo>
                      <a:pt x="195" y="99"/>
                    </a:lnTo>
                    <a:lnTo>
                      <a:pt x="186" y="95"/>
                    </a:lnTo>
                    <a:lnTo>
                      <a:pt x="182" y="86"/>
                    </a:lnTo>
                    <a:lnTo>
                      <a:pt x="182" y="64"/>
                    </a:lnTo>
                    <a:lnTo>
                      <a:pt x="182" y="64"/>
                    </a:lnTo>
                    <a:lnTo>
                      <a:pt x="186" y="56"/>
                    </a:lnTo>
                    <a:lnTo>
                      <a:pt x="195" y="51"/>
                    </a:lnTo>
                    <a:lnTo>
                      <a:pt x="377" y="51"/>
                    </a:lnTo>
                    <a:lnTo>
                      <a:pt x="377" y="51"/>
                    </a:lnTo>
                    <a:lnTo>
                      <a:pt x="385" y="56"/>
                    </a:lnTo>
                    <a:lnTo>
                      <a:pt x="389" y="64"/>
                    </a:lnTo>
                    <a:lnTo>
                      <a:pt x="389" y="8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sp>
            <p:nvSpPr>
              <p:cNvPr id="260" name="Freeform 125"/>
              <p:cNvSpPr>
                <a:spLocks/>
              </p:cNvSpPr>
              <p:nvPr/>
            </p:nvSpPr>
            <p:spPr bwMode="auto">
              <a:xfrm>
                <a:off x="16972920" y="4092863"/>
                <a:ext cx="74612" cy="123468"/>
              </a:xfrm>
              <a:custGeom>
                <a:avLst/>
                <a:gdLst/>
                <a:ahLst/>
                <a:cxnLst>
                  <a:cxn ang="0">
                    <a:pos x="47" y="173"/>
                  </a:cxn>
                  <a:cxn ang="0">
                    <a:pos x="47" y="173"/>
                  </a:cxn>
                  <a:cxn ang="0">
                    <a:pos x="43" y="182"/>
                  </a:cxn>
                  <a:cxn ang="0">
                    <a:pos x="34" y="186"/>
                  </a:cxn>
                  <a:cxn ang="0">
                    <a:pos x="8" y="186"/>
                  </a:cxn>
                  <a:cxn ang="0">
                    <a:pos x="8" y="186"/>
                  </a:cxn>
                  <a:cxn ang="0">
                    <a:pos x="0" y="182"/>
                  </a:cxn>
                  <a:cxn ang="0">
                    <a:pos x="0" y="173"/>
                  </a:cxn>
                  <a:cxn ang="0">
                    <a:pos x="0" y="13"/>
                  </a:cxn>
                  <a:cxn ang="0">
                    <a:pos x="0" y="13"/>
                  </a:cxn>
                  <a:cxn ang="0">
                    <a:pos x="0" y="4"/>
                  </a:cxn>
                  <a:cxn ang="0">
                    <a:pos x="8" y="0"/>
                  </a:cxn>
                  <a:cxn ang="0">
                    <a:pos x="34" y="0"/>
                  </a:cxn>
                  <a:cxn ang="0">
                    <a:pos x="34" y="0"/>
                  </a:cxn>
                  <a:cxn ang="0">
                    <a:pos x="43" y="4"/>
                  </a:cxn>
                  <a:cxn ang="0">
                    <a:pos x="47" y="13"/>
                  </a:cxn>
                  <a:cxn ang="0">
                    <a:pos x="47" y="173"/>
                  </a:cxn>
                </a:cxnLst>
                <a:rect l="0" t="0" r="r" b="b"/>
                <a:pathLst>
                  <a:path w="47" h="186">
                    <a:moveTo>
                      <a:pt x="47" y="173"/>
                    </a:moveTo>
                    <a:lnTo>
                      <a:pt x="47" y="173"/>
                    </a:lnTo>
                    <a:lnTo>
                      <a:pt x="43" y="182"/>
                    </a:lnTo>
                    <a:lnTo>
                      <a:pt x="34" y="186"/>
                    </a:lnTo>
                    <a:lnTo>
                      <a:pt x="8" y="186"/>
                    </a:lnTo>
                    <a:lnTo>
                      <a:pt x="8" y="186"/>
                    </a:lnTo>
                    <a:lnTo>
                      <a:pt x="0" y="182"/>
                    </a:lnTo>
                    <a:lnTo>
                      <a:pt x="0" y="173"/>
                    </a:lnTo>
                    <a:lnTo>
                      <a:pt x="0" y="13"/>
                    </a:lnTo>
                    <a:lnTo>
                      <a:pt x="0" y="13"/>
                    </a:lnTo>
                    <a:lnTo>
                      <a:pt x="0" y="4"/>
                    </a:lnTo>
                    <a:lnTo>
                      <a:pt x="8" y="0"/>
                    </a:lnTo>
                    <a:lnTo>
                      <a:pt x="34" y="0"/>
                    </a:lnTo>
                    <a:lnTo>
                      <a:pt x="34" y="0"/>
                    </a:lnTo>
                    <a:lnTo>
                      <a:pt x="43" y="4"/>
                    </a:lnTo>
                    <a:lnTo>
                      <a:pt x="47" y="13"/>
                    </a:lnTo>
                    <a:lnTo>
                      <a:pt x="47" y="17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900">
                  <a:latin typeface="FrutigerNext LT Medium" pitchFamily="34" charset="0"/>
                </a:endParaRPr>
              </a:p>
            </p:txBody>
          </p:sp>
        </p:grpSp>
        <p:grpSp>
          <p:nvGrpSpPr>
            <p:cNvPr id="15" name="组合 319"/>
            <p:cNvGrpSpPr/>
            <p:nvPr/>
          </p:nvGrpSpPr>
          <p:grpSpPr>
            <a:xfrm>
              <a:off x="5862637" y="5738813"/>
              <a:ext cx="733426" cy="252412"/>
              <a:chOff x="5862637" y="5738813"/>
              <a:chExt cx="733426" cy="252412"/>
            </a:xfrm>
            <a:grpFill/>
          </p:grpSpPr>
          <p:sp>
            <p:nvSpPr>
              <p:cNvPr id="251" name="矩形 250"/>
              <p:cNvSpPr/>
              <p:nvPr/>
            </p:nvSpPr>
            <p:spPr bwMode="auto">
              <a:xfrm>
                <a:off x="6205539" y="5738813"/>
                <a:ext cx="45719" cy="242888"/>
              </a:xfrm>
              <a:prstGeom prst="rect">
                <a:avLst/>
              </a:prstGeom>
              <a:grp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900">
                  <a:latin typeface="FrutigerNext LT Medium" pitchFamily="34" charset="0"/>
                  <a:ea typeface="宋体" charset="-122"/>
                </a:endParaRPr>
              </a:p>
            </p:txBody>
          </p:sp>
          <p:sp>
            <p:nvSpPr>
              <p:cNvPr id="252" name="椭圆 251"/>
              <p:cNvSpPr/>
              <p:nvPr/>
            </p:nvSpPr>
            <p:spPr bwMode="auto">
              <a:xfrm>
                <a:off x="6176964" y="5891213"/>
                <a:ext cx="100012" cy="100012"/>
              </a:xfrm>
              <a:prstGeom prst="ellipse">
                <a:avLst/>
              </a:prstGeom>
              <a:grp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900" dirty="0">
                  <a:latin typeface="FrutigerNext LT Medium" pitchFamily="34" charset="0"/>
                  <a:ea typeface="宋体" charset="-122"/>
                </a:endParaRPr>
              </a:p>
            </p:txBody>
          </p:sp>
          <p:sp>
            <p:nvSpPr>
              <p:cNvPr id="253" name="矩形 252"/>
              <p:cNvSpPr/>
              <p:nvPr/>
            </p:nvSpPr>
            <p:spPr bwMode="auto">
              <a:xfrm>
                <a:off x="6310313" y="5931219"/>
                <a:ext cx="285750" cy="45719"/>
              </a:xfrm>
              <a:prstGeom prst="rect">
                <a:avLst/>
              </a:prstGeom>
              <a:grp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900" dirty="0">
                  <a:latin typeface="FrutigerNext LT Medium" pitchFamily="34" charset="0"/>
                  <a:ea typeface="宋体" charset="-122"/>
                </a:endParaRPr>
              </a:p>
            </p:txBody>
          </p:sp>
          <p:sp>
            <p:nvSpPr>
              <p:cNvPr id="254" name="矩形 253"/>
              <p:cNvSpPr/>
              <p:nvPr/>
            </p:nvSpPr>
            <p:spPr bwMode="auto">
              <a:xfrm>
                <a:off x="5862637" y="5931219"/>
                <a:ext cx="285750" cy="45719"/>
              </a:xfrm>
              <a:prstGeom prst="rect">
                <a:avLst/>
              </a:prstGeom>
              <a:grp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900">
                  <a:latin typeface="FrutigerNext LT Medium" pitchFamily="34" charset="0"/>
                  <a:ea typeface="宋体" charset="-122"/>
                </a:endParaRPr>
              </a:p>
            </p:txBody>
          </p:sp>
        </p:grpSp>
      </p:grpSp>
      <p:sp>
        <p:nvSpPr>
          <p:cNvPr id="261" name="Text Box 237"/>
          <p:cNvSpPr txBox="1">
            <a:spLocks noChangeArrowheads="1"/>
          </p:cNvSpPr>
          <p:nvPr/>
        </p:nvSpPr>
        <p:spPr bwMode="auto">
          <a:xfrm>
            <a:off x="8082786" y="3429546"/>
            <a:ext cx="647813" cy="193859"/>
          </a:xfrm>
          <a:prstGeom prst="rect">
            <a:avLst/>
          </a:prstGeom>
          <a:noFill/>
          <a:ln w="3175">
            <a:noFill/>
            <a:prstDash val="dash"/>
            <a:miter lim="800000"/>
            <a:headEnd/>
            <a:tailEnd/>
          </a:ln>
          <a:effectLst/>
        </p:spPr>
        <p:txBody>
          <a:bodyPr lIns="68537" tIns="34270" rIns="68537" bIns="34270">
            <a:spAutoFit/>
          </a:bodyPr>
          <a:lstStyle/>
          <a:p>
            <a:pPr eaLnBrk="0" fontAlgn="base" hangingPunct="0">
              <a:lnSpc>
                <a:spcPct val="90000"/>
              </a:lnSpc>
              <a:spcBef>
                <a:spcPct val="0"/>
              </a:spcBef>
              <a:spcAft>
                <a:spcPct val="0"/>
              </a:spcAft>
              <a:buClr>
                <a:srgbClr val="777777"/>
              </a:buClr>
              <a:buSzPct val="60000"/>
              <a:buFont typeface="Wingdings" pitchFamily="2" charset="2"/>
              <a:buNone/>
            </a:pPr>
            <a:r>
              <a:rPr lang="en-US" altLang="zh-CN" sz="900" dirty="0">
                <a:solidFill>
                  <a:schemeClr val="bg1"/>
                </a:solidFill>
                <a:latin typeface="FrutigerNext LT Medium" pitchFamily="34" charset="0"/>
                <a:ea typeface="黑体" pitchFamily="2" charset="-122"/>
                <a:cs typeface="Arial" charset="0"/>
              </a:rPr>
              <a:t>Sensor</a:t>
            </a:r>
            <a:endParaRPr lang="en-US" altLang="zh-CN" sz="900" dirty="0">
              <a:solidFill>
                <a:schemeClr val="bg1"/>
              </a:solidFill>
              <a:latin typeface="FrutigerNext LT Medium" pitchFamily="34" charset="0"/>
              <a:ea typeface="黑体" pitchFamily="2" charset="-122"/>
              <a:cs typeface="Arial" charset="0"/>
            </a:endParaRPr>
          </a:p>
        </p:txBody>
      </p:sp>
      <p:sp>
        <p:nvSpPr>
          <p:cNvPr id="263" name="Text Box 213"/>
          <p:cNvSpPr txBox="1">
            <a:spLocks noChangeArrowheads="1"/>
          </p:cNvSpPr>
          <p:nvPr/>
        </p:nvSpPr>
        <p:spPr bwMode="auto">
          <a:xfrm>
            <a:off x="6181422" y="3480902"/>
            <a:ext cx="1024297" cy="318508"/>
          </a:xfrm>
          <a:prstGeom prst="rect">
            <a:avLst/>
          </a:prstGeom>
          <a:noFill/>
          <a:ln w="3175">
            <a:noFill/>
            <a:prstDash val="dash"/>
            <a:miter lim="800000"/>
            <a:headEnd/>
            <a:tailEnd/>
          </a:ln>
          <a:effectLst/>
        </p:spPr>
        <p:txBody>
          <a:bodyPr wrap="square" lIns="68537" tIns="34270" rIns="68537" bIns="34270">
            <a:spAutoFit/>
          </a:bodyPr>
          <a:lstStyle/>
          <a:p>
            <a:pPr algn="ctr" eaLnBrk="0" fontAlgn="base" hangingPunct="0">
              <a:lnSpc>
                <a:spcPct val="90000"/>
              </a:lnSpc>
              <a:spcBef>
                <a:spcPct val="0"/>
              </a:spcBef>
              <a:spcAft>
                <a:spcPct val="0"/>
              </a:spcAft>
              <a:buClr>
                <a:srgbClr val="777777"/>
              </a:buClr>
              <a:buSzPct val="60000"/>
              <a:buFont typeface="Wingdings" pitchFamily="2" charset="2"/>
              <a:buNone/>
            </a:pPr>
            <a:r>
              <a:rPr lang="en-US" altLang="zh-CN" sz="900" dirty="0">
                <a:solidFill>
                  <a:schemeClr val="bg1"/>
                </a:solidFill>
                <a:latin typeface="FrutigerNext LT Medium" pitchFamily="34" charset="0"/>
              </a:rPr>
              <a:t>Monitoring terminals</a:t>
            </a:r>
          </a:p>
        </p:txBody>
      </p:sp>
      <p:sp>
        <p:nvSpPr>
          <p:cNvPr id="106" name="椭圆 105"/>
          <p:cNvSpPr/>
          <p:nvPr/>
        </p:nvSpPr>
        <p:spPr bwMode="auto">
          <a:xfrm>
            <a:off x="4498475" y="2277632"/>
            <a:ext cx="1129298" cy="765983"/>
          </a:xfrm>
          <a:prstGeom prst="ellipse">
            <a:avLst/>
          </a:prstGeom>
          <a:noFill/>
          <a:ln w="19050" cap="flat" cmpd="sng" algn="ctr">
            <a:solidFill>
              <a:srgbClr val="FFC000"/>
            </a:solidFill>
            <a:prstDash val="dash"/>
            <a:round/>
            <a:headEnd type="none" w="med" len="med"/>
            <a:tailEnd type="none" w="med" len="med"/>
          </a:ln>
          <a:effectLst/>
        </p:spPr>
        <p:txBody>
          <a:bodyPr vert="horz" wrap="square" lIns="59395" tIns="29697" rIns="59395" bIns="29697" numCol="1" rtlCol="0" anchor="t" anchorCtr="0" compatLnSpc="1">
            <a:prstTxWarp prst="textNoShape">
              <a:avLst/>
            </a:prstTxWarp>
            <a:spAutoFit/>
          </a:bodyPr>
          <a:lstStyle/>
          <a:p>
            <a:pPr algn="ctr" defTabSz="601186"/>
            <a:endParaRPr lang="en-US" altLang="zh-CN" sz="1050" dirty="0">
              <a:solidFill>
                <a:srgbClr val="FFC000"/>
              </a:solidFill>
              <a:latin typeface="FrutigerNext LT Medium" pitchFamily="34" charset="0"/>
              <a:ea typeface="MS PGothic" pitchFamily="34" charset="-128"/>
            </a:endParaRPr>
          </a:p>
          <a:p>
            <a:pPr algn="ctr" defTabSz="601186"/>
            <a:endParaRPr lang="en-US" altLang="zh-CN" sz="1050" dirty="0">
              <a:solidFill>
                <a:srgbClr val="FFC000"/>
              </a:solidFill>
              <a:latin typeface="FrutigerNext LT Medium" pitchFamily="34" charset="0"/>
              <a:ea typeface="MS PGothic" pitchFamily="34" charset="-128"/>
            </a:endParaRPr>
          </a:p>
          <a:p>
            <a:pPr algn="ctr" defTabSz="601186"/>
            <a:endParaRPr lang="zh-CN" altLang="en-US" sz="1050" dirty="0">
              <a:solidFill>
                <a:srgbClr val="FFC000"/>
              </a:solidFill>
              <a:latin typeface="FrutigerNext LT Medium" pitchFamily="34" charset="0"/>
              <a:ea typeface="MS PGothic" pitchFamily="34" charset="-128"/>
            </a:endParaRPr>
          </a:p>
        </p:txBody>
      </p:sp>
      <p:sp>
        <p:nvSpPr>
          <p:cNvPr id="107" name="AutoShape 37"/>
          <p:cNvSpPr>
            <a:spLocks noChangeArrowheads="1"/>
          </p:cNvSpPr>
          <p:nvPr/>
        </p:nvSpPr>
        <p:spPr bwMode="auto">
          <a:xfrm>
            <a:off x="5229052" y="1979235"/>
            <a:ext cx="2286397" cy="285791"/>
          </a:xfrm>
          <a:prstGeom prst="roundRect">
            <a:avLst>
              <a:gd name="adj" fmla="val 30833"/>
            </a:avLst>
          </a:prstGeom>
          <a:noFill/>
          <a:ln w="9525">
            <a:noFill/>
            <a:round/>
            <a:headEnd/>
            <a:tailEnd/>
          </a:ln>
          <a:effectLst/>
        </p:spPr>
        <p:txBody>
          <a:bodyPr wrap="none" lIns="68561" tIns="34281" rIns="68561" bIns="34281" anchor="ctr"/>
          <a:lstStyle/>
          <a:p>
            <a:pPr algn="ctr" fontAlgn="base">
              <a:spcBef>
                <a:spcPct val="0"/>
              </a:spcBef>
              <a:spcAft>
                <a:spcPct val="0"/>
              </a:spcAft>
            </a:pPr>
            <a:r>
              <a:rPr lang="en-US" altLang="zh-CN" sz="1500" b="1" dirty="0">
                <a:solidFill>
                  <a:schemeClr val="bg1"/>
                </a:solidFill>
                <a:latin typeface="FrutigerNext LT Medium" pitchFamily="34" charset="0"/>
              </a:rPr>
              <a:t>To</a:t>
            </a:r>
            <a:endParaRPr lang="en-US" altLang="zh-CN" sz="1500" b="1" dirty="0">
              <a:solidFill>
                <a:schemeClr val="bg1"/>
              </a:solidFill>
              <a:latin typeface="FrutigerNext LT Medium" pitchFamily="34" charset="0"/>
            </a:endParaRPr>
          </a:p>
        </p:txBody>
      </p:sp>
      <p:sp>
        <p:nvSpPr>
          <p:cNvPr id="108" name="AutoShape 41"/>
          <p:cNvSpPr>
            <a:spLocks noChangeArrowheads="1"/>
          </p:cNvSpPr>
          <p:nvPr/>
        </p:nvSpPr>
        <p:spPr bwMode="auto">
          <a:xfrm>
            <a:off x="6853722" y="1979235"/>
            <a:ext cx="1676691" cy="285791"/>
          </a:xfrm>
          <a:prstGeom prst="roundRect">
            <a:avLst>
              <a:gd name="adj" fmla="val 30833"/>
            </a:avLst>
          </a:prstGeom>
          <a:noFill/>
          <a:ln w="9525">
            <a:noFill/>
            <a:round/>
            <a:headEnd/>
            <a:tailEnd/>
          </a:ln>
          <a:effectLst/>
        </p:spPr>
        <p:txBody>
          <a:bodyPr wrap="none" lIns="68561" tIns="34281" rIns="68561" bIns="34281" anchor="ctr"/>
          <a:lstStyle/>
          <a:p>
            <a:pPr algn="ctr" fontAlgn="base">
              <a:spcBef>
                <a:spcPct val="0"/>
              </a:spcBef>
              <a:spcAft>
                <a:spcPct val="0"/>
              </a:spcAft>
            </a:pPr>
            <a:r>
              <a:rPr lang="en-US" altLang="zh-CN" sz="1500" b="1" dirty="0">
                <a:solidFill>
                  <a:schemeClr val="bg1"/>
                </a:solidFill>
                <a:latin typeface="FrutigerNext LT Medium" pitchFamily="34" charset="0"/>
              </a:rPr>
              <a:t>Chip</a:t>
            </a:r>
            <a:endParaRPr lang="en-US" altLang="zh-CN" sz="1500" b="1" dirty="0">
              <a:solidFill>
                <a:schemeClr val="bg1"/>
              </a:solidFill>
              <a:latin typeface="FrutigerNext LT Medium" pitchFamily="34" charset="0"/>
            </a:endParaRPr>
          </a:p>
        </p:txBody>
      </p:sp>
      <p:sp>
        <p:nvSpPr>
          <p:cNvPr id="111" name="梯形 110"/>
          <p:cNvSpPr/>
          <p:nvPr/>
        </p:nvSpPr>
        <p:spPr bwMode="auto">
          <a:xfrm>
            <a:off x="496593" y="4120851"/>
            <a:ext cx="8240973" cy="1413468"/>
          </a:xfrm>
          <a:prstGeom prst="trapezoid">
            <a:avLst>
              <a:gd name="adj" fmla="val 30095"/>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34982" algn="ctr">
              <a:lnSpc>
                <a:spcPts val="2100"/>
              </a:lnSpc>
              <a:buFont typeface="Arial" pitchFamily="34" charset="0"/>
              <a:buChar char="•"/>
            </a:pPr>
            <a:endParaRPr lang="zh-CN" altLang="en-US">
              <a:solidFill>
                <a:schemeClr val="lt1"/>
              </a:solidFill>
              <a:latin typeface="FrutigerNext LT Medium" pitchFamily="34" charset="0"/>
            </a:endParaRPr>
          </a:p>
        </p:txBody>
      </p:sp>
      <p:sp>
        <p:nvSpPr>
          <p:cNvPr id="147" name="梯形 146"/>
          <p:cNvSpPr/>
          <p:nvPr/>
        </p:nvSpPr>
        <p:spPr bwMode="auto">
          <a:xfrm>
            <a:off x="733032" y="4723819"/>
            <a:ext cx="1064080" cy="602978"/>
          </a:xfrm>
          <a:prstGeom prst="trapezoid">
            <a:avLst>
              <a:gd name="adj" fmla="val 32843"/>
            </a:avLst>
          </a:prstGeom>
          <a:solidFill>
            <a:schemeClr val="tx2">
              <a:lumMod val="75000"/>
            </a:schemeClr>
          </a:solidFill>
          <a:ln w="9525" cap="flat" cmpd="sng" algn="ctr">
            <a:solidFill>
              <a:srgbClr val="FFFFFF">
                <a:shade val="95000"/>
                <a:satMod val="105000"/>
              </a:srgbClr>
            </a:solid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r>
              <a:rPr lang="en-US" altLang="zh-CN" sz="1050" kern="0" dirty="0">
                <a:solidFill>
                  <a:srgbClr val="FFFFFF"/>
                </a:solidFill>
                <a:latin typeface="FrutigerNext LT Medium" pitchFamily="34" charset="0"/>
              </a:rPr>
              <a:t>Power </a:t>
            </a:r>
          </a:p>
          <a:p>
            <a:pPr marL="151734" indent="-151734" algn="ctr">
              <a:buClr>
                <a:srgbClr val="5F5F5F"/>
              </a:buClr>
              <a:buSzPct val="80000"/>
            </a:pPr>
            <a:r>
              <a:rPr lang="en-US" altLang="zh-CN" sz="1050" kern="0" dirty="0">
                <a:solidFill>
                  <a:srgbClr val="FFFFFF"/>
                </a:solidFill>
                <a:latin typeface="FrutigerNext LT Medium" pitchFamily="34" charset="0"/>
              </a:rPr>
              <a:t>Generation</a:t>
            </a:r>
            <a:endParaRPr lang="zh-CN" altLang="en-US" sz="1050" kern="0" dirty="0">
              <a:solidFill>
                <a:srgbClr val="FFFFFF"/>
              </a:solidFill>
              <a:latin typeface="FrutigerNext LT Medium" pitchFamily="34" charset="0"/>
            </a:endParaRPr>
          </a:p>
        </p:txBody>
      </p:sp>
      <p:sp>
        <p:nvSpPr>
          <p:cNvPr id="149" name="梯形 148"/>
          <p:cNvSpPr/>
          <p:nvPr/>
        </p:nvSpPr>
        <p:spPr bwMode="auto">
          <a:xfrm>
            <a:off x="1856233" y="4723819"/>
            <a:ext cx="1064080" cy="602978"/>
          </a:xfrm>
          <a:prstGeom prst="trapezoid">
            <a:avLst>
              <a:gd name="adj" fmla="val 32843"/>
            </a:avLst>
          </a:prstGeom>
          <a:solidFill>
            <a:schemeClr val="tx2">
              <a:lumMod val="75000"/>
            </a:schemeClr>
          </a:solidFill>
          <a:ln w="9525" cap="flat" cmpd="sng" algn="ctr">
            <a:solidFill>
              <a:srgbClr val="FFFFFF">
                <a:shade val="95000"/>
                <a:satMod val="105000"/>
              </a:srgbClr>
            </a:solid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r>
              <a:rPr lang="en-US" altLang="zh-CN" sz="1050" dirty="0">
                <a:solidFill>
                  <a:schemeClr val="bg1"/>
                </a:solidFill>
                <a:latin typeface="FrutigerNext LT Medium" pitchFamily="34" charset="0"/>
                <a:ea typeface="微软雅黑" pitchFamily="34" charset="-122"/>
                <a:cs typeface="Arial" pitchFamily="34" charset="0"/>
              </a:rPr>
              <a:t>Power </a:t>
            </a:r>
          </a:p>
          <a:p>
            <a:pPr marL="151734" indent="-151734" algn="ctr">
              <a:buClr>
                <a:srgbClr val="5F5F5F"/>
              </a:buClr>
              <a:buSzPct val="80000"/>
            </a:pPr>
            <a:r>
              <a:rPr lang="en-US" altLang="zh-CN" sz="1050" dirty="0">
                <a:solidFill>
                  <a:schemeClr val="bg1"/>
                </a:solidFill>
                <a:latin typeface="FrutigerNext LT Medium" pitchFamily="34" charset="0"/>
                <a:ea typeface="微软雅黑" pitchFamily="34" charset="-122"/>
                <a:cs typeface="Arial" pitchFamily="34" charset="0"/>
              </a:rPr>
              <a:t>Electronics</a:t>
            </a:r>
            <a:endParaRPr lang="zh-CN" altLang="en-US" sz="1050" kern="0" dirty="0">
              <a:solidFill>
                <a:srgbClr val="FFFFFF"/>
              </a:solidFill>
              <a:latin typeface="FrutigerNext LT Medium" pitchFamily="34" charset="0"/>
            </a:endParaRPr>
          </a:p>
        </p:txBody>
      </p:sp>
      <p:sp>
        <p:nvSpPr>
          <p:cNvPr id="153" name="梯形 152"/>
          <p:cNvSpPr/>
          <p:nvPr/>
        </p:nvSpPr>
        <p:spPr bwMode="auto">
          <a:xfrm>
            <a:off x="2979433" y="4723819"/>
            <a:ext cx="1064080" cy="602978"/>
          </a:xfrm>
          <a:prstGeom prst="trapezoid">
            <a:avLst>
              <a:gd name="adj" fmla="val 32843"/>
            </a:avLst>
          </a:prstGeom>
          <a:solidFill>
            <a:schemeClr val="tx2">
              <a:lumMod val="75000"/>
            </a:schemeClr>
          </a:solidFill>
          <a:ln w="9525" cap="flat" cmpd="sng" algn="ctr">
            <a:solidFill>
              <a:srgbClr val="FFFFFF">
                <a:shade val="95000"/>
                <a:satMod val="105000"/>
              </a:srgbClr>
            </a:solid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r>
              <a:rPr lang="en-US" altLang="zh-CN" sz="1050" dirty="0">
                <a:solidFill>
                  <a:schemeClr val="bg1"/>
                </a:solidFill>
                <a:latin typeface="FrutigerNext LT Medium" pitchFamily="34" charset="0"/>
                <a:ea typeface="微软雅黑" pitchFamily="34" charset="-122"/>
                <a:cs typeface="Arial" pitchFamily="34" charset="0"/>
              </a:rPr>
              <a:t>Power </a:t>
            </a:r>
          </a:p>
          <a:p>
            <a:pPr marL="151734" indent="-151734" algn="ctr">
              <a:buClr>
                <a:srgbClr val="5F5F5F"/>
              </a:buClr>
              <a:buSzPct val="80000"/>
            </a:pPr>
            <a:r>
              <a:rPr lang="en-US" altLang="zh-CN" sz="1050" dirty="0">
                <a:solidFill>
                  <a:schemeClr val="bg1"/>
                </a:solidFill>
                <a:latin typeface="FrutigerNext LT Medium" pitchFamily="34" charset="0"/>
                <a:ea typeface="微软雅黑" pitchFamily="34" charset="-122"/>
                <a:cs typeface="Arial" pitchFamily="34" charset="0"/>
              </a:rPr>
              <a:t>Control &amp;</a:t>
            </a:r>
          </a:p>
          <a:p>
            <a:pPr marL="151734" indent="-151734" algn="ctr">
              <a:buClr>
                <a:srgbClr val="5F5F5F"/>
              </a:buClr>
              <a:buSzPct val="80000"/>
            </a:pPr>
            <a:r>
              <a:rPr lang="en-US" altLang="zh-CN" sz="1050" kern="0" dirty="0">
                <a:solidFill>
                  <a:schemeClr val="bg1"/>
                </a:solidFill>
                <a:latin typeface="FrutigerNext LT Medium" pitchFamily="34" charset="0"/>
                <a:ea typeface="微软雅黑" pitchFamily="34" charset="-122"/>
                <a:cs typeface="Arial" pitchFamily="34" charset="0"/>
              </a:rPr>
              <a:t>Distribution</a:t>
            </a:r>
            <a:endParaRPr lang="zh-CN" altLang="en-US" sz="1050" kern="0" dirty="0">
              <a:solidFill>
                <a:srgbClr val="FFFFFF"/>
              </a:solidFill>
              <a:latin typeface="FrutigerNext LT Medium" pitchFamily="34" charset="0"/>
            </a:endParaRPr>
          </a:p>
        </p:txBody>
      </p:sp>
      <p:sp>
        <p:nvSpPr>
          <p:cNvPr id="155" name="梯形 154"/>
          <p:cNvSpPr/>
          <p:nvPr/>
        </p:nvSpPr>
        <p:spPr bwMode="auto">
          <a:xfrm>
            <a:off x="4102634" y="4723819"/>
            <a:ext cx="1064080" cy="602978"/>
          </a:xfrm>
          <a:prstGeom prst="trapezoid">
            <a:avLst>
              <a:gd name="adj" fmla="val 32843"/>
            </a:avLst>
          </a:prstGeom>
          <a:solidFill>
            <a:schemeClr val="tx2">
              <a:lumMod val="75000"/>
            </a:schemeClr>
          </a:solidFill>
          <a:ln w="9525" cap="flat" cmpd="sng" algn="ctr">
            <a:solidFill>
              <a:srgbClr val="FFFFFF">
                <a:shade val="95000"/>
                <a:satMod val="105000"/>
              </a:srgbClr>
            </a:solid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r>
              <a:rPr lang="en-US" altLang="zh-CN" sz="1050" dirty="0">
                <a:solidFill>
                  <a:schemeClr val="bg1"/>
                </a:solidFill>
                <a:latin typeface="FrutigerNext LT Medium" pitchFamily="34" charset="0"/>
                <a:ea typeface="微软雅黑" pitchFamily="34" charset="-122"/>
                <a:cs typeface="Arial" pitchFamily="34" charset="0"/>
              </a:rPr>
              <a:t>Energy</a:t>
            </a:r>
          </a:p>
          <a:p>
            <a:pPr marL="151734" indent="-151734" algn="ctr">
              <a:buClr>
                <a:srgbClr val="5F5F5F"/>
              </a:buClr>
              <a:buSzPct val="80000"/>
            </a:pPr>
            <a:r>
              <a:rPr lang="en-US" altLang="zh-CN" sz="1050" kern="0" dirty="0">
                <a:solidFill>
                  <a:schemeClr val="bg1"/>
                </a:solidFill>
                <a:latin typeface="FrutigerNext LT Medium" pitchFamily="34" charset="0"/>
                <a:ea typeface="微软雅黑" pitchFamily="34" charset="-122"/>
                <a:cs typeface="Arial" pitchFamily="34" charset="0"/>
              </a:rPr>
              <a:t>Storage</a:t>
            </a:r>
            <a:endParaRPr lang="zh-CN" altLang="en-US" sz="1050" kern="0" dirty="0">
              <a:solidFill>
                <a:srgbClr val="FFFFFF"/>
              </a:solidFill>
              <a:latin typeface="FrutigerNext LT Medium" pitchFamily="34" charset="0"/>
            </a:endParaRPr>
          </a:p>
        </p:txBody>
      </p:sp>
      <p:sp>
        <p:nvSpPr>
          <p:cNvPr id="156" name="梯形 155"/>
          <p:cNvSpPr/>
          <p:nvPr/>
        </p:nvSpPr>
        <p:spPr bwMode="auto">
          <a:xfrm>
            <a:off x="5225835" y="4723819"/>
            <a:ext cx="1064080" cy="602978"/>
          </a:xfrm>
          <a:prstGeom prst="trapezoid">
            <a:avLst>
              <a:gd name="adj" fmla="val 32843"/>
            </a:avLst>
          </a:prstGeom>
          <a:solidFill>
            <a:schemeClr val="tx2">
              <a:lumMod val="75000"/>
            </a:schemeClr>
          </a:solidFill>
          <a:ln w="9525" cap="flat" cmpd="sng" algn="ctr">
            <a:solidFill>
              <a:srgbClr val="FFFFFF">
                <a:shade val="95000"/>
                <a:satMod val="105000"/>
              </a:srgbClr>
            </a:solid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r>
              <a:rPr lang="en-US" altLang="zh-CN" sz="1050" dirty="0">
                <a:solidFill>
                  <a:schemeClr val="bg1"/>
                </a:solidFill>
                <a:latin typeface="FrutigerNext LT Medium" pitchFamily="34" charset="0"/>
                <a:ea typeface="微软雅黑" pitchFamily="34" charset="-122"/>
                <a:cs typeface="Arial" pitchFamily="34" charset="0"/>
              </a:rPr>
              <a:t>Big</a:t>
            </a:r>
          </a:p>
          <a:p>
            <a:pPr marL="151734" indent="-151734" algn="ctr">
              <a:buClr>
                <a:srgbClr val="5F5F5F"/>
              </a:buClr>
              <a:buSzPct val="80000"/>
            </a:pPr>
            <a:r>
              <a:rPr lang="en-US" altLang="zh-CN" sz="1050" kern="0" dirty="0">
                <a:solidFill>
                  <a:schemeClr val="bg1"/>
                </a:solidFill>
                <a:latin typeface="FrutigerNext LT Medium" pitchFamily="34" charset="0"/>
                <a:ea typeface="微软雅黑" pitchFamily="34" charset="-122"/>
                <a:cs typeface="Arial" pitchFamily="34" charset="0"/>
              </a:rPr>
              <a:t>Data</a:t>
            </a:r>
            <a:endParaRPr lang="zh-CN" altLang="en-US" sz="1050" kern="0" dirty="0">
              <a:solidFill>
                <a:srgbClr val="FFFFFF"/>
              </a:solidFill>
              <a:latin typeface="FrutigerNext LT Medium" pitchFamily="34" charset="0"/>
            </a:endParaRPr>
          </a:p>
        </p:txBody>
      </p:sp>
      <p:sp>
        <p:nvSpPr>
          <p:cNvPr id="157" name="梯形 156"/>
          <p:cNvSpPr/>
          <p:nvPr/>
        </p:nvSpPr>
        <p:spPr bwMode="auto">
          <a:xfrm>
            <a:off x="6349036" y="4723819"/>
            <a:ext cx="1064080" cy="602978"/>
          </a:xfrm>
          <a:prstGeom prst="trapezoid">
            <a:avLst>
              <a:gd name="adj" fmla="val 32843"/>
            </a:avLst>
          </a:prstGeom>
          <a:solidFill>
            <a:schemeClr val="tx2">
              <a:lumMod val="75000"/>
            </a:schemeClr>
          </a:solidFill>
          <a:ln w="9525" cap="flat" cmpd="sng" algn="ctr">
            <a:solidFill>
              <a:srgbClr val="FFFFFF">
                <a:shade val="95000"/>
                <a:satMod val="105000"/>
              </a:srgbClr>
            </a:solid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r>
              <a:rPr lang="en-US" altLang="zh-CN" sz="1050" dirty="0">
                <a:solidFill>
                  <a:schemeClr val="bg1"/>
                </a:solidFill>
                <a:latin typeface="FrutigerNext LT Medium" pitchFamily="34" charset="0"/>
                <a:ea typeface="微软雅黑" pitchFamily="34" charset="-122"/>
                <a:cs typeface="Arial" pitchFamily="34" charset="0"/>
              </a:rPr>
              <a:t>Cloud</a:t>
            </a:r>
          </a:p>
          <a:p>
            <a:pPr marL="151734" indent="-151734" algn="ctr">
              <a:buClr>
                <a:srgbClr val="5F5F5F"/>
              </a:buClr>
              <a:buSzPct val="80000"/>
            </a:pPr>
            <a:r>
              <a:rPr lang="en-US" altLang="zh-CN" sz="1050" kern="0" dirty="0">
                <a:solidFill>
                  <a:schemeClr val="bg1"/>
                </a:solidFill>
                <a:latin typeface="FrutigerNext LT Medium" pitchFamily="34" charset="0"/>
                <a:ea typeface="微软雅黑" pitchFamily="34" charset="-122"/>
                <a:cs typeface="Arial" pitchFamily="34" charset="0"/>
              </a:rPr>
              <a:t>Compute</a:t>
            </a:r>
            <a:endParaRPr lang="zh-CN" altLang="en-US" sz="1050" kern="0" dirty="0">
              <a:solidFill>
                <a:srgbClr val="FFFFFF"/>
              </a:solidFill>
              <a:latin typeface="FrutigerNext LT Medium" pitchFamily="34" charset="0"/>
            </a:endParaRPr>
          </a:p>
        </p:txBody>
      </p:sp>
      <p:sp>
        <p:nvSpPr>
          <p:cNvPr id="158" name="梯形 157"/>
          <p:cNvSpPr/>
          <p:nvPr/>
        </p:nvSpPr>
        <p:spPr bwMode="auto">
          <a:xfrm>
            <a:off x="7472238" y="4723819"/>
            <a:ext cx="1064080" cy="602978"/>
          </a:xfrm>
          <a:prstGeom prst="trapezoid">
            <a:avLst>
              <a:gd name="adj" fmla="val 32843"/>
            </a:avLst>
          </a:prstGeom>
          <a:solidFill>
            <a:schemeClr val="tx2">
              <a:lumMod val="75000"/>
            </a:schemeClr>
          </a:solidFill>
          <a:ln w="9525" cap="flat" cmpd="sng" algn="ctr">
            <a:solidFill>
              <a:srgbClr val="FFFFFF">
                <a:shade val="95000"/>
                <a:satMod val="105000"/>
              </a:srgbClr>
            </a:solid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r>
              <a:rPr lang="en-US" altLang="zh-CN" sz="1050" dirty="0">
                <a:solidFill>
                  <a:schemeClr val="bg1"/>
                </a:solidFill>
                <a:latin typeface="FrutigerNext LT Medium" pitchFamily="34" charset="0"/>
                <a:ea typeface="微软雅黑" pitchFamily="34" charset="-122"/>
                <a:cs typeface="Arial" pitchFamily="34" charset="0"/>
              </a:rPr>
              <a:t>IoT</a:t>
            </a:r>
            <a:endParaRPr lang="zh-CN" altLang="en-US" sz="1050" kern="0" dirty="0">
              <a:solidFill>
                <a:srgbClr val="FFFFFF"/>
              </a:solidFill>
              <a:latin typeface="FrutigerNext LT Medium" pitchFamily="34" charset="0"/>
            </a:endParaRPr>
          </a:p>
        </p:txBody>
      </p:sp>
      <p:sp>
        <p:nvSpPr>
          <p:cNvPr id="112" name="Rectangle 2"/>
          <p:cNvSpPr>
            <a:spLocks noChangeArrowheads="1"/>
          </p:cNvSpPr>
          <p:nvPr/>
        </p:nvSpPr>
        <p:spPr bwMode="auto">
          <a:xfrm>
            <a:off x="374664" y="1294399"/>
            <a:ext cx="8048177" cy="339653"/>
          </a:xfrm>
          <a:prstGeom prst="rect">
            <a:avLst/>
          </a:prstGeom>
          <a:noFill/>
          <a:ln w="9525" algn="ctr">
            <a:noFill/>
            <a:miter lim="800000"/>
            <a:headEnd/>
            <a:tailEnd/>
          </a:ln>
        </p:spPr>
        <p:txBody>
          <a:bodyPr wrap="none" lIns="68561" tIns="34281" rIns="68561" bIns="34281" anchor="ctr"/>
          <a:lstStyle/>
          <a:p>
            <a:pPr>
              <a:buClrTx/>
              <a:buSzTx/>
              <a:buFontTx/>
              <a:buNone/>
            </a:pPr>
            <a:r>
              <a:rPr lang="en-US" altLang="zh-CN" sz="2700" b="1" dirty="0">
                <a:solidFill>
                  <a:schemeClr val="bg1"/>
                </a:solidFill>
                <a:latin typeface="FrutigerNext LT Medium" pitchFamily="34" charset="0"/>
                <a:cs typeface="Arial" pitchFamily="34" charset="0"/>
              </a:rPr>
              <a:t>Open Cooperation for Energy Saving Solutions</a:t>
            </a:r>
            <a:endParaRPr lang="zh-CN" altLang="en-US" sz="2700" b="1" dirty="0">
              <a:solidFill>
                <a:schemeClr val="bg1"/>
              </a:solidFill>
              <a:latin typeface="FrutigerNext LT Medium" pitchFamily="34" charset="0"/>
              <a:cs typeface="Arial" pitchFamily="34" charset="0"/>
            </a:endParaRPr>
          </a:p>
        </p:txBody>
      </p:sp>
      <p:sp>
        <p:nvSpPr>
          <p:cNvPr id="113" name="Rectangle 24"/>
          <p:cNvSpPr>
            <a:spLocks noChangeArrowheads="1"/>
          </p:cNvSpPr>
          <p:nvPr/>
        </p:nvSpPr>
        <p:spPr bwMode="auto">
          <a:xfrm>
            <a:off x="4101420" y="2414194"/>
            <a:ext cx="774957" cy="346230"/>
          </a:xfrm>
          <a:prstGeom prst="rect">
            <a:avLst/>
          </a:prstGeom>
          <a:noFill/>
          <a:ln w="9525" algn="ctr">
            <a:noFill/>
            <a:miter lim="800000"/>
            <a:headEnd/>
            <a:tailEnd/>
          </a:ln>
          <a:effectLst/>
        </p:spPr>
        <p:txBody>
          <a:bodyPr wrap="square" lIns="68561" tIns="34281" rIns="68561" bIns="34281">
            <a:spAutoFit/>
          </a:bodyPr>
          <a:lstStyle/>
          <a:p>
            <a:pPr fontAlgn="base">
              <a:spcBef>
                <a:spcPct val="0"/>
              </a:spcBef>
              <a:spcAft>
                <a:spcPct val="0"/>
              </a:spcAft>
            </a:pPr>
            <a:r>
              <a:rPr lang="en-US" altLang="zh-CN" sz="900" dirty="0">
                <a:solidFill>
                  <a:schemeClr val="bg1"/>
                </a:solidFill>
                <a:latin typeface="FrutigerNext LT Medium" pitchFamily="34" charset="0"/>
              </a:rPr>
              <a:t>Household  PV plant</a:t>
            </a:r>
            <a:endParaRPr lang="en-US" altLang="zh-CN" sz="900" dirty="0">
              <a:solidFill>
                <a:schemeClr val="bg1"/>
              </a:solidFill>
              <a:latin typeface="FrutigerNext LT Medium" pitchFamily="34" charset="0"/>
            </a:endParaRPr>
          </a:p>
        </p:txBody>
      </p:sp>
      <p:sp>
        <p:nvSpPr>
          <p:cNvPr id="93" name="AutoShape 41"/>
          <p:cNvSpPr>
            <a:spLocks noChangeArrowheads="1"/>
          </p:cNvSpPr>
          <p:nvPr/>
        </p:nvSpPr>
        <p:spPr bwMode="auto">
          <a:xfrm>
            <a:off x="2033577" y="4221668"/>
            <a:ext cx="4989354" cy="324811"/>
          </a:xfrm>
          <a:prstGeom prst="roundRect">
            <a:avLst>
              <a:gd name="adj" fmla="val 30833"/>
            </a:avLst>
          </a:prstGeom>
          <a:noFill/>
          <a:ln w="9525">
            <a:noFill/>
            <a:round/>
            <a:headEnd/>
            <a:tailEnd/>
          </a:ln>
          <a:effectLst/>
        </p:spPr>
        <p:txBody>
          <a:bodyPr wrap="none" lIns="68561" tIns="34281" rIns="68561" bIns="34281" anchor="ctr"/>
          <a:lstStyle/>
          <a:p>
            <a:pPr algn="ctr" fontAlgn="base">
              <a:spcBef>
                <a:spcPct val="0"/>
              </a:spcBef>
              <a:spcAft>
                <a:spcPct val="0"/>
              </a:spcAft>
            </a:pPr>
            <a:r>
              <a:rPr lang="en-US" altLang="zh-CN" sz="2100" b="1" dirty="0">
                <a:solidFill>
                  <a:srgbClr val="FFFF00"/>
                </a:solidFill>
                <a:latin typeface="FrutigerNext LT Medium" pitchFamily="34" charset="0"/>
              </a:rPr>
              <a:t>Various Crossing Technology</a:t>
            </a:r>
            <a:endParaRPr lang="en-US" altLang="zh-CN" sz="2100" b="1" dirty="0">
              <a:solidFill>
                <a:srgbClr val="FFFF00"/>
              </a:solidFill>
              <a:latin typeface="FrutigerNext LT Medium" pitchFamily="34" charset="0"/>
            </a:endParaRPr>
          </a:p>
        </p:txBody>
      </p:sp>
    </p:spTree>
    <p:extLst>
      <p:ext uri="{BB962C8B-B14F-4D97-AF65-F5344CB8AC3E}">
        <p14:creationId xmlns:p14="http://schemas.microsoft.com/office/powerpoint/2010/main" val="400736863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1606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auto">
          <a:xfrm>
            <a:off x="4572795" y="2403709"/>
            <a:ext cx="4103644" cy="302446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71427" algn="ctr" fontAlgn="ctr">
              <a:buClr>
                <a:srgbClr val="990000"/>
              </a:buClr>
              <a:buSzPct val="60000"/>
            </a:pPr>
            <a:endParaRPr lang="zh-CN" altLang="en-US" sz="1500">
              <a:solidFill>
                <a:schemeClr val="bg1"/>
              </a:solidFill>
              <a:latin typeface="FrutigerNext LT Medium" pitchFamily="34" charset="0"/>
              <a:cs typeface="Arial" pitchFamily="34" charset="0"/>
            </a:endParaRPr>
          </a:p>
        </p:txBody>
      </p:sp>
      <p:sp>
        <p:nvSpPr>
          <p:cNvPr id="5" name="标题 1"/>
          <p:cNvSpPr txBox="1">
            <a:spLocks/>
          </p:cNvSpPr>
          <p:nvPr/>
        </p:nvSpPr>
        <p:spPr>
          <a:xfrm>
            <a:off x="360692" y="1107738"/>
            <a:ext cx="8424596" cy="702017"/>
          </a:xfrm>
          <a:prstGeom prst="rect">
            <a:avLst/>
          </a:prstGeom>
        </p:spPr>
        <p:txBody>
          <a:bodyPr vert="horz" lIns="91450" tIns="45725" rIns="91450" bIns="45725" rtlCol="0" anchor="ctr">
            <a:normAutofit/>
          </a:bodyPr>
          <a:lstStyle/>
          <a:p>
            <a:pPr defTabSz="914461" fontAlgn="auto">
              <a:spcAft>
                <a:spcPts val="0"/>
              </a:spcAft>
            </a:pPr>
            <a:r>
              <a:rPr lang="en-US" altLang="zh-CN" sz="2700" b="1" dirty="0">
                <a:solidFill>
                  <a:schemeClr val="bg1"/>
                </a:solidFill>
                <a:latin typeface="FrutigerNext LT Medium" panose="020B0603040504020204" pitchFamily="34" charset="0"/>
                <a:ea typeface="微软雅黑" pitchFamily="34" charset="-122"/>
                <a:cs typeface="+mj-cs"/>
              </a:rPr>
              <a:t>Huawei at a Glance</a:t>
            </a:r>
            <a:endParaRPr lang="zh-CN" altLang="en-US" sz="2700" b="1" dirty="0">
              <a:solidFill>
                <a:schemeClr val="bg1"/>
              </a:solidFill>
              <a:latin typeface="FrutigerNext LT Medium" panose="020B0603040504020204" pitchFamily="34" charset="0"/>
              <a:ea typeface="微软雅黑" pitchFamily="34" charset="-122"/>
              <a:cs typeface="+mj-cs"/>
            </a:endParaRPr>
          </a:p>
        </p:txBody>
      </p:sp>
      <p:sp>
        <p:nvSpPr>
          <p:cNvPr id="6" name="Rectangle 16"/>
          <p:cNvSpPr>
            <a:spLocks/>
          </p:cNvSpPr>
          <p:nvPr/>
        </p:nvSpPr>
        <p:spPr bwMode="auto">
          <a:xfrm>
            <a:off x="4859260" y="2674297"/>
            <a:ext cx="756617" cy="184666"/>
          </a:xfrm>
          <a:prstGeom prst="rect">
            <a:avLst/>
          </a:prstGeom>
          <a:noFill/>
          <a:ln w="12700" cap="rnd">
            <a:noFill/>
            <a:round/>
            <a:headEnd/>
            <a:tailEnd/>
          </a:ln>
        </p:spPr>
        <p:txBody>
          <a:bodyPr wrap="none" lIns="0" tIns="0" rIns="0" bIns="0">
            <a:spAutoFit/>
          </a:bodyPr>
          <a:lstStyle/>
          <a:p>
            <a:pPr defTabSz="685709">
              <a:defRPr/>
            </a:pPr>
            <a:r>
              <a:rPr lang="en-US" altLang="zh-CN" sz="1200" kern="0" dirty="0">
                <a:solidFill>
                  <a:schemeClr val="bg1"/>
                </a:solidFill>
                <a:latin typeface="FrutigerNext LT Medium" pitchFamily="34" charset="0"/>
                <a:ea typeface="微软雅黑" pitchFamily="34" charset="-122"/>
                <a:cs typeface="Arial" pitchFamily="34" charset="0"/>
                <a:sym typeface="FrutigerNext LT Regular" pitchFamily="34" charset="0"/>
              </a:rPr>
              <a:t>USD billion</a:t>
            </a:r>
            <a:endParaRPr lang="zh-CN" altLang="en-US" sz="1200" kern="0" dirty="0">
              <a:solidFill>
                <a:schemeClr val="bg1"/>
              </a:solidFill>
              <a:latin typeface="FrutigerNext LT Medium" pitchFamily="34" charset="0"/>
              <a:ea typeface="微软雅黑" pitchFamily="34" charset="-122"/>
              <a:cs typeface="Arial" pitchFamily="34" charset="0"/>
              <a:sym typeface="FrutigerNext LT Regular" pitchFamily="34" charset="0"/>
            </a:endParaRPr>
          </a:p>
        </p:txBody>
      </p:sp>
      <p:sp>
        <p:nvSpPr>
          <p:cNvPr id="7" name="Rectangle 7"/>
          <p:cNvSpPr>
            <a:spLocks/>
          </p:cNvSpPr>
          <p:nvPr/>
        </p:nvSpPr>
        <p:spPr bwMode="auto">
          <a:xfrm>
            <a:off x="6413859" y="3794032"/>
            <a:ext cx="221401" cy="1123406"/>
          </a:xfrm>
          <a:prstGeom prst="rect">
            <a:avLst/>
          </a:prstGeom>
          <a:solidFill>
            <a:schemeClr val="tx2">
              <a:lumMod val="60000"/>
              <a:lumOff val="40000"/>
            </a:schemeClr>
          </a:solidFill>
          <a:ln w="12700">
            <a:noFill/>
            <a:round/>
            <a:headEnd/>
            <a:tailEnd/>
          </a:ln>
        </p:spPr>
        <p:txBody>
          <a:bodyPr lIns="0" tIns="0" rIns="0" bIns="0"/>
          <a:lstStyle/>
          <a:p>
            <a:pPr defTabSz="685709">
              <a:buClr>
                <a:srgbClr val="CC9900"/>
              </a:buClr>
              <a:buFont typeface="Wingdings" pitchFamily="2" charset="2"/>
              <a:buChar char="n"/>
            </a:pPr>
            <a:endParaRPr lang="zh-CN" altLang="en-US" sz="1050" b="1">
              <a:solidFill>
                <a:schemeClr val="bg1"/>
              </a:solidFill>
              <a:latin typeface="FrutigerNext LT Medium" pitchFamily="34" charset="0"/>
              <a:ea typeface="微软雅黑" panose="020B0503020204020204" pitchFamily="34" charset="-122"/>
              <a:cs typeface="Arial" pitchFamily="34" charset="0"/>
            </a:endParaRPr>
          </a:p>
        </p:txBody>
      </p:sp>
      <p:sp>
        <p:nvSpPr>
          <p:cNvPr id="8" name="Rectangle 6"/>
          <p:cNvSpPr>
            <a:spLocks/>
          </p:cNvSpPr>
          <p:nvPr/>
        </p:nvSpPr>
        <p:spPr bwMode="auto">
          <a:xfrm>
            <a:off x="5285458" y="4119670"/>
            <a:ext cx="221401" cy="797768"/>
          </a:xfrm>
          <a:prstGeom prst="rect">
            <a:avLst/>
          </a:prstGeom>
          <a:solidFill>
            <a:schemeClr val="tx2">
              <a:lumMod val="60000"/>
              <a:lumOff val="40000"/>
            </a:schemeClr>
          </a:solidFill>
          <a:ln w="12700">
            <a:noFill/>
            <a:round/>
            <a:headEnd/>
            <a:tailEnd/>
          </a:ln>
        </p:spPr>
        <p:txBody>
          <a:bodyPr lIns="0" tIns="0" rIns="0" bIns="0"/>
          <a:lstStyle/>
          <a:p>
            <a:pPr defTabSz="685709">
              <a:buClr>
                <a:srgbClr val="CC9900"/>
              </a:buClr>
              <a:buFont typeface="Wingdings" pitchFamily="2" charset="2"/>
              <a:buChar char="n"/>
            </a:pPr>
            <a:endParaRPr lang="zh-CN" altLang="en-US" sz="1050" b="1">
              <a:solidFill>
                <a:schemeClr val="bg1"/>
              </a:solidFill>
              <a:latin typeface="FrutigerNext LT Medium" pitchFamily="34" charset="0"/>
              <a:ea typeface="微软雅黑" panose="020B0503020204020204" pitchFamily="34" charset="-122"/>
              <a:cs typeface="Arial" pitchFamily="34" charset="0"/>
            </a:endParaRPr>
          </a:p>
        </p:txBody>
      </p:sp>
      <p:sp>
        <p:nvSpPr>
          <p:cNvPr id="9" name="Rectangle 7"/>
          <p:cNvSpPr>
            <a:spLocks/>
          </p:cNvSpPr>
          <p:nvPr/>
        </p:nvSpPr>
        <p:spPr bwMode="auto">
          <a:xfrm>
            <a:off x="5849658" y="4040660"/>
            <a:ext cx="221401" cy="876777"/>
          </a:xfrm>
          <a:prstGeom prst="rect">
            <a:avLst/>
          </a:prstGeom>
          <a:solidFill>
            <a:schemeClr val="tx2">
              <a:lumMod val="60000"/>
              <a:lumOff val="40000"/>
            </a:schemeClr>
          </a:solidFill>
          <a:ln w="12700">
            <a:noFill/>
            <a:round/>
            <a:headEnd/>
            <a:tailEnd/>
          </a:ln>
        </p:spPr>
        <p:txBody>
          <a:bodyPr lIns="0" tIns="0" rIns="0" bIns="0"/>
          <a:lstStyle/>
          <a:p>
            <a:pPr>
              <a:buClr>
                <a:srgbClr val="CC9900"/>
              </a:buClr>
              <a:buFont typeface="Wingdings" pitchFamily="2" charset="2"/>
              <a:buChar char="n"/>
            </a:pPr>
            <a:endParaRPr lang="zh-CN" altLang="en-US" sz="1050" b="1">
              <a:solidFill>
                <a:schemeClr val="bg1"/>
              </a:solidFill>
              <a:latin typeface="FrutigerNext LT Medium" pitchFamily="34" charset="0"/>
              <a:ea typeface="微软雅黑" panose="020B0503020204020204" pitchFamily="34" charset="-122"/>
              <a:cs typeface="Arial" pitchFamily="34" charset="0"/>
            </a:endParaRPr>
          </a:p>
        </p:txBody>
      </p:sp>
      <p:sp>
        <p:nvSpPr>
          <p:cNvPr id="10" name="Rectangle 20"/>
          <p:cNvSpPr>
            <a:spLocks/>
          </p:cNvSpPr>
          <p:nvPr/>
        </p:nvSpPr>
        <p:spPr bwMode="auto">
          <a:xfrm>
            <a:off x="5230107" y="4965867"/>
            <a:ext cx="332101" cy="161583"/>
          </a:xfrm>
          <a:prstGeom prst="rect">
            <a:avLst/>
          </a:prstGeom>
          <a:noFill/>
          <a:ln w="12700" cap="rnd">
            <a:noFill/>
            <a:round/>
            <a:headEnd/>
            <a:tailEnd/>
          </a:ln>
        </p:spPr>
        <p:txBody>
          <a:bodyPr lIns="0" tIns="0" rIns="0" bIns="0">
            <a:spAutoFit/>
          </a:bodyPr>
          <a:lstStyle/>
          <a:p>
            <a:pPr algn="ctr" defTabSz="685709">
              <a:defRPr/>
            </a:pPr>
            <a:r>
              <a:rPr lang="en-US" altLang="zh-CN" sz="1050" kern="0" dirty="0">
                <a:solidFill>
                  <a:schemeClr val="bg1"/>
                </a:solidFill>
                <a:latin typeface="FrutigerNext LT Medium" pitchFamily="34" charset="0"/>
                <a:ea typeface="微软雅黑" panose="020B0503020204020204" pitchFamily="34" charset="-122"/>
                <a:cs typeface="Arial" pitchFamily="34" charset="0"/>
                <a:sym typeface="FrutigerNext LT Regular" pitchFamily="34" charset="0"/>
              </a:rPr>
              <a:t>2012</a:t>
            </a:r>
          </a:p>
        </p:txBody>
      </p:sp>
      <p:sp>
        <p:nvSpPr>
          <p:cNvPr id="11" name="Rectangle 21"/>
          <p:cNvSpPr>
            <a:spLocks/>
          </p:cNvSpPr>
          <p:nvPr/>
        </p:nvSpPr>
        <p:spPr bwMode="auto">
          <a:xfrm>
            <a:off x="5794308" y="4965869"/>
            <a:ext cx="332101" cy="161583"/>
          </a:xfrm>
          <a:prstGeom prst="rect">
            <a:avLst/>
          </a:prstGeom>
          <a:noFill/>
          <a:ln w="12700" cap="rnd">
            <a:noFill/>
            <a:round/>
            <a:headEnd/>
            <a:tailEnd/>
          </a:ln>
        </p:spPr>
        <p:txBody>
          <a:bodyPr lIns="0" tIns="0" rIns="0" bIns="0">
            <a:spAutoFit/>
          </a:bodyPr>
          <a:lstStyle/>
          <a:p>
            <a:pPr algn="ctr" defTabSz="685709">
              <a:defRPr/>
            </a:pPr>
            <a:r>
              <a:rPr lang="en-US" altLang="zh-CN" sz="1050" kern="0" dirty="0">
                <a:solidFill>
                  <a:schemeClr val="bg1"/>
                </a:solidFill>
                <a:latin typeface="FrutigerNext LT Medium" pitchFamily="34" charset="0"/>
                <a:ea typeface="微软雅黑" panose="020B0503020204020204" pitchFamily="34" charset="-122"/>
                <a:cs typeface="Arial" pitchFamily="34" charset="0"/>
                <a:sym typeface="FrutigerNext LT Regular" pitchFamily="34" charset="0"/>
              </a:rPr>
              <a:t>2013</a:t>
            </a:r>
          </a:p>
        </p:txBody>
      </p:sp>
      <p:sp>
        <p:nvSpPr>
          <p:cNvPr id="12" name="Rectangle 13"/>
          <p:cNvSpPr>
            <a:spLocks/>
          </p:cNvSpPr>
          <p:nvPr/>
        </p:nvSpPr>
        <p:spPr bwMode="auto">
          <a:xfrm>
            <a:off x="6114855" y="3641879"/>
            <a:ext cx="819408" cy="161583"/>
          </a:xfrm>
          <a:prstGeom prst="rect">
            <a:avLst/>
          </a:prstGeom>
          <a:noFill/>
          <a:ln w="12700" cap="rnd">
            <a:noFill/>
            <a:round/>
            <a:headEnd/>
            <a:tailEnd/>
          </a:ln>
        </p:spPr>
        <p:txBody>
          <a:bodyPr wrap="square" lIns="0" tIns="0" rIns="0" bIns="0">
            <a:spAutoFit/>
          </a:bodyPr>
          <a:lstStyle/>
          <a:p>
            <a:pPr algn="ctr" defTabSz="685709">
              <a:defRPr/>
            </a:pPr>
            <a:r>
              <a:rPr lang="en-US" altLang="zh-CN" sz="1050" kern="0" dirty="0">
                <a:solidFill>
                  <a:schemeClr val="bg1"/>
                </a:solidFill>
                <a:latin typeface="FrutigerNext LT Medium" pitchFamily="34" charset="0"/>
                <a:ea typeface="微软雅黑" pitchFamily="34" charset="-122"/>
                <a:cs typeface="Arial" pitchFamily="34" charset="0"/>
                <a:sym typeface="Impact" pitchFamily="34" charset="0"/>
              </a:rPr>
              <a:t>46.7</a:t>
            </a:r>
            <a:endParaRPr lang="en-US" altLang="zh-CN" sz="1050" kern="0" dirty="0">
              <a:solidFill>
                <a:schemeClr val="bg1"/>
              </a:solidFill>
              <a:latin typeface="FrutigerNext LT Medium" pitchFamily="34" charset="0"/>
              <a:ea typeface="微软雅黑" pitchFamily="34" charset="-122"/>
              <a:cs typeface="Arial" pitchFamily="34" charset="0"/>
              <a:sym typeface="Impact" pitchFamily="34" charset="0"/>
            </a:endParaRPr>
          </a:p>
        </p:txBody>
      </p:sp>
      <p:sp>
        <p:nvSpPr>
          <p:cNvPr id="13" name="Rectangle 21"/>
          <p:cNvSpPr>
            <a:spLocks/>
          </p:cNvSpPr>
          <p:nvPr/>
        </p:nvSpPr>
        <p:spPr bwMode="auto">
          <a:xfrm>
            <a:off x="6358508" y="4965868"/>
            <a:ext cx="332101" cy="161583"/>
          </a:xfrm>
          <a:prstGeom prst="rect">
            <a:avLst/>
          </a:prstGeom>
          <a:noFill/>
          <a:ln w="12700" cap="rnd">
            <a:noFill/>
            <a:round/>
            <a:headEnd/>
            <a:tailEnd/>
          </a:ln>
        </p:spPr>
        <p:txBody>
          <a:bodyPr lIns="0" tIns="0" rIns="0" bIns="0">
            <a:spAutoFit/>
          </a:bodyPr>
          <a:lstStyle/>
          <a:p>
            <a:pPr algn="ctr" defTabSz="685709">
              <a:defRPr/>
            </a:pPr>
            <a:r>
              <a:rPr lang="en-US" altLang="zh-CN" sz="1050" kern="0" dirty="0">
                <a:solidFill>
                  <a:schemeClr val="bg1"/>
                </a:solidFill>
                <a:latin typeface="FrutigerNext LT Medium" pitchFamily="34" charset="0"/>
                <a:ea typeface="微软雅黑" panose="020B0503020204020204" pitchFamily="34" charset="-122"/>
                <a:cs typeface="Arial" pitchFamily="34" charset="0"/>
                <a:sym typeface="FrutigerNext LT Regular" pitchFamily="34" charset="0"/>
              </a:rPr>
              <a:t>2014</a:t>
            </a:r>
          </a:p>
        </p:txBody>
      </p:sp>
      <p:sp>
        <p:nvSpPr>
          <p:cNvPr id="14" name="Rectangle 12"/>
          <p:cNvSpPr>
            <a:spLocks/>
          </p:cNvSpPr>
          <p:nvPr/>
        </p:nvSpPr>
        <p:spPr bwMode="auto">
          <a:xfrm>
            <a:off x="5230057" y="3980654"/>
            <a:ext cx="332101" cy="161583"/>
          </a:xfrm>
          <a:prstGeom prst="rect">
            <a:avLst/>
          </a:prstGeom>
          <a:noFill/>
          <a:ln w="12700" cap="rnd">
            <a:noFill/>
            <a:round/>
            <a:headEnd/>
            <a:tailEnd/>
          </a:ln>
        </p:spPr>
        <p:txBody>
          <a:bodyPr lIns="0" tIns="0" rIns="0" bIns="0">
            <a:spAutoFit/>
          </a:bodyPr>
          <a:lstStyle/>
          <a:p>
            <a:pPr algn="ctr" defTabSz="685709">
              <a:defRPr/>
            </a:pPr>
            <a:r>
              <a:rPr lang="en-US" altLang="zh-CN" sz="1050" kern="0" dirty="0">
                <a:solidFill>
                  <a:schemeClr val="bg1"/>
                </a:solidFill>
                <a:latin typeface="FrutigerNext LT Medium" pitchFamily="34" charset="0"/>
                <a:ea typeface="微软雅黑" panose="020B0503020204020204" pitchFamily="34" charset="-122"/>
                <a:cs typeface="Arial" pitchFamily="34" charset="0"/>
                <a:sym typeface="FrutigerNext LT Regular" pitchFamily="34" charset="0"/>
              </a:rPr>
              <a:t>35.4</a:t>
            </a:r>
            <a:endParaRPr lang="en-US" altLang="zh-CN" sz="1050" kern="0" dirty="0">
              <a:solidFill>
                <a:schemeClr val="bg1"/>
              </a:solidFill>
              <a:latin typeface="FrutigerNext LT Medium" pitchFamily="34" charset="0"/>
              <a:ea typeface="微软雅黑" panose="020B0503020204020204" pitchFamily="34" charset="-122"/>
              <a:cs typeface="Arial" pitchFamily="34" charset="0"/>
              <a:sym typeface="FrutigerNext LT Regular" pitchFamily="34" charset="0"/>
            </a:endParaRPr>
          </a:p>
        </p:txBody>
      </p:sp>
      <p:sp>
        <p:nvSpPr>
          <p:cNvPr id="15" name="Rectangle 13"/>
          <p:cNvSpPr>
            <a:spLocks/>
          </p:cNvSpPr>
          <p:nvPr/>
        </p:nvSpPr>
        <p:spPr bwMode="auto">
          <a:xfrm>
            <a:off x="5794232" y="3867830"/>
            <a:ext cx="332101" cy="161583"/>
          </a:xfrm>
          <a:prstGeom prst="rect">
            <a:avLst/>
          </a:prstGeom>
          <a:noFill/>
          <a:ln w="12700" cap="rnd">
            <a:noFill/>
            <a:round/>
            <a:headEnd/>
            <a:tailEnd/>
          </a:ln>
        </p:spPr>
        <p:txBody>
          <a:bodyPr lIns="0" tIns="0" rIns="0" bIns="0">
            <a:spAutoFit/>
          </a:bodyPr>
          <a:lstStyle/>
          <a:p>
            <a:pPr algn="ctr" defTabSz="685709"/>
            <a:r>
              <a:rPr lang="en-US" altLang="zh-CN" sz="1050" kern="0" dirty="0">
                <a:solidFill>
                  <a:schemeClr val="bg1"/>
                </a:solidFill>
                <a:latin typeface="FrutigerNext LT Medium" pitchFamily="34" charset="0"/>
                <a:ea typeface="微软雅黑" panose="020B0503020204020204" pitchFamily="34" charset="-122"/>
                <a:cs typeface="Arial" pitchFamily="34" charset="0"/>
                <a:sym typeface="Impact" pitchFamily="34" charset="0"/>
              </a:rPr>
              <a:t>39.3</a:t>
            </a:r>
            <a:endParaRPr lang="en-US" altLang="zh-CN" sz="1050" kern="0" dirty="0">
              <a:solidFill>
                <a:schemeClr val="bg1"/>
              </a:solidFill>
              <a:latin typeface="FrutigerNext LT Medium" pitchFamily="34" charset="0"/>
              <a:ea typeface="微软雅黑" panose="020B0503020204020204" pitchFamily="34" charset="-122"/>
              <a:cs typeface="Arial" pitchFamily="34" charset="0"/>
              <a:sym typeface="Impact" pitchFamily="34" charset="0"/>
            </a:endParaRPr>
          </a:p>
        </p:txBody>
      </p:sp>
      <p:sp>
        <p:nvSpPr>
          <p:cNvPr id="16" name="Rectangle 7"/>
          <p:cNvSpPr>
            <a:spLocks/>
          </p:cNvSpPr>
          <p:nvPr/>
        </p:nvSpPr>
        <p:spPr bwMode="auto">
          <a:xfrm>
            <a:off x="7526091" y="2691485"/>
            <a:ext cx="244580" cy="2225952"/>
          </a:xfrm>
          <a:prstGeom prst="rect">
            <a:avLst/>
          </a:prstGeom>
          <a:solidFill>
            <a:srgbClr val="FFC000"/>
          </a:solidFill>
          <a:ln w="9525">
            <a:noFill/>
            <a:miter lim="800000"/>
            <a:headEnd/>
            <a:tailEnd/>
          </a:ln>
        </p:spPr>
        <p:txBody>
          <a:bodyPr lIns="0" tIns="0" rIns="0" bIns="0"/>
          <a:lstStyle/>
          <a:p>
            <a:pPr defTabSz="685709">
              <a:defRPr/>
            </a:pPr>
            <a:endParaRPr lang="zh-CN" altLang="en-US" sz="787" kern="0">
              <a:solidFill>
                <a:schemeClr val="bg1"/>
              </a:solidFill>
              <a:latin typeface="FrutigerNext LT Medium" pitchFamily="34" charset="0"/>
              <a:ea typeface="微软雅黑" panose="020B0503020204020204" pitchFamily="34" charset="-122"/>
              <a:cs typeface="Arial" pitchFamily="34" charset="0"/>
            </a:endParaRPr>
          </a:p>
        </p:txBody>
      </p:sp>
      <p:sp>
        <p:nvSpPr>
          <p:cNvPr id="17" name="Rectangle 13"/>
          <p:cNvSpPr>
            <a:spLocks/>
          </p:cNvSpPr>
          <p:nvPr/>
        </p:nvSpPr>
        <p:spPr bwMode="auto">
          <a:xfrm>
            <a:off x="6674716" y="3228191"/>
            <a:ext cx="819408" cy="161583"/>
          </a:xfrm>
          <a:prstGeom prst="rect">
            <a:avLst/>
          </a:prstGeom>
          <a:noFill/>
          <a:ln w="12700" cap="rnd">
            <a:noFill/>
            <a:round/>
            <a:headEnd/>
            <a:tailEnd/>
          </a:ln>
        </p:spPr>
        <p:txBody>
          <a:bodyPr wrap="square" lIns="0" tIns="0" rIns="0" bIns="0">
            <a:spAutoFit/>
          </a:bodyPr>
          <a:lstStyle/>
          <a:p>
            <a:pPr algn="ctr" defTabSz="685709">
              <a:defRPr/>
            </a:pPr>
            <a:r>
              <a:rPr lang="en-US" altLang="zh-CN" sz="1050" kern="0" dirty="0">
                <a:solidFill>
                  <a:schemeClr val="bg1"/>
                </a:solidFill>
                <a:latin typeface="FrutigerNext LT Medium" pitchFamily="34" charset="0"/>
                <a:ea typeface="微软雅黑" pitchFamily="34" charset="-122"/>
                <a:cs typeface="Arial" pitchFamily="34" charset="0"/>
                <a:sym typeface="Impact" pitchFamily="34" charset="0"/>
              </a:rPr>
              <a:t>61.3</a:t>
            </a:r>
            <a:endParaRPr lang="en-US" altLang="zh-CN" sz="1050" kern="0" dirty="0">
              <a:solidFill>
                <a:schemeClr val="bg1"/>
              </a:solidFill>
              <a:latin typeface="FrutigerNext LT Medium" pitchFamily="34" charset="0"/>
              <a:ea typeface="微软雅黑" pitchFamily="34" charset="-122"/>
              <a:cs typeface="Arial" pitchFamily="34" charset="0"/>
              <a:sym typeface="Impact" pitchFamily="34" charset="0"/>
            </a:endParaRPr>
          </a:p>
        </p:txBody>
      </p:sp>
      <p:sp>
        <p:nvSpPr>
          <p:cNvPr id="18" name="Rectangle 21"/>
          <p:cNvSpPr>
            <a:spLocks/>
          </p:cNvSpPr>
          <p:nvPr/>
        </p:nvSpPr>
        <p:spPr bwMode="auto">
          <a:xfrm>
            <a:off x="6737903" y="4965868"/>
            <a:ext cx="610614" cy="161583"/>
          </a:xfrm>
          <a:prstGeom prst="rect">
            <a:avLst/>
          </a:prstGeom>
          <a:noFill/>
          <a:ln w="12700" cap="rnd">
            <a:noFill/>
            <a:round/>
            <a:headEnd/>
            <a:tailEnd/>
          </a:ln>
        </p:spPr>
        <p:txBody>
          <a:bodyPr wrap="square" lIns="0" tIns="0" rIns="0" bIns="0">
            <a:spAutoFit/>
          </a:bodyPr>
          <a:lstStyle/>
          <a:p>
            <a:pPr algn="ctr" defTabSz="685709">
              <a:defRPr/>
            </a:pPr>
            <a:r>
              <a:rPr lang="en-US" altLang="zh-CN" sz="1050" kern="0" dirty="0">
                <a:solidFill>
                  <a:schemeClr val="bg1"/>
                </a:solidFill>
                <a:latin typeface="FrutigerNext LT Medium" pitchFamily="34" charset="0"/>
                <a:ea typeface="微软雅黑" panose="020B0503020204020204" pitchFamily="34" charset="-122"/>
                <a:cs typeface="Arial" pitchFamily="34" charset="0"/>
                <a:sym typeface="FrutigerNext LT Regular" pitchFamily="34" charset="0"/>
              </a:rPr>
              <a:t>2015</a:t>
            </a:r>
          </a:p>
        </p:txBody>
      </p:sp>
      <p:sp>
        <p:nvSpPr>
          <p:cNvPr id="19" name="Rectangle 7"/>
          <p:cNvSpPr>
            <a:spLocks/>
          </p:cNvSpPr>
          <p:nvPr/>
        </p:nvSpPr>
        <p:spPr bwMode="auto">
          <a:xfrm>
            <a:off x="6965554" y="3368463"/>
            <a:ext cx="221401" cy="1548975"/>
          </a:xfrm>
          <a:prstGeom prst="rect">
            <a:avLst/>
          </a:prstGeom>
          <a:solidFill>
            <a:schemeClr val="tx2">
              <a:lumMod val="60000"/>
              <a:lumOff val="40000"/>
            </a:schemeClr>
          </a:solidFill>
          <a:ln w="12700">
            <a:noFill/>
            <a:round/>
            <a:headEnd/>
            <a:tailEnd/>
          </a:ln>
        </p:spPr>
        <p:txBody>
          <a:bodyPr lIns="0" tIns="0" rIns="0" bIns="0"/>
          <a:lstStyle/>
          <a:p>
            <a:pPr defTabSz="685709">
              <a:buClr>
                <a:srgbClr val="CC9900"/>
              </a:buClr>
              <a:buFont typeface="Wingdings" pitchFamily="2" charset="2"/>
              <a:buChar char="n"/>
            </a:pPr>
            <a:endParaRPr lang="zh-CN" altLang="en-US" sz="1050" b="1">
              <a:solidFill>
                <a:schemeClr val="bg1"/>
              </a:solidFill>
              <a:latin typeface="FrutigerNext LT Medium" pitchFamily="34" charset="0"/>
              <a:ea typeface="微软雅黑" panose="020B0503020204020204" pitchFamily="34" charset="-122"/>
              <a:cs typeface="Arial" pitchFamily="34" charset="0"/>
            </a:endParaRPr>
          </a:p>
        </p:txBody>
      </p:sp>
      <p:sp>
        <p:nvSpPr>
          <p:cNvPr id="20" name="文本框 52"/>
          <p:cNvSpPr txBox="1"/>
          <p:nvPr/>
        </p:nvSpPr>
        <p:spPr>
          <a:xfrm>
            <a:off x="7494123" y="2466841"/>
            <a:ext cx="569459" cy="276999"/>
          </a:xfrm>
          <a:prstGeom prst="rect">
            <a:avLst/>
          </a:prstGeom>
          <a:noFill/>
        </p:spPr>
        <p:txBody>
          <a:bodyPr wrap="square" rtlCol="0">
            <a:spAutoFit/>
          </a:bodyPr>
          <a:lstStyle/>
          <a:p>
            <a:pPr>
              <a:buNone/>
            </a:pPr>
            <a:r>
              <a:rPr lang="en-US" altLang="zh-CN" sz="1200" b="1" dirty="0">
                <a:solidFill>
                  <a:schemeClr val="bg1"/>
                </a:solidFill>
                <a:latin typeface="FrutigerNext LT Medium" pitchFamily="34" charset="0"/>
                <a:ea typeface="微软雅黑" panose="020B0503020204020204" pitchFamily="34" charset="-122"/>
              </a:rPr>
              <a:t>75 *</a:t>
            </a:r>
            <a:endParaRPr lang="zh-CN" altLang="en-US" sz="1200" dirty="0">
              <a:solidFill>
                <a:schemeClr val="bg1"/>
              </a:solidFill>
              <a:latin typeface="FrutigerNext LT Medium" pitchFamily="34" charset="0"/>
              <a:ea typeface="微软雅黑" panose="020B0503020204020204" pitchFamily="34" charset="-122"/>
            </a:endParaRPr>
          </a:p>
        </p:txBody>
      </p:sp>
      <p:sp>
        <p:nvSpPr>
          <p:cNvPr id="21" name="Rectangle 21"/>
          <p:cNvSpPr>
            <a:spLocks/>
          </p:cNvSpPr>
          <p:nvPr/>
        </p:nvSpPr>
        <p:spPr bwMode="auto">
          <a:xfrm>
            <a:off x="7344422" y="4940116"/>
            <a:ext cx="610614" cy="161583"/>
          </a:xfrm>
          <a:prstGeom prst="rect">
            <a:avLst/>
          </a:prstGeom>
          <a:noFill/>
          <a:ln w="12700" cap="rnd">
            <a:noFill/>
            <a:round/>
            <a:headEnd/>
            <a:tailEnd/>
          </a:ln>
        </p:spPr>
        <p:txBody>
          <a:bodyPr wrap="square" lIns="0" tIns="0" rIns="0" bIns="0">
            <a:spAutoFit/>
          </a:bodyPr>
          <a:lstStyle/>
          <a:p>
            <a:pPr algn="ctr" defTabSz="685709">
              <a:defRPr/>
            </a:pPr>
            <a:r>
              <a:rPr lang="en-US" altLang="zh-CN" sz="1050" kern="0" dirty="0">
                <a:solidFill>
                  <a:schemeClr val="bg1"/>
                </a:solidFill>
                <a:latin typeface="FrutigerNext LT Medium" pitchFamily="34" charset="0"/>
                <a:ea typeface="微软雅黑" panose="020B0503020204020204" pitchFamily="34" charset="-122"/>
                <a:cs typeface="Arial" pitchFamily="34" charset="0"/>
                <a:sym typeface="FrutigerNext LT Regular" pitchFamily="34" charset="0"/>
              </a:rPr>
              <a:t>2016</a:t>
            </a:r>
            <a:endParaRPr lang="en-US" altLang="zh-CN" sz="1050" kern="0" dirty="0">
              <a:solidFill>
                <a:schemeClr val="bg1"/>
              </a:solidFill>
              <a:latin typeface="FrutigerNext LT Medium" pitchFamily="34" charset="0"/>
              <a:ea typeface="微软雅黑" panose="020B0503020204020204" pitchFamily="34" charset="-122"/>
              <a:cs typeface="Arial" pitchFamily="34" charset="0"/>
              <a:sym typeface="FrutigerNext LT Regular" pitchFamily="34" charset="0"/>
            </a:endParaRPr>
          </a:p>
        </p:txBody>
      </p:sp>
      <p:sp>
        <p:nvSpPr>
          <p:cNvPr id="22" name="Rectangle 1"/>
          <p:cNvSpPr>
            <a:spLocks/>
          </p:cNvSpPr>
          <p:nvPr/>
        </p:nvSpPr>
        <p:spPr bwMode="auto">
          <a:xfrm>
            <a:off x="4572795" y="1863756"/>
            <a:ext cx="4104491" cy="53995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1219444" rtl="0" eaLnBrk="1" latinLnBrk="0" hangingPunct="1">
              <a:defRPr sz="2400" kern="1200">
                <a:solidFill>
                  <a:schemeClr val="lt1"/>
                </a:solidFill>
                <a:latin typeface="+mn-lt"/>
                <a:ea typeface="+mn-ea"/>
                <a:cs typeface="+mn-cs"/>
              </a:defRPr>
            </a:lvl1pPr>
            <a:lvl2pPr marL="609722" algn="l" defTabSz="1219444" rtl="0" eaLnBrk="1" latinLnBrk="0" hangingPunct="1">
              <a:defRPr sz="2400" kern="1200">
                <a:solidFill>
                  <a:schemeClr val="lt1"/>
                </a:solidFill>
                <a:latin typeface="+mn-lt"/>
                <a:ea typeface="+mn-ea"/>
                <a:cs typeface="+mn-cs"/>
              </a:defRPr>
            </a:lvl2pPr>
            <a:lvl3pPr marL="1219444" algn="l" defTabSz="1219444" rtl="0" eaLnBrk="1" latinLnBrk="0" hangingPunct="1">
              <a:defRPr sz="2400" kern="1200">
                <a:solidFill>
                  <a:schemeClr val="lt1"/>
                </a:solidFill>
                <a:latin typeface="+mn-lt"/>
                <a:ea typeface="+mn-ea"/>
                <a:cs typeface="+mn-cs"/>
              </a:defRPr>
            </a:lvl3pPr>
            <a:lvl4pPr marL="1829166" algn="l" defTabSz="1219444" rtl="0" eaLnBrk="1" latinLnBrk="0" hangingPunct="1">
              <a:defRPr sz="2400" kern="1200">
                <a:solidFill>
                  <a:schemeClr val="lt1"/>
                </a:solidFill>
                <a:latin typeface="+mn-lt"/>
                <a:ea typeface="+mn-ea"/>
                <a:cs typeface="+mn-cs"/>
              </a:defRPr>
            </a:lvl4pPr>
            <a:lvl5pPr marL="2438888" algn="l" defTabSz="1219444" rtl="0" eaLnBrk="1" latinLnBrk="0" hangingPunct="1">
              <a:defRPr sz="2400" kern="1200">
                <a:solidFill>
                  <a:schemeClr val="lt1"/>
                </a:solidFill>
                <a:latin typeface="+mn-lt"/>
                <a:ea typeface="+mn-ea"/>
                <a:cs typeface="+mn-cs"/>
              </a:defRPr>
            </a:lvl5pPr>
            <a:lvl6pPr marL="3048610" algn="l" defTabSz="1219444" rtl="0" eaLnBrk="1" latinLnBrk="0" hangingPunct="1">
              <a:defRPr sz="2400" kern="1200">
                <a:solidFill>
                  <a:schemeClr val="lt1"/>
                </a:solidFill>
                <a:latin typeface="+mn-lt"/>
                <a:ea typeface="+mn-ea"/>
                <a:cs typeface="+mn-cs"/>
              </a:defRPr>
            </a:lvl6pPr>
            <a:lvl7pPr marL="3658332" algn="l" defTabSz="1219444" rtl="0" eaLnBrk="1" latinLnBrk="0" hangingPunct="1">
              <a:defRPr sz="2400" kern="1200">
                <a:solidFill>
                  <a:schemeClr val="lt1"/>
                </a:solidFill>
                <a:latin typeface="+mn-lt"/>
                <a:ea typeface="+mn-ea"/>
                <a:cs typeface="+mn-cs"/>
              </a:defRPr>
            </a:lvl7pPr>
            <a:lvl8pPr marL="4268053" algn="l" defTabSz="1219444" rtl="0" eaLnBrk="1" latinLnBrk="0" hangingPunct="1">
              <a:defRPr sz="2400" kern="1200">
                <a:solidFill>
                  <a:schemeClr val="lt1"/>
                </a:solidFill>
                <a:latin typeface="+mn-lt"/>
                <a:ea typeface="+mn-ea"/>
                <a:cs typeface="+mn-cs"/>
              </a:defRPr>
            </a:lvl8pPr>
            <a:lvl9pPr marL="4877775" algn="l" defTabSz="1219444" rtl="0" eaLnBrk="1" latinLnBrk="0" hangingPunct="1">
              <a:defRPr sz="2400" kern="1200">
                <a:solidFill>
                  <a:schemeClr val="lt1"/>
                </a:solidFill>
                <a:latin typeface="+mn-lt"/>
                <a:ea typeface="+mn-ea"/>
                <a:cs typeface="+mn-cs"/>
              </a:defRPr>
            </a:lvl9pPr>
          </a:lstStyle>
          <a:p>
            <a:pPr algn="ctr" defTabSz="685709">
              <a:buClr>
                <a:srgbClr val="CC9900"/>
              </a:buClr>
            </a:pPr>
            <a:r>
              <a:rPr lang="en-US" altLang="zh-CN" sz="1800" b="1" dirty="0">
                <a:solidFill>
                  <a:srgbClr val="FFFFFF"/>
                </a:solidFill>
                <a:latin typeface="FrutigerNext LT Medium" pitchFamily="34" charset="0"/>
                <a:ea typeface="微软雅黑" pitchFamily="34" charset="-122"/>
                <a:cs typeface="Arial" pitchFamily="34" charset="0"/>
                <a:sym typeface="FrutigerNext LT Medium" pitchFamily="34" charset="0"/>
              </a:rPr>
              <a:t>Sales Revenue</a:t>
            </a:r>
            <a:endParaRPr lang="en-US" altLang="zh-CN" sz="1800" b="1" dirty="0">
              <a:solidFill>
                <a:srgbClr val="FFFFFF"/>
              </a:solidFill>
              <a:latin typeface="FrutigerNext LT Medium" pitchFamily="34" charset="0"/>
              <a:ea typeface="微软雅黑" pitchFamily="34" charset="-122"/>
              <a:cs typeface="Arial" pitchFamily="34" charset="0"/>
              <a:sym typeface="FrutigerNext LT Medium" pitchFamily="34" charset="0"/>
            </a:endParaRPr>
          </a:p>
        </p:txBody>
      </p:sp>
      <p:sp>
        <p:nvSpPr>
          <p:cNvPr id="23" name="椭圆 22"/>
          <p:cNvSpPr>
            <a:spLocks/>
          </p:cNvSpPr>
          <p:nvPr/>
        </p:nvSpPr>
        <p:spPr bwMode="auto">
          <a:xfrm>
            <a:off x="4735189" y="1756274"/>
            <a:ext cx="703505" cy="703505"/>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1219444" rtl="0" eaLnBrk="1" latinLnBrk="0" hangingPunct="1">
              <a:defRPr sz="2400" kern="1200">
                <a:solidFill>
                  <a:schemeClr val="lt1"/>
                </a:solidFill>
                <a:latin typeface="+mn-lt"/>
                <a:ea typeface="+mn-ea"/>
                <a:cs typeface="+mn-cs"/>
              </a:defRPr>
            </a:lvl1pPr>
            <a:lvl2pPr marL="609722" algn="l" defTabSz="1219444" rtl="0" eaLnBrk="1" latinLnBrk="0" hangingPunct="1">
              <a:defRPr sz="2400" kern="1200">
                <a:solidFill>
                  <a:schemeClr val="lt1"/>
                </a:solidFill>
                <a:latin typeface="+mn-lt"/>
                <a:ea typeface="+mn-ea"/>
                <a:cs typeface="+mn-cs"/>
              </a:defRPr>
            </a:lvl2pPr>
            <a:lvl3pPr marL="1219444" algn="l" defTabSz="1219444" rtl="0" eaLnBrk="1" latinLnBrk="0" hangingPunct="1">
              <a:defRPr sz="2400" kern="1200">
                <a:solidFill>
                  <a:schemeClr val="lt1"/>
                </a:solidFill>
                <a:latin typeface="+mn-lt"/>
                <a:ea typeface="+mn-ea"/>
                <a:cs typeface="+mn-cs"/>
              </a:defRPr>
            </a:lvl3pPr>
            <a:lvl4pPr marL="1829166" algn="l" defTabSz="1219444" rtl="0" eaLnBrk="1" latinLnBrk="0" hangingPunct="1">
              <a:defRPr sz="2400" kern="1200">
                <a:solidFill>
                  <a:schemeClr val="lt1"/>
                </a:solidFill>
                <a:latin typeface="+mn-lt"/>
                <a:ea typeface="+mn-ea"/>
                <a:cs typeface="+mn-cs"/>
              </a:defRPr>
            </a:lvl4pPr>
            <a:lvl5pPr marL="2438888" algn="l" defTabSz="1219444" rtl="0" eaLnBrk="1" latinLnBrk="0" hangingPunct="1">
              <a:defRPr sz="2400" kern="1200">
                <a:solidFill>
                  <a:schemeClr val="lt1"/>
                </a:solidFill>
                <a:latin typeface="+mn-lt"/>
                <a:ea typeface="+mn-ea"/>
                <a:cs typeface="+mn-cs"/>
              </a:defRPr>
            </a:lvl5pPr>
            <a:lvl6pPr marL="3048610" algn="l" defTabSz="1219444" rtl="0" eaLnBrk="1" latinLnBrk="0" hangingPunct="1">
              <a:defRPr sz="2400" kern="1200">
                <a:solidFill>
                  <a:schemeClr val="lt1"/>
                </a:solidFill>
                <a:latin typeface="+mn-lt"/>
                <a:ea typeface="+mn-ea"/>
                <a:cs typeface="+mn-cs"/>
              </a:defRPr>
            </a:lvl6pPr>
            <a:lvl7pPr marL="3658332" algn="l" defTabSz="1219444" rtl="0" eaLnBrk="1" latinLnBrk="0" hangingPunct="1">
              <a:defRPr sz="2400" kern="1200">
                <a:solidFill>
                  <a:schemeClr val="lt1"/>
                </a:solidFill>
                <a:latin typeface="+mn-lt"/>
                <a:ea typeface="+mn-ea"/>
                <a:cs typeface="+mn-cs"/>
              </a:defRPr>
            </a:lvl7pPr>
            <a:lvl8pPr marL="4268053" algn="l" defTabSz="1219444" rtl="0" eaLnBrk="1" latinLnBrk="0" hangingPunct="1">
              <a:defRPr sz="2400" kern="1200">
                <a:solidFill>
                  <a:schemeClr val="lt1"/>
                </a:solidFill>
                <a:latin typeface="+mn-lt"/>
                <a:ea typeface="+mn-ea"/>
                <a:cs typeface="+mn-cs"/>
              </a:defRPr>
            </a:lvl8pPr>
            <a:lvl9pPr marL="4877775" algn="l" defTabSz="1219444" rtl="0" eaLnBrk="1" latinLnBrk="0" hangingPunct="1">
              <a:defRPr sz="2400" kern="1200">
                <a:solidFill>
                  <a:schemeClr val="lt1"/>
                </a:solidFill>
                <a:latin typeface="+mn-lt"/>
                <a:ea typeface="+mn-ea"/>
                <a:cs typeface="+mn-cs"/>
              </a:defRPr>
            </a:lvl9pPr>
          </a:lstStyle>
          <a:p>
            <a:pPr indent="-171427" algn="ctr" fontAlgn="ctr">
              <a:buClr>
                <a:srgbClr val="990000"/>
              </a:buClr>
              <a:buSzPct val="60000"/>
            </a:pPr>
            <a:endParaRPr lang="zh-CN" altLang="en-US" sz="1350" dirty="0">
              <a:latin typeface="FrutigerNext LT Medium" pitchFamily="34" charset="0"/>
              <a:cs typeface="Arial" pitchFamily="34" charset="0"/>
            </a:endParaRPr>
          </a:p>
        </p:txBody>
      </p:sp>
      <p:sp>
        <p:nvSpPr>
          <p:cNvPr id="24" name="Freeform 5"/>
          <p:cNvSpPr>
            <a:spLocks noChangeAspect="1" noEditPoints="1"/>
          </p:cNvSpPr>
          <p:nvPr/>
        </p:nvSpPr>
        <p:spPr bwMode="auto">
          <a:xfrm>
            <a:off x="4899580" y="1957856"/>
            <a:ext cx="381511" cy="351752"/>
          </a:xfrm>
          <a:custGeom>
            <a:avLst/>
            <a:gdLst>
              <a:gd name="T0" fmla="*/ 1002 w 1340"/>
              <a:gd name="T1" fmla="*/ 426 h 1134"/>
              <a:gd name="T2" fmla="*/ 972 w 1340"/>
              <a:gd name="T3" fmla="*/ 456 h 1134"/>
              <a:gd name="T4" fmla="*/ 966 w 1340"/>
              <a:gd name="T5" fmla="*/ 948 h 1134"/>
              <a:gd name="T6" fmla="*/ 984 w 1340"/>
              <a:gd name="T7" fmla="*/ 988 h 1134"/>
              <a:gd name="T8" fmla="*/ 1024 w 1340"/>
              <a:gd name="T9" fmla="*/ 1004 h 1134"/>
              <a:gd name="T10" fmla="*/ 1144 w 1340"/>
              <a:gd name="T11" fmla="*/ 1000 h 1134"/>
              <a:gd name="T12" fmla="*/ 1174 w 1340"/>
              <a:gd name="T13" fmla="*/ 970 h 1134"/>
              <a:gd name="T14" fmla="*/ 1178 w 1340"/>
              <a:gd name="T15" fmla="*/ 480 h 1134"/>
              <a:gd name="T16" fmla="*/ 1162 w 1340"/>
              <a:gd name="T17" fmla="*/ 438 h 1134"/>
              <a:gd name="T18" fmla="*/ 1122 w 1340"/>
              <a:gd name="T19" fmla="*/ 422 h 1134"/>
              <a:gd name="T20" fmla="*/ 56 w 1340"/>
              <a:gd name="T21" fmla="*/ 28 h 1134"/>
              <a:gd name="T22" fmla="*/ 40 w 1340"/>
              <a:gd name="T23" fmla="*/ 2 h 1134"/>
              <a:gd name="T24" fmla="*/ 8 w 1340"/>
              <a:gd name="T25" fmla="*/ 8 h 1134"/>
              <a:gd name="T26" fmla="*/ 0 w 1340"/>
              <a:gd name="T27" fmla="*/ 1106 h 1134"/>
              <a:gd name="T28" fmla="*/ 8 w 1340"/>
              <a:gd name="T29" fmla="*/ 1126 h 1134"/>
              <a:gd name="T30" fmla="*/ 1312 w 1340"/>
              <a:gd name="T31" fmla="*/ 1134 h 1134"/>
              <a:gd name="T32" fmla="*/ 1340 w 1340"/>
              <a:gd name="T33" fmla="*/ 1106 h 1134"/>
              <a:gd name="T34" fmla="*/ 1324 w 1340"/>
              <a:gd name="T35" fmla="*/ 1080 h 1134"/>
              <a:gd name="T36" fmla="*/ 468 w 1340"/>
              <a:gd name="T37" fmla="*/ 536 h 1134"/>
              <a:gd name="T38" fmla="*/ 430 w 1340"/>
              <a:gd name="T39" fmla="*/ 552 h 1134"/>
              <a:gd name="T40" fmla="*/ 414 w 1340"/>
              <a:gd name="T41" fmla="*/ 590 h 1134"/>
              <a:gd name="T42" fmla="*/ 418 w 1340"/>
              <a:gd name="T43" fmla="*/ 972 h 1134"/>
              <a:gd name="T44" fmla="*/ 448 w 1340"/>
              <a:gd name="T45" fmla="*/ 1000 h 1134"/>
              <a:gd name="T46" fmla="*/ 572 w 1340"/>
              <a:gd name="T47" fmla="*/ 1004 h 1134"/>
              <a:gd name="T48" fmla="*/ 610 w 1340"/>
              <a:gd name="T49" fmla="*/ 988 h 1134"/>
              <a:gd name="T50" fmla="*/ 626 w 1340"/>
              <a:gd name="T51" fmla="*/ 950 h 1134"/>
              <a:gd name="T52" fmla="*/ 622 w 1340"/>
              <a:gd name="T53" fmla="*/ 570 h 1134"/>
              <a:gd name="T54" fmla="*/ 592 w 1340"/>
              <a:gd name="T55" fmla="*/ 540 h 1134"/>
              <a:gd name="T56" fmla="*/ 200 w 1340"/>
              <a:gd name="T57" fmla="*/ 782 h 1134"/>
              <a:gd name="T58" fmla="*/ 168 w 1340"/>
              <a:gd name="T59" fmla="*/ 792 h 1134"/>
              <a:gd name="T60" fmla="*/ 146 w 1340"/>
              <a:gd name="T61" fmla="*/ 826 h 1134"/>
              <a:gd name="T62" fmla="*/ 146 w 1340"/>
              <a:gd name="T63" fmla="*/ 962 h 1134"/>
              <a:gd name="T64" fmla="*/ 168 w 1340"/>
              <a:gd name="T65" fmla="*/ 996 h 1134"/>
              <a:gd name="T66" fmla="*/ 302 w 1340"/>
              <a:gd name="T67" fmla="*/ 1004 h 1134"/>
              <a:gd name="T68" fmla="*/ 332 w 1340"/>
              <a:gd name="T69" fmla="*/ 996 h 1134"/>
              <a:gd name="T70" fmla="*/ 356 w 1340"/>
              <a:gd name="T71" fmla="*/ 962 h 1134"/>
              <a:gd name="T72" fmla="*/ 356 w 1340"/>
              <a:gd name="T73" fmla="*/ 826 h 1134"/>
              <a:gd name="T74" fmla="*/ 332 w 1340"/>
              <a:gd name="T75" fmla="*/ 792 h 1134"/>
              <a:gd name="T76" fmla="*/ 200 w 1340"/>
              <a:gd name="T77" fmla="*/ 782 h 1134"/>
              <a:gd name="T78" fmla="*/ 716 w 1340"/>
              <a:gd name="T79" fmla="*/ 652 h 1134"/>
              <a:gd name="T80" fmla="*/ 688 w 1340"/>
              <a:gd name="T81" fmla="*/ 682 h 1134"/>
              <a:gd name="T82" fmla="*/ 684 w 1340"/>
              <a:gd name="T83" fmla="*/ 950 h 1134"/>
              <a:gd name="T84" fmla="*/ 700 w 1340"/>
              <a:gd name="T85" fmla="*/ 988 h 1134"/>
              <a:gd name="T86" fmla="*/ 738 w 1340"/>
              <a:gd name="T87" fmla="*/ 1004 h 1134"/>
              <a:gd name="T88" fmla="*/ 862 w 1340"/>
              <a:gd name="T89" fmla="*/ 1000 h 1134"/>
              <a:gd name="T90" fmla="*/ 892 w 1340"/>
              <a:gd name="T91" fmla="*/ 972 h 1134"/>
              <a:gd name="T92" fmla="*/ 896 w 1340"/>
              <a:gd name="T93" fmla="*/ 702 h 1134"/>
              <a:gd name="T94" fmla="*/ 880 w 1340"/>
              <a:gd name="T95" fmla="*/ 664 h 1134"/>
              <a:gd name="T96" fmla="*/ 842 w 1340"/>
              <a:gd name="T97" fmla="*/ 648 h 1134"/>
              <a:gd name="T98" fmla="*/ 180 w 1340"/>
              <a:gd name="T99" fmla="*/ 616 h 1134"/>
              <a:gd name="T100" fmla="*/ 200 w 1340"/>
              <a:gd name="T101" fmla="*/ 606 h 1134"/>
              <a:gd name="T102" fmla="*/ 756 w 1340"/>
              <a:gd name="T103" fmla="*/ 546 h 1134"/>
              <a:gd name="T104" fmla="*/ 780 w 1340"/>
              <a:gd name="T105" fmla="*/ 552 h 1134"/>
              <a:gd name="T106" fmla="*/ 810 w 1340"/>
              <a:gd name="T107" fmla="*/ 538 h 1134"/>
              <a:gd name="T108" fmla="*/ 930 w 1340"/>
              <a:gd name="T109" fmla="*/ 108 h 1134"/>
              <a:gd name="T110" fmla="*/ 542 w 1340"/>
              <a:gd name="T111" fmla="*/ 236 h 1134"/>
              <a:gd name="T112" fmla="*/ 514 w 1340"/>
              <a:gd name="T113" fmla="*/ 224 h 1134"/>
              <a:gd name="T114" fmla="*/ 484 w 1340"/>
              <a:gd name="T115" fmla="*/ 236 h 1134"/>
              <a:gd name="T116" fmla="*/ 134 w 1340"/>
              <a:gd name="T117" fmla="*/ 556 h 1134"/>
              <a:gd name="T118" fmla="*/ 132 w 1340"/>
              <a:gd name="T119" fmla="*/ 588 h 1134"/>
              <a:gd name="T120" fmla="*/ 148 w 1340"/>
              <a:gd name="T121" fmla="*/ 608 h 1134"/>
              <a:gd name="T122" fmla="*/ 172 w 1340"/>
              <a:gd name="T123" fmla="*/ 616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40" h="1134">
                <a:moveTo>
                  <a:pt x="1024" y="422"/>
                </a:moveTo>
                <a:lnTo>
                  <a:pt x="1024" y="422"/>
                </a:lnTo>
                <a:lnTo>
                  <a:pt x="1012" y="424"/>
                </a:lnTo>
                <a:lnTo>
                  <a:pt x="1002" y="426"/>
                </a:lnTo>
                <a:lnTo>
                  <a:pt x="992" y="432"/>
                </a:lnTo>
                <a:lnTo>
                  <a:pt x="984" y="438"/>
                </a:lnTo>
                <a:lnTo>
                  <a:pt x="976" y="448"/>
                </a:lnTo>
                <a:lnTo>
                  <a:pt x="972" y="456"/>
                </a:lnTo>
                <a:lnTo>
                  <a:pt x="968" y="468"/>
                </a:lnTo>
                <a:lnTo>
                  <a:pt x="966" y="480"/>
                </a:lnTo>
                <a:lnTo>
                  <a:pt x="966" y="948"/>
                </a:lnTo>
                <a:lnTo>
                  <a:pt x="966" y="948"/>
                </a:lnTo>
                <a:lnTo>
                  <a:pt x="968" y="960"/>
                </a:lnTo>
                <a:lnTo>
                  <a:pt x="972" y="970"/>
                </a:lnTo>
                <a:lnTo>
                  <a:pt x="976" y="980"/>
                </a:lnTo>
                <a:lnTo>
                  <a:pt x="984" y="988"/>
                </a:lnTo>
                <a:lnTo>
                  <a:pt x="992" y="996"/>
                </a:lnTo>
                <a:lnTo>
                  <a:pt x="1002" y="1000"/>
                </a:lnTo>
                <a:lnTo>
                  <a:pt x="1012" y="1004"/>
                </a:lnTo>
                <a:lnTo>
                  <a:pt x="1024" y="1004"/>
                </a:lnTo>
                <a:lnTo>
                  <a:pt x="1122" y="1004"/>
                </a:lnTo>
                <a:lnTo>
                  <a:pt x="1122" y="1004"/>
                </a:lnTo>
                <a:lnTo>
                  <a:pt x="1134" y="1004"/>
                </a:lnTo>
                <a:lnTo>
                  <a:pt x="1144" y="1000"/>
                </a:lnTo>
                <a:lnTo>
                  <a:pt x="1154" y="996"/>
                </a:lnTo>
                <a:lnTo>
                  <a:pt x="1162" y="988"/>
                </a:lnTo>
                <a:lnTo>
                  <a:pt x="1168" y="980"/>
                </a:lnTo>
                <a:lnTo>
                  <a:pt x="1174" y="970"/>
                </a:lnTo>
                <a:lnTo>
                  <a:pt x="1178" y="960"/>
                </a:lnTo>
                <a:lnTo>
                  <a:pt x="1178" y="948"/>
                </a:lnTo>
                <a:lnTo>
                  <a:pt x="1178" y="480"/>
                </a:lnTo>
                <a:lnTo>
                  <a:pt x="1178" y="480"/>
                </a:lnTo>
                <a:lnTo>
                  <a:pt x="1178" y="468"/>
                </a:lnTo>
                <a:lnTo>
                  <a:pt x="1174" y="456"/>
                </a:lnTo>
                <a:lnTo>
                  <a:pt x="1168" y="448"/>
                </a:lnTo>
                <a:lnTo>
                  <a:pt x="1162" y="438"/>
                </a:lnTo>
                <a:lnTo>
                  <a:pt x="1154" y="432"/>
                </a:lnTo>
                <a:lnTo>
                  <a:pt x="1144" y="426"/>
                </a:lnTo>
                <a:lnTo>
                  <a:pt x="1134" y="424"/>
                </a:lnTo>
                <a:lnTo>
                  <a:pt x="1122" y="422"/>
                </a:lnTo>
                <a:lnTo>
                  <a:pt x="1024" y="422"/>
                </a:lnTo>
                <a:close/>
                <a:moveTo>
                  <a:pt x="1312" y="1078"/>
                </a:moveTo>
                <a:lnTo>
                  <a:pt x="56" y="1078"/>
                </a:lnTo>
                <a:lnTo>
                  <a:pt x="56" y="28"/>
                </a:lnTo>
                <a:lnTo>
                  <a:pt x="56" y="28"/>
                </a:lnTo>
                <a:lnTo>
                  <a:pt x="54" y="18"/>
                </a:lnTo>
                <a:lnTo>
                  <a:pt x="48" y="8"/>
                </a:lnTo>
                <a:lnTo>
                  <a:pt x="40" y="2"/>
                </a:lnTo>
                <a:lnTo>
                  <a:pt x="28" y="0"/>
                </a:lnTo>
                <a:lnTo>
                  <a:pt x="28" y="0"/>
                </a:lnTo>
                <a:lnTo>
                  <a:pt x="18" y="2"/>
                </a:lnTo>
                <a:lnTo>
                  <a:pt x="8" y="8"/>
                </a:lnTo>
                <a:lnTo>
                  <a:pt x="2" y="18"/>
                </a:lnTo>
                <a:lnTo>
                  <a:pt x="0" y="28"/>
                </a:lnTo>
                <a:lnTo>
                  <a:pt x="0" y="28"/>
                </a:lnTo>
                <a:lnTo>
                  <a:pt x="0" y="1106"/>
                </a:lnTo>
                <a:lnTo>
                  <a:pt x="0" y="1106"/>
                </a:lnTo>
                <a:lnTo>
                  <a:pt x="2" y="1118"/>
                </a:lnTo>
                <a:lnTo>
                  <a:pt x="8" y="1126"/>
                </a:lnTo>
                <a:lnTo>
                  <a:pt x="8" y="1126"/>
                </a:lnTo>
                <a:lnTo>
                  <a:pt x="18" y="1132"/>
                </a:lnTo>
                <a:lnTo>
                  <a:pt x="28" y="1134"/>
                </a:lnTo>
                <a:lnTo>
                  <a:pt x="1312" y="1134"/>
                </a:lnTo>
                <a:lnTo>
                  <a:pt x="1312" y="1134"/>
                </a:lnTo>
                <a:lnTo>
                  <a:pt x="1324" y="1132"/>
                </a:lnTo>
                <a:lnTo>
                  <a:pt x="1332" y="1126"/>
                </a:lnTo>
                <a:lnTo>
                  <a:pt x="1338" y="1118"/>
                </a:lnTo>
                <a:lnTo>
                  <a:pt x="1340" y="1106"/>
                </a:lnTo>
                <a:lnTo>
                  <a:pt x="1340" y="1106"/>
                </a:lnTo>
                <a:lnTo>
                  <a:pt x="1338" y="1096"/>
                </a:lnTo>
                <a:lnTo>
                  <a:pt x="1332" y="1086"/>
                </a:lnTo>
                <a:lnTo>
                  <a:pt x="1324" y="1080"/>
                </a:lnTo>
                <a:lnTo>
                  <a:pt x="1312" y="1078"/>
                </a:lnTo>
                <a:lnTo>
                  <a:pt x="1312" y="1078"/>
                </a:lnTo>
                <a:close/>
                <a:moveTo>
                  <a:pt x="468" y="536"/>
                </a:moveTo>
                <a:lnTo>
                  <a:pt x="468" y="536"/>
                </a:lnTo>
                <a:lnTo>
                  <a:pt x="458" y="538"/>
                </a:lnTo>
                <a:lnTo>
                  <a:pt x="448" y="540"/>
                </a:lnTo>
                <a:lnTo>
                  <a:pt x="438" y="546"/>
                </a:lnTo>
                <a:lnTo>
                  <a:pt x="430" y="552"/>
                </a:lnTo>
                <a:lnTo>
                  <a:pt x="424" y="560"/>
                </a:lnTo>
                <a:lnTo>
                  <a:pt x="418" y="570"/>
                </a:lnTo>
                <a:lnTo>
                  <a:pt x="416" y="580"/>
                </a:lnTo>
                <a:lnTo>
                  <a:pt x="414" y="590"/>
                </a:lnTo>
                <a:lnTo>
                  <a:pt x="414" y="950"/>
                </a:lnTo>
                <a:lnTo>
                  <a:pt x="414" y="950"/>
                </a:lnTo>
                <a:lnTo>
                  <a:pt x="416" y="962"/>
                </a:lnTo>
                <a:lnTo>
                  <a:pt x="418" y="972"/>
                </a:lnTo>
                <a:lnTo>
                  <a:pt x="424" y="980"/>
                </a:lnTo>
                <a:lnTo>
                  <a:pt x="430" y="988"/>
                </a:lnTo>
                <a:lnTo>
                  <a:pt x="438" y="996"/>
                </a:lnTo>
                <a:lnTo>
                  <a:pt x="448" y="1000"/>
                </a:lnTo>
                <a:lnTo>
                  <a:pt x="458" y="1004"/>
                </a:lnTo>
                <a:lnTo>
                  <a:pt x="468" y="1004"/>
                </a:lnTo>
                <a:lnTo>
                  <a:pt x="572" y="1004"/>
                </a:lnTo>
                <a:lnTo>
                  <a:pt x="572" y="1004"/>
                </a:lnTo>
                <a:lnTo>
                  <a:pt x="582" y="1004"/>
                </a:lnTo>
                <a:lnTo>
                  <a:pt x="592" y="1000"/>
                </a:lnTo>
                <a:lnTo>
                  <a:pt x="602" y="996"/>
                </a:lnTo>
                <a:lnTo>
                  <a:pt x="610" y="988"/>
                </a:lnTo>
                <a:lnTo>
                  <a:pt x="616" y="980"/>
                </a:lnTo>
                <a:lnTo>
                  <a:pt x="622" y="972"/>
                </a:lnTo>
                <a:lnTo>
                  <a:pt x="626" y="962"/>
                </a:lnTo>
                <a:lnTo>
                  <a:pt x="626" y="950"/>
                </a:lnTo>
                <a:lnTo>
                  <a:pt x="626" y="590"/>
                </a:lnTo>
                <a:lnTo>
                  <a:pt x="626" y="590"/>
                </a:lnTo>
                <a:lnTo>
                  <a:pt x="626" y="580"/>
                </a:lnTo>
                <a:lnTo>
                  <a:pt x="622" y="570"/>
                </a:lnTo>
                <a:lnTo>
                  <a:pt x="616" y="560"/>
                </a:lnTo>
                <a:lnTo>
                  <a:pt x="610" y="552"/>
                </a:lnTo>
                <a:lnTo>
                  <a:pt x="602" y="546"/>
                </a:lnTo>
                <a:lnTo>
                  <a:pt x="592" y="540"/>
                </a:lnTo>
                <a:lnTo>
                  <a:pt x="582" y="538"/>
                </a:lnTo>
                <a:lnTo>
                  <a:pt x="572" y="536"/>
                </a:lnTo>
                <a:lnTo>
                  <a:pt x="468" y="536"/>
                </a:lnTo>
                <a:close/>
                <a:moveTo>
                  <a:pt x="200" y="782"/>
                </a:moveTo>
                <a:lnTo>
                  <a:pt x="200" y="782"/>
                </a:lnTo>
                <a:lnTo>
                  <a:pt x="188" y="782"/>
                </a:lnTo>
                <a:lnTo>
                  <a:pt x="178" y="786"/>
                </a:lnTo>
                <a:lnTo>
                  <a:pt x="168" y="792"/>
                </a:lnTo>
                <a:lnTo>
                  <a:pt x="160" y="798"/>
                </a:lnTo>
                <a:lnTo>
                  <a:pt x="154" y="806"/>
                </a:lnTo>
                <a:lnTo>
                  <a:pt x="150" y="814"/>
                </a:lnTo>
                <a:lnTo>
                  <a:pt x="146" y="826"/>
                </a:lnTo>
                <a:lnTo>
                  <a:pt x="144" y="836"/>
                </a:lnTo>
                <a:lnTo>
                  <a:pt x="144" y="950"/>
                </a:lnTo>
                <a:lnTo>
                  <a:pt x="144" y="950"/>
                </a:lnTo>
                <a:lnTo>
                  <a:pt x="146" y="962"/>
                </a:lnTo>
                <a:lnTo>
                  <a:pt x="150" y="972"/>
                </a:lnTo>
                <a:lnTo>
                  <a:pt x="154" y="980"/>
                </a:lnTo>
                <a:lnTo>
                  <a:pt x="160" y="988"/>
                </a:lnTo>
                <a:lnTo>
                  <a:pt x="168" y="996"/>
                </a:lnTo>
                <a:lnTo>
                  <a:pt x="178" y="1000"/>
                </a:lnTo>
                <a:lnTo>
                  <a:pt x="188" y="1004"/>
                </a:lnTo>
                <a:lnTo>
                  <a:pt x="200" y="1004"/>
                </a:lnTo>
                <a:lnTo>
                  <a:pt x="302" y="1004"/>
                </a:lnTo>
                <a:lnTo>
                  <a:pt x="302" y="1004"/>
                </a:lnTo>
                <a:lnTo>
                  <a:pt x="314" y="1004"/>
                </a:lnTo>
                <a:lnTo>
                  <a:pt x="324" y="1000"/>
                </a:lnTo>
                <a:lnTo>
                  <a:pt x="332" y="996"/>
                </a:lnTo>
                <a:lnTo>
                  <a:pt x="340" y="988"/>
                </a:lnTo>
                <a:lnTo>
                  <a:pt x="348" y="980"/>
                </a:lnTo>
                <a:lnTo>
                  <a:pt x="352" y="972"/>
                </a:lnTo>
                <a:lnTo>
                  <a:pt x="356" y="962"/>
                </a:lnTo>
                <a:lnTo>
                  <a:pt x="356" y="950"/>
                </a:lnTo>
                <a:lnTo>
                  <a:pt x="356" y="836"/>
                </a:lnTo>
                <a:lnTo>
                  <a:pt x="356" y="836"/>
                </a:lnTo>
                <a:lnTo>
                  <a:pt x="356" y="826"/>
                </a:lnTo>
                <a:lnTo>
                  <a:pt x="352" y="814"/>
                </a:lnTo>
                <a:lnTo>
                  <a:pt x="348" y="806"/>
                </a:lnTo>
                <a:lnTo>
                  <a:pt x="340" y="798"/>
                </a:lnTo>
                <a:lnTo>
                  <a:pt x="332" y="792"/>
                </a:lnTo>
                <a:lnTo>
                  <a:pt x="324" y="786"/>
                </a:lnTo>
                <a:lnTo>
                  <a:pt x="314" y="782"/>
                </a:lnTo>
                <a:lnTo>
                  <a:pt x="302" y="782"/>
                </a:lnTo>
                <a:lnTo>
                  <a:pt x="200" y="782"/>
                </a:lnTo>
                <a:close/>
                <a:moveTo>
                  <a:pt x="738" y="648"/>
                </a:moveTo>
                <a:lnTo>
                  <a:pt x="738" y="648"/>
                </a:lnTo>
                <a:lnTo>
                  <a:pt x="726" y="648"/>
                </a:lnTo>
                <a:lnTo>
                  <a:pt x="716" y="652"/>
                </a:lnTo>
                <a:lnTo>
                  <a:pt x="708" y="658"/>
                </a:lnTo>
                <a:lnTo>
                  <a:pt x="700" y="664"/>
                </a:lnTo>
                <a:lnTo>
                  <a:pt x="692" y="672"/>
                </a:lnTo>
                <a:lnTo>
                  <a:pt x="688" y="682"/>
                </a:lnTo>
                <a:lnTo>
                  <a:pt x="684" y="692"/>
                </a:lnTo>
                <a:lnTo>
                  <a:pt x="684" y="702"/>
                </a:lnTo>
                <a:lnTo>
                  <a:pt x="684" y="950"/>
                </a:lnTo>
                <a:lnTo>
                  <a:pt x="684" y="950"/>
                </a:lnTo>
                <a:lnTo>
                  <a:pt x="684" y="962"/>
                </a:lnTo>
                <a:lnTo>
                  <a:pt x="688" y="972"/>
                </a:lnTo>
                <a:lnTo>
                  <a:pt x="692" y="980"/>
                </a:lnTo>
                <a:lnTo>
                  <a:pt x="700" y="988"/>
                </a:lnTo>
                <a:lnTo>
                  <a:pt x="708" y="996"/>
                </a:lnTo>
                <a:lnTo>
                  <a:pt x="716" y="1000"/>
                </a:lnTo>
                <a:lnTo>
                  <a:pt x="726" y="1004"/>
                </a:lnTo>
                <a:lnTo>
                  <a:pt x="738" y="1004"/>
                </a:lnTo>
                <a:lnTo>
                  <a:pt x="842" y="1004"/>
                </a:lnTo>
                <a:lnTo>
                  <a:pt x="842" y="1004"/>
                </a:lnTo>
                <a:lnTo>
                  <a:pt x="852" y="1004"/>
                </a:lnTo>
                <a:lnTo>
                  <a:pt x="862" y="1000"/>
                </a:lnTo>
                <a:lnTo>
                  <a:pt x="872" y="996"/>
                </a:lnTo>
                <a:lnTo>
                  <a:pt x="880" y="988"/>
                </a:lnTo>
                <a:lnTo>
                  <a:pt x="886" y="980"/>
                </a:lnTo>
                <a:lnTo>
                  <a:pt x="892" y="972"/>
                </a:lnTo>
                <a:lnTo>
                  <a:pt x="894" y="962"/>
                </a:lnTo>
                <a:lnTo>
                  <a:pt x="896" y="950"/>
                </a:lnTo>
                <a:lnTo>
                  <a:pt x="896" y="702"/>
                </a:lnTo>
                <a:lnTo>
                  <a:pt x="896" y="702"/>
                </a:lnTo>
                <a:lnTo>
                  <a:pt x="894" y="692"/>
                </a:lnTo>
                <a:lnTo>
                  <a:pt x="892" y="682"/>
                </a:lnTo>
                <a:lnTo>
                  <a:pt x="886" y="672"/>
                </a:lnTo>
                <a:lnTo>
                  <a:pt x="880" y="664"/>
                </a:lnTo>
                <a:lnTo>
                  <a:pt x="872" y="658"/>
                </a:lnTo>
                <a:lnTo>
                  <a:pt x="862" y="652"/>
                </a:lnTo>
                <a:lnTo>
                  <a:pt x="852" y="648"/>
                </a:lnTo>
                <a:lnTo>
                  <a:pt x="842" y="648"/>
                </a:lnTo>
                <a:lnTo>
                  <a:pt x="738" y="648"/>
                </a:lnTo>
                <a:close/>
                <a:moveTo>
                  <a:pt x="172" y="616"/>
                </a:moveTo>
                <a:lnTo>
                  <a:pt x="172" y="616"/>
                </a:lnTo>
                <a:lnTo>
                  <a:pt x="180" y="616"/>
                </a:lnTo>
                <a:lnTo>
                  <a:pt x="186" y="614"/>
                </a:lnTo>
                <a:lnTo>
                  <a:pt x="194" y="610"/>
                </a:lnTo>
                <a:lnTo>
                  <a:pt x="200" y="606"/>
                </a:lnTo>
                <a:lnTo>
                  <a:pt x="200" y="606"/>
                </a:lnTo>
                <a:lnTo>
                  <a:pt x="512" y="322"/>
                </a:lnTo>
                <a:lnTo>
                  <a:pt x="750" y="542"/>
                </a:lnTo>
                <a:lnTo>
                  <a:pt x="750" y="542"/>
                </a:lnTo>
                <a:lnTo>
                  <a:pt x="756" y="546"/>
                </a:lnTo>
                <a:lnTo>
                  <a:pt x="764" y="550"/>
                </a:lnTo>
                <a:lnTo>
                  <a:pt x="772" y="552"/>
                </a:lnTo>
                <a:lnTo>
                  <a:pt x="780" y="552"/>
                </a:lnTo>
                <a:lnTo>
                  <a:pt x="780" y="552"/>
                </a:lnTo>
                <a:lnTo>
                  <a:pt x="788" y="552"/>
                </a:lnTo>
                <a:lnTo>
                  <a:pt x="796" y="548"/>
                </a:lnTo>
                <a:lnTo>
                  <a:pt x="804" y="544"/>
                </a:lnTo>
                <a:lnTo>
                  <a:pt x="810" y="538"/>
                </a:lnTo>
                <a:lnTo>
                  <a:pt x="1056" y="236"/>
                </a:lnTo>
                <a:lnTo>
                  <a:pt x="1112" y="292"/>
                </a:lnTo>
                <a:lnTo>
                  <a:pt x="1136" y="86"/>
                </a:lnTo>
                <a:lnTo>
                  <a:pt x="930" y="108"/>
                </a:lnTo>
                <a:lnTo>
                  <a:pt x="998" y="176"/>
                </a:lnTo>
                <a:lnTo>
                  <a:pt x="774" y="450"/>
                </a:lnTo>
                <a:lnTo>
                  <a:pt x="542" y="236"/>
                </a:lnTo>
                <a:lnTo>
                  <a:pt x="542" y="236"/>
                </a:lnTo>
                <a:lnTo>
                  <a:pt x="534" y="230"/>
                </a:lnTo>
                <a:lnTo>
                  <a:pt x="528" y="228"/>
                </a:lnTo>
                <a:lnTo>
                  <a:pt x="520" y="226"/>
                </a:lnTo>
                <a:lnTo>
                  <a:pt x="514" y="224"/>
                </a:lnTo>
                <a:lnTo>
                  <a:pt x="506" y="224"/>
                </a:lnTo>
                <a:lnTo>
                  <a:pt x="498" y="226"/>
                </a:lnTo>
                <a:lnTo>
                  <a:pt x="492" y="230"/>
                </a:lnTo>
                <a:lnTo>
                  <a:pt x="484" y="236"/>
                </a:lnTo>
                <a:lnTo>
                  <a:pt x="144" y="544"/>
                </a:lnTo>
                <a:lnTo>
                  <a:pt x="144" y="544"/>
                </a:lnTo>
                <a:lnTo>
                  <a:pt x="138" y="550"/>
                </a:lnTo>
                <a:lnTo>
                  <a:pt x="134" y="556"/>
                </a:lnTo>
                <a:lnTo>
                  <a:pt x="132" y="564"/>
                </a:lnTo>
                <a:lnTo>
                  <a:pt x="130" y="572"/>
                </a:lnTo>
                <a:lnTo>
                  <a:pt x="130" y="580"/>
                </a:lnTo>
                <a:lnTo>
                  <a:pt x="132" y="588"/>
                </a:lnTo>
                <a:lnTo>
                  <a:pt x="136" y="596"/>
                </a:lnTo>
                <a:lnTo>
                  <a:pt x="140" y="602"/>
                </a:lnTo>
                <a:lnTo>
                  <a:pt x="140" y="602"/>
                </a:lnTo>
                <a:lnTo>
                  <a:pt x="148" y="608"/>
                </a:lnTo>
                <a:lnTo>
                  <a:pt x="156" y="612"/>
                </a:lnTo>
                <a:lnTo>
                  <a:pt x="164" y="616"/>
                </a:lnTo>
                <a:lnTo>
                  <a:pt x="172" y="616"/>
                </a:lnTo>
                <a:lnTo>
                  <a:pt x="172" y="616"/>
                </a:lnTo>
                <a:close/>
              </a:path>
            </a:pathLst>
          </a:custGeom>
          <a:solidFill>
            <a:schemeClr val="accent1">
              <a:lumMod val="75000"/>
            </a:schemeClr>
          </a:solidFill>
          <a:ln>
            <a:noFill/>
          </a:ln>
        </p:spPr>
        <p:txBody>
          <a:bodyPr vert="horz" wrap="square" lIns="68574" tIns="34287" rIns="68574" bIns="34287" numCol="1" anchor="t" anchorCtr="0" compatLnSpc="1">
            <a:prstTxWarp prst="textNoShape">
              <a:avLst/>
            </a:prstTxWarp>
          </a:bodyPr>
          <a:ls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a:lstStyle>
          <a:p>
            <a:pPr defTabSz="685709">
              <a:buClr>
                <a:srgbClr val="CC9900"/>
              </a:buClr>
              <a:buFont typeface="Wingdings" pitchFamily="2" charset="2"/>
              <a:buChar char="n"/>
            </a:pPr>
            <a:endParaRPr lang="zh-CN" altLang="en-US" sz="1350" b="1">
              <a:solidFill>
                <a:srgbClr val="000000"/>
              </a:solidFill>
              <a:latin typeface="FrutigerNext LT Medium" pitchFamily="34" charset="0"/>
              <a:ea typeface="微软雅黑" panose="020B0503020204020204" pitchFamily="34" charset="-122"/>
              <a:cs typeface="Arial" pitchFamily="34" charset="0"/>
            </a:endParaRPr>
          </a:p>
        </p:txBody>
      </p:sp>
      <p:sp>
        <p:nvSpPr>
          <p:cNvPr id="25" name="矩形 24"/>
          <p:cNvSpPr/>
          <p:nvPr/>
        </p:nvSpPr>
        <p:spPr>
          <a:xfrm>
            <a:off x="5891346" y="5158357"/>
            <a:ext cx="2569934" cy="253916"/>
          </a:xfrm>
          <a:prstGeom prst="rect">
            <a:avLst/>
          </a:prstGeom>
        </p:spPr>
        <p:txBody>
          <a:bodyPr wrap="none">
            <a:spAutoFit/>
          </a:bodyPr>
          <a:lstStyle/>
          <a:p>
            <a:pPr algn="r" defTabSz="914461"/>
            <a:r>
              <a:rPr lang="zh-CN" altLang="en-US" sz="1050" dirty="0">
                <a:solidFill>
                  <a:schemeClr val="bg1"/>
                </a:solidFill>
                <a:latin typeface="FrutigerNext LT Medium" pitchFamily="34" charset="0"/>
                <a:cs typeface="Arial" panose="020B0604020202020204" pitchFamily="34" charset="0"/>
              </a:rPr>
              <a:t>* </a:t>
            </a:r>
            <a:r>
              <a:rPr lang="en-US" altLang="zh-CN" sz="1050" dirty="0">
                <a:solidFill>
                  <a:schemeClr val="bg1"/>
                </a:solidFill>
                <a:latin typeface="FrutigerNext LT Medium" pitchFamily="34" charset="0"/>
                <a:cs typeface="Arial" panose="020B0604020202020204" pitchFamily="34" charset="0"/>
              </a:rPr>
              <a:t>2016 figure is unaudited forecast data.</a:t>
            </a:r>
            <a:endParaRPr lang="zh-CN" altLang="en-US" sz="1050" dirty="0">
              <a:solidFill>
                <a:schemeClr val="bg1"/>
              </a:solidFill>
              <a:latin typeface="FrutigerNext LT Medium" pitchFamily="34" charset="0"/>
              <a:cs typeface="Arial" panose="020B0604020202020204" pitchFamily="34" charset="0"/>
            </a:endParaRPr>
          </a:p>
        </p:txBody>
      </p:sp>
      <p:sp>
        <p:nvSpPr>
          <p:cNvPr id="26" name="Line 23"/>
          <p:cNvSpPr>
            <a:spLocks noChangeShapeType="1"/>
          </p:cNvSpPr>
          <p:nvPr/>
        </p:nvSpPr>
        <p:spPr bwMode="auto">
          <a:xfrm rot="10800000" flipH="1" flipV="1">
            <a:off x="5005196" y="4915217"/>
            <a:ext cx="3058386" cy="2220"/>
          </a:xfrm>
          <a:prstGeom prst="line">
            <a:avLst/>
          </a:prstGeom>
          <a:noFill/>
          <a:ln w="28575">
            <a:solidFill>
              <a:schemeClr val="bg1">
                <a:lumMod val="65000"/>
              </a:schemeClr>
            </a:solidFill>
            <a:round/>
            <a:headEnd/>
            <a:tailEnd/>
          </a:ln>
        </p:spPr>
        <p:txBody>
          <a:bodyPr lIns="0" tIns="0" rIns="0" bIns="0"/>
          <a:lstStyle/>
          <a:p>
            <a:pPr defTabSz="685709">
              <a:buClr>
                <a:srgbClr val="CC9900"/>
              </a:buClr>
              <a:buFont typeface="Wingdings" pitchFamily="2" charset="2"/>
              <a:buChar char="n"/>
            </a:pPr>
            <a:endParaRPr lang="zh-CN" altLang="en-US" sz="1050" b="1">
              <a:solidFill>
                <a:schemeClr val="bg1"/>
              </a:solidFill>
              <a:latin typeface="FrutigerNext LT Medium" pitchFamily="34" charset="0"/>
              <a:ea typeface="微软雅黑" panose="020B0503020204020204" pitchFamily="34" charset="-122"/>
              <a:cs typeface="Arial" pitchFamily="34" charset="0"/>
            </a:endParaRPr>
          </a:p>
        </p:txBody>
      </p:sp>
      <p:grpSp>
        <p:nvGrpSpPr>
          <p:cNvPr id="27" name="组合 15"/>
          <p:cNvGrpSpPr/>
          <p:nvPr/>
        </p:nvGrpSpPr>
        <p:grpSpPr>
          <a:xfrm>
            <a:off x="1316273" y="2083111"/>
            <a:ext cx="809641" cy="809641"/>
            <a:chOff x="4130508" y="901987"/>
            <a:chExt cx="1836000" cy="1836000"/>
          </a:xfrm>
        </p:grpSpPr>
        <p:sp>
          <p:nvSpPr>
            <p:cNvPr id="28" name="椭圆 27"/>
            <p:cNvSpPr>
              <a:spLocks noChangeAspect="1"/>
            </p:cNvSpPr>
            <p:nvPr/>
          </p:nvSpPr>
          <p:spPr bwMode="auto">
            <a:xfrm>
              <a:off x="4130508" y="901987"/>
              <a:ext cx="1836000" cy="1836000"/>
            </a:xfrm>
            <a:prstGeom prst="ellipse">
              <a:avLst/>
            </a:prstGeom>
            <a:noFill/>
            <a:ln w="19050" cap="flat" cmpd="sng" algn="ctr">
              <a:solidFill>
                <a:srgbClr val="000000">
                  <a:lumMod val="65000"/>
                  <a:lumOff val="35000"/>
                </a:srgbClr>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defRPr/>
              </a:pPr>
              <a:endParaRPr lang="zh-CN" altLang="en-US" sz="825" b="1" kern="0">
                <a:solidFill>
                  <a:srgbClr val="000000"/>
                </a:solidFill>
                <a:latin typeface="FrutigerNext LT Medium" pitchFamily="34" charset="0"/>
                <a:ea typeface="微软雅黑" pitchFamily="34" charset="-122"/>
                <a:cs typeface="Arial" pitchFamily="34" charset="0"/>
              </a:endParaRPr>
            </a:p>
          </p:txBody>
        </p:sp>
        <p:sp>
          <p:nvSpPr>
            <p:cNvPr id="29" name="椭圆 28"/>
            <p:cNvSpPr/>
            <p:nvPr/>
          </p:nvSpPr>
          <p:spPr bwMode="auto">
            <a:xfrm>
              <a:off x="4184508" y="955987"/>
              <a:ext cx="1728000" cy="1728000"/>
            </a:xfrm>
            <a:prstGeom prst="ellipse">
              <a:avLst/>
            </a:prstGeom>
            <a:solidFill>
              <a:srgbClr val="000000">
                <a:lumMod val="65000"/>
                <a:lumOff val="35000"/>
              </a:srgbClr>
            </a:solidFill>
            <a:ln w="9525" cap="flat" cmpd="sng" algn="ctr">
              <a:noFill/>
              <a:prstDash val="solid"/>
              <a:round/>
              <a:headEnd type="stealth" w="med" len="med"/>
              <a:tailEnd type="oval" w="med" len="med"/>
            </a:ln>
            <a:effectLst/>
          </p:spPr>
          <p:txBody>
            <a:bodyPr vert="horz" wrap="square" lIns="0" tIns="34287" rIns="0" bIns="34287" numCol="1" rtlCol="0" anchor="ctr" anchorCtr="0" compatLnSpc="1">
              <a:prstTxWarp prst="textNoShape">
                <a:avLst/>
              </a:prstTxWarp>
            </a:bodyPr>
            <a:lstStyle/>
            <a:p>
              <a:pPr algn="ctr" defTabSz="685709">
                <a:buClr>
                  <a:srgbClr val="CC9900"/>
                </a:buClr>
                <a:defRPr/>
              </a:pPr>
              <a:r>
                <a:rPr lang="en-US" altLang="zh-CN" sz="2100" kern="0" dirty="0">
                  <a:solidFill>
                    <a:srgbClr val="FFFFFF"/>
                  </a:solidFill>
                  <a:latin typeface="FrutigerNext LT Medium" pitchFamily="34" charset="0"/>
                  <a:ea typeface="微软雅黑" pitchFamily="34" charset="-122"/>
                  <a:cs typeface="Arial" pitchFamily="34" charset="0"/>
                </a:rPr>
                <a:t>129</a:t>
              </a:r>
              <a:endParaRPr lang="en-US" altLang="zh-CN" sz="2100" b="1" kern="0" dirty="0">
                <a:solidFill>
                  <a:srgbClr val="FFFFFF"/>
                </a:solidFill>
                <a:latin typeface="FrutigerNext LT Medium" pitchFamily="34" charset="0"/>
                <a:ea typeface="微软雅黑" pitchFamily="34" charset="-122"/>
                <a:cs typeface="Arial" pitchFamily="34" charset="0"/>
              </a:endParaRPr>
            </a:p>
            <a:p>
              <a:pPr algn="ctr" defTabSz="685709" fontAlgn="auto">
                <a:spcBef>
                  <a:spcPts val="0"/>
                </a:spcBef>
                <a:spcAft>
                  <a:spcPts val="0"/>
                </a:spcAft>
                <a:defRPr/>
              </a:pPr>
              <a:r>
                <a:rPr lang="en-US" altLang="zh-CN" sz="750" kern="0" dirty="0">
                  <a:solidFill>
                    <a:srgbClr val="FFFFFF"/>
                  </a:solidFill>
                  <a:latin typeface="FrutigerNext LT Medium" pitchFamily="34" charset="0"/>
                  <a:ea typeface="微软雅黑" pitchFamily="34" charset="-122"/>
                  <a:cs typeface="Arial" pitchFamily="34" charset="0"/>
                </a:rPr>
                <a:t>Ranking in the Fortune Global 500 </a:t>
              </a:r>
              <a:endParaRPr lang="en-US" altLang="zh-CN" sz="750" kern="0" dirty="0">
                <a:solidFill>
                  <a:srgbClr val="FFFFFF"/>
                </a:solidFill>
                <a:latin typeface="FrutigerNext LT Medium" pitchFamily="34" charset="0"/>
                <a:ea typeface="微软雅黑" pitchFamily="34" charset="-122"/>
                <a:cs typeface="Arial" pitchFamily="34" charset="0"/>
              </a:endParaRPr>
            </a:p>
          </p:txBody>
        </p:sp>
      </p:grpSp>
      <p:grpSp>
        <p:nvGrpSpPr>
          <p:cNvPr id="30" name="组合 29"/>
          <p:cNvGrpSpPr/>
          <p:nvPr/>
        </p:nvGrpSpPr>
        <p:grpSpPr>
          <a:xfrm>
            <a:off x="578882" y="2857400"/>
            <a:ext cx="714389" cy="714389"/>
            <a:chOff x="409433" y="2876160"/>
            <a:chExt cx="952601" cy="952601"/>
          </a:xfrm>
        </p:grpSpPr>
        <p:sp>
          <p:nvSpPr>
            <p:cNvPr id="31" name="椭圆 30"/>
            <p:cNvSpPr>
              <a:spLocks noChangeAspect="1"/>
            </p:cNvSpPr>
            <p:nvPr/>
          </p:nvSpPr>
          <p:spPr bwMode="auto">
            <a:xfrm>
              <a:off x="409433" y="2876160"/>
              <a:ext cx="952601" cy="952601"/>
            </a:xfrm>
            <a:prstGeom prst="ellipse">
              <a:avLst/>
            </a:prstGeom>
            <a:noFill/>
            <a:ln w="19050" cap="flat" cmpd="sng" algn="ctr">
              <a:solidFill>
                <a:srgbClr val="FD9203"/>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defRPr/>
              </a:pPr>
              <a:endParaRPr lang="zh-CN" altLang="en-US" sz="825" b="1" kern="0">
                <a:solidFill>
                  <a:srgbClr val="000000"/>
                </a:solidFill>
                <a:latin typeface="FrutigerNext LT Medium" pitchFamily="34" charset="0"/>
                <a:ea typeface="微软雅黑" pitchFamily="34" charset="-122"/>
                <a:cs typeface="Arial" pitchFamily="34" charset="0"/>
              </a:endParaRPr>
            </a:p>
          </p:txBody>
        </p:sp>
        <p:sp>
          <p:nvSpPr>
            <p:cNvPr id="32" name="椭圆 31"/>
            <p:cNvSpPr/>
            <p:nvPr/>
          </p:nvSpPr>
          <p:spPr bwMode="auto">
            <a:xfrm>
              <a:off x="440786" y="2907513"/>
              <a:ext cx="889895" cy="889895"/>
            </a:xfrm>
            <a:prstGeom prst="ellipse">
              <a:avLst/>
            </a:prstGeom>
            <a:solidFill>
              <a:srgbClr val="FD9203"/>
            </a:solidFill>
            <a:ln w="9525" cap="flat" cmpd="sng" algn="ctr">
              <a:noFill/>
              <a:prstDash val="solid"/>
              <a:round/>
              <a:headEnd type="stealth" w="med" len="med"/>
              <a:tailEnd type="oval" w="med" len="med"/>
            </a:ln>
            <a:effectLst/>
          </p:spPr>
          <p:txBody>
            <a:bodyPr vert="horz" wrap="none" lIns="0" tIns="34287" rIns="0" bIns="34287" numCol="1" rtlCol="0" anchor="ctr" anchorCtr="0" compatLnSpc="1">
              <a:prstTxWarp prst="textNoShape">
                <a:avLst/>
              </a:prstTxWarp>
            </a:bodyPr>
            <a:lstStyle/>
            <a:p>
              <a:pPr algn="ctr" defTabSz="685709">
                <a:buClr>
                  <a:srgbClr val="CC9900"/>
                </a:buClr>
                <a:defRPr/>
              </a:pPr>
              <a:r>
                <a:rPr lang="en-US" altLang="zh-CN" b="1" kern="0" dirty="0">
                  <a:solidFill>
                    <a:srgbClr val="FFFFFF"/>
                  </a:solidFill>
                  <a:latin typeface="FrutigerNext LT Medium" pitchFamily="34" charset="0"/>
                  <a:ea typeface="微软雅黑" pitchFamily="34" charset="-122"/>
                  <a:cs typeface="Arial" pitchFamily="34" charset="0"/>
                </a:rPr>
                <a:t>170+</a:t>
              </a:r>
              <a:endParaRPr lang="en-US" altLang="zh-CN" kern="0" dirty="0">
                <a:solidFill>
                  <a:srgbClr val="FFFFFF"/>
                </a:solidFill>
                <a:latin typeface="FrutigerNext LT Medium" pitchFamily="34" charset="0"/>
                <a:ea typeface="微软雅黑" pitchFamily="34" charset="-122"/>
                <a:cs typeface="Arial" pitchFamily="34" charset="0"/>
              </a:endParaRPr>
            </a:p>
            <a:p>
              <a:pPr algn="ctr" defTabSz="685709" fontAlgn="auto">
                <a:spcBef>
                  <a:spcPts val="0"/>
                </a:spcBef>
                <a:spcAft>
                  <a:spcPts val="0"/>
                </a:spcAft>
                <a:defRPr/>
              </a:pPr>
              <a:r>
                <a:rPr lang="en-US" altLang="zh-CN" sz="900" kern="0" dirty="0">
                  <a:solidFill>
                    <a:srgbClr val="FFFFFF"/>
                  </a:solidFill>
                  <a:latin typeface="FrutigerNext LT Medium" pitchFamily="34" charset="0"/>
                  <a:ea typeface="微软雅黑" pitchFamily="34" charset="-122"/>
                  <a:cs typeface="Arial" pitchFamily="34" charset="0"/>
                </a:rPr>
                <a:t>Countries</a:t>
              </a:r>
              <a:endParaRPr lang="en-US" altLang="zh-CN" sz="900" kern="0" dirty="0">
                <a:solidFill>
                  <a:srgbClr val="FFFFFF"/>
                </a:solidFill>
                <a:latin typeface="FrutigerNext LT Medium" pitchFamily="34" charset="0"/>
                <a:ea typeface="微软雅黑" pitchFamily="34" charset="-122"/>
                <a:cs typeface="Arial" pitchFamily="34" charset="0"/>
              </a:endParaRPr>
            </a:p>
          </p:txBody>
        </p:sp>
      </p:grpSp>
      <p:grpSp>
        <p:nvGrpSpPr>
          <p:cNvPr id="33" name="组合 9"/>
          <p:cNvGrpSpPr/>
          <p:nvPr/>
        </p:nvGrpSpPr>
        <p:grpSpPr>
          <a:xfrm>
            <a:off x="3291455" y="3592985"/>
            <a:ext cx="849329" cy="849329"/>
            <a:chOff x="9764079" y="4120648"/>
            <a:chExt cx="1926000" cy="1926000"/>
          </a:xfrm>
        </p:grpSpPr>
        <p:sp>
          <p:nvSpPr>
            <p:cNvPr id="34" name="椭圆 33"/>
            <p:cNvSpPr>
              <a:spLocks noChangeAspect="1"/>
            </p:cNvSpPr>
            <p:nvPr/>
          </p:nvSpPr>
          <p:spPr bwMode="auto">
            <a:xfrm>
              <a:off x="9764079" y="4120648"/>
              <a:ext cx="1926000" cy="1926000"/>
            </a:xfrm>
            <a:prstGeom prst="ellipse">
              <a:avLst/>
            </a:prstGeom>
            <a:noFill/>
            <a:ln w="19050" cap="flat" cmpd="sng" algn="ctr">
              <a:solidFill>
                <a:srgbClr val="0070C0"/>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defRPr/>
              </a:pPr>
              <a:endParaRPr lang="zh-CN" altLang="en-US" sz="825" b="1" kern="0">
                <a:solidFill>
                  <a:srgbClr val="000000"/>
                </a:solidFill>
                <a:latin typeface="FrutigerNext LT Medium" pitchFamily="34" charset="0"/>
                <a:ea typeface="微软雅黑" pitchFamily="34" charset="-122"/>
                <a:cs typeface="Arial" pitchFamily="34" charset="0"/>
              </a:endParaRPr>
            </a:p>
          </p:txBody>
        </p:sp>
        <p:sp>
          <p:nvSpPr>
            <p:cNvPr id="35" name="椭圆 34"/>
            <p:cNvSpPr/>
            <p:nvPr/>
          </p:nvSpPr>
          <p:spPr bwMode="auto">
            <a:xfrm>
              <a:off x="9826804" y="4183373"/>
              <a:ext cx="1800550" cy="1800550"/>
            </a:xfrm>
            <a:prstGeom prst="ellipse">
              <a:avLst/>
            </a:prstGeom>
            <a:solidFill>
              <a:srgbClr val="0070C0"/>
            </a:solidFill>
            <a:ln w="9525" cap="flat" cmpd="sng" algn="ctr">
              <a:noFill/>
              <a:prstDash val="solid"/>
              <a:round/>
              <a:headEnd type="stealth" w="med" len="med"/>
              <a:tailEnd type="oval" w="med" len="med"/>
            </a:ln>
            <a:effectLst/>
          </p:spPr>
          <p:txBody>
            <a:bodyPr vert="horz" wrap="square" lIns="0" tIns="34287" rIns="0" bIns="34287" numCol="1" rtlCol="0" anchor="ctr" anchorCtr="0" compatLnSpc="1">
              <a:prstTxWarp prst="textNoShape">
                <a:avLst/>
              </a:prstTxWarp>
            </a:bodyPr>
            <a:lstStyle/>
            <a:p>
              <a:pPr algn="ctr" defTabSz="685709">
                <a:buClr>
                  <a:srgbClr val="CC9900"/>
                </a:buClr>
                <a:defRPr/>
              </a:pPr>
              <a:r>
                <a:rPr lang="en-US" altLang="zh-CN" sz="1200" b="1" kern="0" dirty="0">
                  <a:solidFill>
                    <a:srgbClr val="FFFFFF"/>
                  </a:solidFill>
                  <a:latin typeface="FrutigerNext LT Medium" pitchFamily="34" charset="0"/>
                  <a:ea typeface="微软雅黑" pitchFamily="34" charset="-122"/>
                  <a:cs typeface="Arial" pitchFamily="34" charset="0"/>
                </a:rPr>
                <a:t>80,000</a:t>
              </a:r>
            </a:p>
            <a:p>
              <a:pPr algn="ctr" defTabSz="685709" fontAlgn="auto">
                <a:spcBef>
                  <a:spcPts val="0"/>
                </a:spcBef>
                <a:spcAft>
                  <a:spcPts val="0"/>
                </a:spcAft>
                <a:defRPr/>
              </a:pPr>
              <a:r>
                <a:rPr lang="en-US" altLang="zh-CN" sz="900" kern="0" dirty="0">
                  <a:solidFill>
                    <a:srgbClr val="FFFFFF"/>
                  </a:solidFill>
                  <a:latin typeface="FrutigerNext LT Medium" pitchFamily="34" charset="0"/>
                  <a:ea typeface="微软雅黑" pitchFamily="34" charset="-122"/>
                  <a:cs typeface="Arial" pitchFamily="34" charset="0"/>
                </a:rPr>
                <a:t>R&amp;D engineers</a:t>
              </a:r>
              <a:endParaRPr lang="en-US" altLang="zh-CN" sz="900" kern="0" dirty="0">
                <a:solidFill>
                  <a:srgbClr val="FFFFFF"/>
                </a:solidFill>
                <a:latin typeface="FrutigerNext LT Medium" pitchFamily="34" charset="0"/>
                <a:ea typeface="微软雅黑" pitchFamily="34" charset="-122"/>
                <a:cs typeface="Arial" pitchFamily="34" charset="0"/>
              </a:endParaRPr>
            </a:p>
          </p:txBody>
        </p:sp>
      </p:grpSp>
      <p:cxnSp>
        <p:nvCxnSpPr>
          <p:cNvPr id="36" name="直接连接符 35"/>
          <p:cNvCxnSpPr>
            <a:endCxn id="31" idx="6"/>
          </p:cNvCxnSpPr>
          <p:nvPr/>
        </p:nvCxnSpPr>
        <p:spPr bwMode="auto">
          <a:xfrm flipH="1" flipV="1">
            <a:off x="1293270" y="3214595"/>
            <a:ext cx="1557628" cy="269558"/>
          </a:xfrm>
          <a:prstGeom prst="line">
            <a:avLst/>
          </a:prstGeom>
          <a:noFill/>
          <a:ln w="19050" cap="rnd" cmpd="sng" algn="ctr">
            <a:solidFill>
              <a:srgbClr val="FD9203"/>
            </a:solidFill>
            <a:prstDash val="solid"/>
            <a:round/>
            <a:headEnd type="oval" w="med" len="med"/>
            <a:tailEnd type="oval" w="med" len="med"/>
          </a:ln>
          <a:effectLst/>
        </p:spPr>
      </p:cxnSp>
      <p:cxnSp>
        <p:nvCxnSpPr>
          <p:cNvPr id="37" name="直接连接符 36"/>
          <p:cNvCxnSpPr/>
          <p:nvPr/>
        </p:nvCxnSpPr>
        <p:spPr bwMode="auto">
          <a:xfrm flipV="1">
            <a:off x="2726941" y="2790221"/>
            <a:ext cx="459516" cy="387092"/>
          </a:xfrm>
          <a:prstGeom prst="line">
            <a:avLst/>
          </a:prstGeom>
          <a:noFill/>
          <a:ln w="19050" cap="rnd" cmpd="sng" algn="ctr">
            <a:solidFill>
              <a:srgbClr val="00B0F0"/>
            </a:solidFill>
            <a:prstDash val="solid"/>
            <a:round/>
            <a:headEnd type="oval" w="med" len="med"/>
            <a:tailEnd type="oval" w="med" len="med"/>
          </a:ln>
          <a:effectLst/>
        </p:spPr>
      </p:cxnSp>
      <p:cxnSp>
        <p:nvCxnSpPr>
          <p:cNvPr id="38" name="直接连接符 37"/>
          <p:cNvCxnSpPr>
            <a:endCxn id="28" idx="5"/>
          </p:cNvCxnSpPr>
          <p:nvPr/>
        </p:nvCxnSpPr>
        <p:spPr bwMode="auto">
          <a:xfrm flipH="1" flipV="1">
            <a:off x="2007345" y="2774182"/>
            <a:ext cx="514398" cy="828833"/>
          </a:xfrm>
          <a:prstGeom prst="line">
            <a:avLst/>
          </a:prstGeom>
          <a:noFill/>
          <a:ln w="19050" cap="rnd" cmpd="sng" algn="ctr">
            <a:solidFill>
              <a:srgbClr val="000000">
                <a:lumMod val="65000"/>
                <a:lumOff val="35000"/>
              </a:srgbClr>
            </a:solidFill>
            <a:prstDash val="solid"/>
            <a:round/>
            <a:headEnd type="oval" w="med" len="med"/>
            <a:tailEnd type="oval" w="med" len="med"/>
          </a:ln>
          <a:effectLst/>
        </p:spPr>
      </p:cxnSp>
      <p:cxnSp>
        <p:nvCxnSpPr>
          <p:cNvPr id="39" name="直接连接符 38"/>
          <p:cNvCxnSpPr>
            <a:stCxn id="47" idx="7"/>
          </p:cNvCxnSpPr>
          <p:nvPr/>
        </p:nvCxnSpPr>
        <p:spPr bwMode="auto">
          <a:xfrm flipV="1">
            <a:off x="1595965" y="3379848"/>
            <a:ext cx="792530" cy="881446"/>
          </a:xfrm>
          <a:prstGeom prst="line">
            <a:avLst/>
          </a:prstGeom>
          <a:noFill/>
          <a:ln w="19050" cap="rnd" cmpd="sng" algn="ctr">
            <a:solidFill>
              <a:srgbClr val="7CBF33"/>
            </a:solidFill>
            <a:prstDash val="solid"/>
            <a:round/>
            <a:headEnd type="oval" w="med" len="med"/>
            <a:tailEnd type="oval" w="med" len="med"/>
          </a:ln>
          <a:effectLst/>
        </p:spPr>
      </p:cxnSp>
      <p:cxnSp>
        <p:nvCxnSpPr>
          <p:cNvPr id="40" name="直接连接符 39"/>
          <p:cNvCxnSpPr>
            <a:stCxn id="52" idx="4"/>
            <a:endCxn id="44" idx="0"/>
          </p:cNvCxnSpPr>
          <p:nvPr/>
        </p:nvCxnSpPr>
        <p:spPr bwMode="auto">
          <a:xfrm>
            <a:off x="2388495" y="3871981"/>
            <a:ext cx="50294" cy="627704"/>
          </a:xfrm>
          <a:prstGeom prst="line">
            <a:avLst/>
          </a:prstGeom>
          <a:noFill/>
          <a:ln w="19050" cap="rnd" cmpd="sng" algn="ctr">
            <a:solidFill>
              <a:srgbClr val="000000">
                <a:lumMod val="50000"/>
                <a:lumOff val="50000"/>
              </a:srgbClr>
            </a:solidFill>
            <a:prstDash val="solid"/>
            <a:round/>
            <a:headEnd type="oval" w="med" len="med"/>
            <a:tailEnd type="oval" w="med" len="med"/>
          </a:ln>
          <a:effectLst/>
        </p:spPr>
      </p:cxnSp>
      <p:cxnSp>
        <p:nvCxnSpPr>
          <p:cNvPr id="41" name="直接连接符 40"/>
          <p:cNvCxnSpPr>
            <a:endCxn id="35" idx="2"/>
          </p:cNvCxnSpPr>
          <p:nvPr/>
        </p:nvCxnSpPr>
        <p:spPr bwMode="auto">
          <a:xfrm>
            <a:off x="2388495" y="3379847"/>
            <a:ext cx="930620" cy="637802"/>
          </a:xfrm>
          <a:prstGeom prst="line">
            <a:avLst/>
          </a:prstGeom>
          <a:noFill/>
          <a:ln w="19050" cap="rnd" cmpd="sng" algn="ctr">
            <a:solidFill>
              <a:srgbClr val="0070C0"/>
            </a:solidFill>
            <a:prstDash val="solid"/>
            <a:round/>
            <a:headEnd type="oval" w="med" len="med"/>
            <a:tailEnd type="oval" w="med" len="med"/>
          </a:ln>
          <a:effectLst/>
        </p:spPr>
      </p:cxnSp>
      <p:grpSp>
        <p:nvGrpSpPr>
          <p:cNvPr id="42" name="组合 44"/>
          <p:cNvGrpSpPr/>
          <p:nvPr/>
        </p:nvGrpSpPr>
        <p:grpSpPr>
          <a:xfrm>
            <a:off x="2081594" y="4499685"/>
            <a:ext cx="714389" cy="714389"/>
            <a:chOff x="7564373" y="4610506"/>
            <a:chExt cx="1620000" cy="1620000"/>
          </a:xfrm>
        </p:grpSpPr>
        <p:sp>
          <p:nvSpPr>
            <p:cNvPr id="43" name="椭圆 42"/>
            <p:cNvSpPr/>
            <p:nvPr/>
          </p:nvSpPr>
          <p:spPr bwMode="auto">
            <a:xfrm>
              <a:off x="7634415" y="4664506"/>
              <a:ext cx="1512000" cy="1512000"/>
            </a:xfrm>
            <a:prstGeom prst="ellipse">
              <a:avLst/>
            </a:prstGeom>
            <a:solidFill>
              <a:srgbClr val="000000">
                <a:lumMod val="50000"/>
                <a:lumOff val="50000"/>
              </a:srgbClr>
            </a:solidFill>
            <a:ln w="9525" cap="flat" cmpd="sng" algn="ctr">
              <a:noFill/>
              <a:prstDash val="solid"/>
              <a:round/>
              <a:headEnd type="stealth" w="med" len="med"/>
              <a:tailEnd type="oval" w="med" len="med"/>
            </a:ln>
            <a:effectLst/>
          </p:spPr>
          <p:txBody>
            <a:bodyPr vert="horz" wrap="square" lIns="0" tIns="34287" rIns="0" bIns="34287" numCol="1" rtlCol="0" anchor="ctr" anchorCtr="0" compatLnSpc="1">
              <a:prstTxWarp prst="textNoShape">
                <a:avLst/>
              </a:prstTxWarp>
            </a:bodyPr>
            <a:lstStyle/>
            <a:p>
              <a:pPr algn="ctr" defTabSz="685709">
                <a:buClr>
                  <a:srgbClr val="CC9900"/>
                </a:buClr>
                <a:defRPr/>
              </a:pPr>
              <a:r>
                <a:rPr lang="en-US" altLang="zh-CN" sz="2100" b="1" kern="0" dirty="0">
                  <a:solidFill>
                    <a:srgbClr val="FFFFFF"/>
                  </a:solidFill>
                  <a:latin typeface="FrutigerNext LT Medium" pitchFamily="34" charset="0"/>
                  <a:ea typeface="微软雅黑" pitchFamily="34" charset="-122"/>
                  <a:cs typeface="Arial" pitchFamily="34" charset="0"/>
                </a:rPr>
                <a:t>15</a:t>
              </a:r>
            </a:p>
            <a:p>
              <a:pPr algn="ctr" defTabSz="685709" fontAlgn="auto">
                <a:spcBef>
                  <a:spcPts val="0"/>
                </a:spcBef>
                <a:spcAft>
                  <a:spcPts val="0"/>
                </a:spcAft>
                <a:defRPr/>
              </a:pPr>
              <a:r>
                <a:rPr lang="en-US" altLang="zh-CN" sz="825" kern="0" dirty="0">
                  <a:solidFill>
                    <a:srgbClr val="FFFFFF"/>
                  </a:solidFill>
                  <a:latin typeface="FrutigerNext LT Medium" pitchFamily="34" charset="0"/>
                  <a:ea typeface="微软雅黑" pitchFamily="34" charset="-122"/>
                  <a:cs typeface="Arial" pitchFamily="34" charset="0"/>
                </a:rPr>
                <a:t>R&amp;D centers</a:t>
              </a:r>
            </a:p>
          </p:txBody>
        </p:sp>
        <p:sp>
          <p:nvSpPr>
            <p:cNvPr id="44" name="椭圆 43"/>
            <p:cNvSpPr>
              <a:spLocks noChangeAspect="1"/>
            </p:cNvSpPr>
            <p:nvPr/>
          </p:nvSpPr>
          <p:spPr bwMode="auto">
            <a:xfrm>
              <a:off x="7564373" y="4610506"/>
              <a:ext cx="1620000" cy="1620000"/>
            </a:xfrm>
            <a:prstGeom prst="ellipse">
              <a:avLst/>
            </a:prstGeom>
            <a:noFill/>
            <a:ln w="19050" cap="flat" cmpd="sng" algn="ctr">
              <a:solidFill>
                <a:srgbClr val="000000">
                  <a:lumMod val="50000"/>
                  <a:lumOff val="50000"/>
                </a:srgbClr>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defRPr/>
              </a:pPr>
              <a:endParaRPr lang="zh-CN" altLang="en-US" sz="825" b="1" kern="0">
                <a:solidFill>
                  <a:srgbClr val="000000"/>
                </a:solidFill>
                <a:latin typeface="FrutigerNext LT Medium" pitchFamily="34" charset="0"/>
                <a:ea typeface="微软雅黑" pitchFamily="34" charset="-122"/>
                <a:cs typeface="Arial" pitchFamily="34" charset="0"/>
              </a:endParaRPr>
            </a:p>
          </p:txBody>
        </p:sp>
      </p:grpSp>
      <p:grpSp>
        <p:nvGrpSpPr>
          <p:cNvPr id="45" name="组合 46"/>
          <p:cNvGrpSpPr/>
          <p:nvPr/>
        </p:nvGrpSpPr>
        <p:grpSpPr>
          <a:xfrm>
            <a:off x="1013297" y="4161324"/>
            <a:ext cx="682638" cy="682638"/>
            <a:chOff x="4097697" y="4675317"/>
            <a:chExt cx="1548000" cy="1548000"/>
          </a:xfrm>
        </p:grpSpPr>
        <p:sp>
          <p:nvSpPr>
            <p:cNvPr id="46" name="椭圆 45"/>
            <p:cNvSpPr/>
            <p:nvPr/>
          </p:nvSpPr>
          <p:spPr bwMode="auto">
            <a:xfrm>
              <a:off x="4151697" y="4729317"/>
              <a:ext cx="1440000" cy="1440000"/>
            </a:xfrm>
            <a:prstGeom prst="ellipse">
              <a:avLst/>
            </a:prstGeom>
            <a:solidFill>
              <a:srgbClr val="7CBF33"/>
            </a:solidFill>
            <a:ln w="9525" cap="flat" cmpd="sng" algn="ctr">
              <a:noFill/>
              <a:prstDash val="solid"/>
              <a:round/>
              <a:headEnd type="stealth" w="med" len="med"/>
              <a:tailEnd type="oval" w="med" len="med"/>
            </a:ln>
            <a:effectLst/>
          </p:spPr>
          <p:txBody>
            <a:bodyPr vert="horz" wrap="square" lIns="0" tIns="34287" rIns="0" bIns="34287" numCol="1" rtlCol="0" anchor="ctr" anchorCtr="0" compatLnSpc="1">
              <a:prstTxWarp prst="textNoShape">
                <a:avLst/>
              </a:prstTxWarp>
            </a:bodyPr>
            <a:lstStyle/>
            <a:p>
              <a:pPr algn="ctr" defTabSz="685709">
                <a:buClr>
                  <a:srgbClr val="CC9900"/>
                </a:buClr>
                <a:defRPr/>
              </a:pPr>
              <a:r>
                <a:rPr lang="en-US" altLang="zh-CN" sz="2100" b="1" kern="0" dirty="0">
                  <a:solidFill>
                    <a:srgbClr val="FFFFFF"/>
                  </a:solidFill>
                  <a:latin typeface="FrutigerNext LT Medium" pitchFamily="34" charset="0"/>
                  <a:ea typeface="微软雅黑" pitchFamily="34" charset="-122"/>
                  <a:cs typeface="Arial" pitchFamily="34" charset="0"/>
                </a:rPr>
                <a:t>72</a:t>
              </a:r>
            </a:p>
            <a:p>
              <a:pPr algn="ctr" defTabSz="685709" fontAlgn="auto">
                <a:spcBef>
                  <a:spcPts val="0"/>
                </a:spcBef>
                <a:spcAft>
                  <a:spcPts val="0"/>
                </a:spcAft>
                <a:defRPr/>
              </a:pPr>
              <a:r>
                <a:rPr lang="en-US" altLang="zh-CN" sz="675" kern="0" dirty="0" err="1">
                  <a:solidFill>
                    <a:srgbClr val="FFFFFF"/>
                  </a:solidFill>
                  <a:latin typeface="FrutigerNext LT Medium" pitchFamily="34" charset="0"/>
                  <a:ea typeface="微软雅黑" pitchFamily="34" charset="-122"/>
                  <a:cs typeface="Arial" pitchFamily="34" charset="0"/>
                </a:rPr>
                <a:t>Interbrand's</a:t>
              </a:r>
              <a:r>
                <a:rPr lang="en-US" altLang="zh-CN" sz="675" kern="0" dirty="0">
                  <a:solidFill>
                    <a:srgbClr val="FFFFFF"/>
                  </a:solidFill>
                  <a:latin typeface="FrutigerNext LT Medium" pitchFamily="34" charset="0"/>
                  <a:ea typeface="微软雅黑" pitchFamily="34" charset="-122"/>
                  <a:cs typeface="Arial" pitchFamily="34" charset="0"/>
                </a:rPr>
                <a:t> Top 100</a:t>
              </a:r>
            </a:p>
          </p:txBody>
        </p:sp>
        <p:sp>
          <p:nvSpPr>
            <p:cNvPr id="47" name="椭圆 46"/>
            <p:cNvSpPr>
              <a:spLocks noChangeAspect="1"/>
            </p:cNvSpPr>
            <p:nvPr/>
          </p:nvSpPr>
          <p:spPr bwMode="auto">
            <a:xfrm>
              <a:off x="4097697" y="4675317"/>
              <a:ext cx="1548000" cy="1548000"/>
            </a:xfrm>
            <a:prstGeom prst="ellipse">
              <a:avLst/>
            </a:prstGeom>
            <a:noFill/>
            <a:ln w="19050" cap="flat" cmpd="sng" algn="ctr">
              <a:solidFill>
                <a:srgbClr val="7CBF33"/>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defRPr/>
              </a:pPr>
              <a:endParaRPr lang="zh-CN" altLang="en-US" sz="825" b="1" kern="0">
                <a:solidFill>
                  <a:srgbClr val="000000"/>
                </a:solidFill>
                <a:latin typeface="FrutigerNext LT Medium" pitchFamily="34" charset="0"/>
                <a:ea typeface="微软雅黑" pitchFamily="34" charset="-122"/>
                <a:cs typeface="Arial" pitchFamily="34" charset="0"/>
              </a:endParaRPr>
            </a:p>
          </p:txBody>
        </p:sp>
      </p:grpSp>
      <p:grpSp>
        <p:nvGrpSpPr>
          <p:cNvPr id="48" name="组合 48"/>
          <p:cNvGrpSpPr/>
          <p:nvPr/>
        </p:nvGrpSpPr>
        <p:grpSpPr>
          <a:xfrm>
            <a:off x="3062592" y="2025760"/>
            <a:ext cx="952519" cy="952519"/>
            <a:chOff x="8605271" y="1027240"/>
            <a:chExt cx="2160000" cy="2160000"/>
          </a:xfrm>
        </p:grpSpPr>
        <p:sp>
          <p:nvSpPr>
            <p:cNvPr id="49" name="椭圆 48"/>
            <p:cNvSpPr/>
            <p:nvPr/>
          </p:nvSpPr>
          <p:spPr bwMode="auto">
            <a:xfrm>
              <a:off x="8677271" y="1099240"/>
              <a:ext cx="2016000" cy="2016000"/>
            </a:xfrm>
            <a:prstGeom prst="ellipse">
              <a:avLst/>
            </a:prstGeom>
            <a:solidFill>
              <a:srgbClr val="00B0F0"/>
            </a:solidFill>
            <a:ln w="9525" cap="flat" cmpd="sng" algn="ctr">
              <a:noFill/>
              <a:prstDash val="solid"/>
              <a:round/>
              <a:headEnd type="stealth" w="med" len="med"/>
              <a:tailEnd type="oval" w="med" len="med"/>
            </a:ln>
            <a:effectLst/>
          </p:spPr>
          <p:txBody>
            <a:bodyPr vert="horz" wrap="none" lIns="0" tIns="34287" rIns="0" bIns="34287" numCol="1" rtlCol="0" anchor="ctr" anchorCtr="0" compatLnSpc="1">
              <a:prstTxWarp prst="textNoShape">
                <a:avLst/>
              </a:prstTxWarp>
            </a:bodyPr>
            <a:lstStyle/>
            <a:p>
              <a:pPr algn="ctr" defTabSz="685709">
                <a:buClr>
                  <a:srgbClr val="CC9900"/>
                </a:buClr>
                <a:defRPr/>
              </a:pPr>
              <a:r>
                <a:rPr lang="en-US" altLang="zh-CN" b="1" kern="0" dirty="0">
                  <a:solidFill>
                    <a:srgbClr val="FFFFFF"/>
                  </a:solidFill>
                  <a:latin typeface="FrutigerNext LT Medium" pitchFamily="34" charset="0"/>
                  <a:ea typeface="微软雅黑" pitchFamily="34" charset="-122"/>
                  <a:cs typeface="Arial" pitchFamily="34" charset="0"/>
                </a:rPr>
                <a:t>180,000</a:t>
              </a:r>
            </a:p>
            <a:p>
              <a:pPr algn="ctr" defTabSz="685709" fontAlgn="auto">
                <a:spcBef>
                  <a:spcPts val="0"/>
                </a:spcBef>
                <a:spcAft>
                  <a:spcPts val="0"/>
                </a:spcAft>
                <a:defRPr/>
              </a:pPr>
              <a:r>
                <a:rPr lang="en-US" altLang="zh-CN" sz="1050" kern="0" dirty="0">
                  <a:solidFill>
                    <a:srgbClr val="FFFFFF"/>
                  </a:solidFill>
                  <a:latin typeface="FrutigerNext LT Medium" pitchFamily="34" charset="0"/>
                  <a:ea typeface="微软雅黑" pitchFamily="34" charset="-122"/>
                  <a:cs typeface="Arial" pitchFamily="34" charset="0"/>
                </a:rPr>
                <a:t>Employees</a:t>
              </a:r>
              <a:endParaRPr lang="en-US" altLang="zh-CN" sz="1050" kern="0" dirty="0">
                <a:solidFill>
                  <a:srgbClr val="FFFFFF"/>
                </a:solidFill>
                <a:latin typeface="FrutigerNext LT Medium" pitchFamily="34" charset="0"/>
                <a:ea typeface="微软雅黑" pitchFamily="34" charset="-122"/>
                <a:cs typeface="Arial" pitchFamily="34" charset="0"/>
              </a:endParaRPr>
            </a:p>
          </p:txBody>
        </p:sp>
        <p:sp>
          <p:nvSpPr>
            <p:cNvPr id="50" name="椭圆 49"/>
            <p:cNvSpPr>
              <a:spLocks noChangeAspect="1"/>
            </p:cNvSpPr>
            <p:nvPr/>
          </p:nvSpPr>
          <p:spPr bwMode="auto">
            <a:xfrm>
              <a:off x="8605271" y="1027240"/>
              <a:ext cx="2160000" cy="2160000"/>
            </a:xfrm>
            <a:prstGeom prst="ellipse">
              <a:avLst/>
            </a:prstGeom>
            <a:noFill/>
            <a:ln w="19050" cap="flat" cmpd="sng" algn="ctr">
              <a:solidFill>
                <a:srgbClr val="00B0F0"/>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defRPr/>
              </a:pPr>
              <a:endParaRPr lang="zh-CN" altLang="en-US" sz="825" b="1" kern="0">
                <a:solidFill>
                  <a:srgbClr val="000000"/>
                </a:solidFill>
                <a:latin typeface="FrutigerNext LT Medium" pitchFamily="34" charset="0"/>
                <a:ea typeface="微软雅黑" pitchFamily="34" charset="-122"/>
                <a:cs typeface="Arial" pitchFamily="34" charset="0"/>
              </a:endParaRPr>
            </a:p>
          </p:txBody>
        </p:sp>
      </p:grpSp>
      <p:grpSp>
        <p:nvGrpSpPr>
          <p:cNvPr id="51" name="组合 5"/>
          <p:cNvGrpSpPr/>
          <p:nvPr/>
        </p:nvGrpSpPr>
        <p:grpSpPr>
          <a:xfrm>
            <a:off x="1896361" y="2887712"/>
            <a:ext cx="984269" cy="984269"/>
            <a:chOff x="5317356" y="2732388"/>
            <a:chExt cx="2232000" cy="2232000"/>
          </a:xfrm>
        </p:grpSpPr>
        <p:sp>
          <p:nvSpPr>
            <p:cNvPr id="52" name="椭圆 51"/>
            <p:cNvSpPr/>
            <p:nvPr/>
          </p:nvSpPr>
          <p:spPr bwMode="auto">
            <a:xfrm>
              <a:off x="5317356" y="2732388"/>
              <a:ext cx="2232000" cy="2232000"/>
            </a:xfrm>
            <a:prstGeom prst="ellipse">
              <a:avLst/>
            </a:prstGeom>
            <a:solidFill>
              <a:srgbClr val="FFFFFF"/>
            </a:solidFill>
            <a:ln w="38100" cap="flat" cmpd="sng" algn="ctr">
              <a:solidFill>
                <a:srgbClr val="C00000"/>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defRPr/>
              </a:pPr>
              <a:endParaRPr lang="zh-CN" altLang="en-US" sz="825" b="1" kern="0">
                <a:solidFill>
                  <a:srgbClr val="000000"/>
                </a:solidFill>
                <a:latin typeface="FrutigerNext LT Medium" pitchFamily="34" charset="0"/>
                <a:ea typeface="微软雅黑" pitchFamily="34" charset="-122"/>
                <a:cs typeface="Arial" pitchFamily="34" charset="0"/>
              </a:endParaRPr>
            </a:p>
          </p:txBody>
        </p:sp>
        <p:sp>
          <p:nvSpPr>
            <p:cNvPr id="53" name="椭圆 52"/>
            <p:cNvSpPr/>
            <p:nvPr/>
          </p:nvSpPr>
          <p:spPr bwMode="auto">
            <a:xfrm>
              <a:off x="5389356" y="2804388"/>
              <a:ext cx="2088000" cy="2088000"/>
            </a:xfrm>
            <a:prstGeom prst="ellipse">
              <a:avLst/>
            </a:prstGeom>
            <a:solidFill>
              <a:srgbClr val="C00000"/>
            </a:solidFill>
            <a:ln w="9525" cap="flat" cmpd="sng" algn="ctr">
              <a:noFill/>
              <a:prstDash val="solid"/>
              <a:round/>
              <a:headEnd type="none" w="med" len="med"/>
              <a:tailEnd type="none" w="med" len="med"/>
            </a:ln>
            <a:effectLst/>
          </p:spPr>
          <p:txBody>
            <a:bodyPr vert="horz" wrap="square" lIns="68574" tIns="34287" rIns="68574" bIns="34287" numCol="1" rtlCol="0" anchor="ctr" anchorCtr="0" compatLnSpc="1">
              <a:prstTxWarp prst="textNoShape">
                <a:avLst/>
              </a:prstTxWarp>
            </a:bodyPr>
            <a:lstStyle/>
            <a:p>
              <a:pPr algn="ctr" defTabSz="685709" fontAlgn="auto">
                <a:lnSpc>
                  <a:spcPct val="120000"/>
                </a:lnSpc>
                <a:spcBef>
                  <a:spcPts val="0"/>
                </a:spcBef>
                <a:spcAft>
                  <a:spcPts val="0"/>
                </a:spcAft>
                <a:defRPr/>
              </a:pPr>
              <a:r>
                <a:rPr lang="en-US" altLang="zh-CN" sz="900" kern="0" dirty="0">
                  <a:solidFill>
                    <a:srgbClr val="FFFFFF"/>
                  </a:solidFill>
                  <a:latin typeface="FrutigerNext LT Medium" pitchFamily="34" charset="0"/>
                  <a:ea typeface="微软雅黑" pitchFamily="34" charset="-122"/>
                  <a:cs typeface="Arial" pitchFamily="34" charset="0"/>
                </a:rPr>
                <a:t>A global leader of ICT solutions</a:t>
              </a:r>
              <a:endParaRPr lang="en-US" altLang="zh-CN" sz="900" kern="0" dirty="0">
                <a:solidFill>
                  <a:srgbClr val="FFFFFF"/>
                </a:solidFill>
                <a:latin typeface="FrutigerNext LT Medium" pitchFamily="34" charset="0"/>
                <a:ea typeface="微软雅黑" pitchFamily="34" charset="-122"/>
                <a:cs typeface="Arial" pitchFamily="34" charset="0"/>
              </a:endParaRPr>
            </a:p>
          </p:txBody>
        </p:sp>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112"/>
          <p:cNvGrpSpPr/>
          <p:nvPr/>
        </p:nvGrpSpPr>
        <p:grpSpPr>
          <a:xfrm>
            <a:off x="524906" y="3037350"/>
            <a:ext cx="8139865" cy="1094590"/>
            <a:chOff x="699934" y="2872881"/>
            <a:chExt cx="10854095" cy="1459580"/>
          </a:xfrm>
        </p:grpSpPr>
        <p:grpSp>
          <p:nvGrpSpPr>
            <p:cNvPr id="5" name="组合 30"/>
            <p:cNvGrpSpPr/>
            <p:nvPr/>
          </p:nvGrpSpPr>
          <p:grpSpPr>
            <a:xfrm>
              <a:off x="699934" y="2879624"/>
              <a:ext cx="3456000" cy="1422876"/>
              <a:chOff x="699934" y="2997313"/>
              <a:chExt cx="3456000" cy="1422876"/>
            </a:xfrm>
          </p:grpSpPr>
          <p:sp>
            <p:nvSpPr>
              <p:cNvPr id="12" name="矩形 11"/>
              <p:cNvSpPr/>
              <p:nvPr/>
            </p:nvSpPr>
            <p:spPr bwMode="auto">
              <a:xfrm>
                <a:off x="879934" y="3164352"/>
                <a:ext cx="3095999" cy="1255837"/>
              </a:xfrm>
              <a:prstGeom prst="rect">
                <a:avLst/>
              </a:prstGeom>
            </p:spPr>
            <p:txBody>
              <a:bodyPr wrap="square" lIns="0" tIns="0" rIns="0" bIns="0">
                <a:spAutoFit/>
              </a:bodyPr>
              <a:lstStyle/>
              <a:p>
                <a:pPr algn="ctr" defTabSz="914232">
                  <a:lnSpc>
                    <a:spcPct val="120000"/>
                  </a:lnSpc>
                  <a:buSzPct val="80000"/>
                  <a:defRPr/>
                </a:pPr>
                <a:r>
                  <a:rPr lang="en-US" altLang="zh-CN" sz="1500" b="1" dirty="0">
                    <a:solidFill>
                      <a:schemeClr val="bg1"/>
                    </a:solidFill>
                    <a:latin typeface="FrutigerNext LT Medium" pitchFamily="34" charset="0"/>
                    <a:ea typeface="华文细黑"/>
                    <a:cs typeface="Arial" pitchFamily="34" charset="0"/>
                  </a:rPr>
                  <a:t>Consumer Business</a:t>
                </a:r>
              </a:p>
              <a:p>
                <a:pPr algn="ctr" defTabSz="914232">
                  <a:lnSpc>
                    <a:spcPct val="120000"/>
                  </a:lnSpc>
                  <a:buSzPct val="80000"/>
                  <a:defRPr/>
                </a:pPr>
                <a:r>
                  <a:rPr lang="en-US" altLang="zh-CN" b="1" dirty="0">
                    <a:solidFill>
                      <a:schemeClr val="bg1"/>
                    </a:solidFill>
                    <a:latin typeface="FrutigerNext LT Medium" pitchFamily="34" charset="0"/>
                    <a:ea typeface="华文细黑"/>
                    <a:cs typeface="Arial" pitchFamily="34" charset="0"/>
                  </a:rPr>
                  <a:t>A brand loved by consumers</a:t>
                </a:r>
              </a:p>
            </p:txBody>
          </p:sp>
          <p:sp>
            <p:nvSpPr>
              <p:cNvPr id="13" name="圆角矩形 12"/>
              <p:cNvSpPr/>
              <p:nvPr/>
            </p:nvSpPr>
            <p:spPr bwMode="auto">
              <a:xfrm>
                <a:off x="699934" y="2997313"/>
                <a:ext cx="3456000" cy="900000"/>
              </a:xfrm>
              <a:prstGeom prst="roundRect">
                <a:avLst>
                  <a:gd name="adj" fmla="val 10140"/>
                </a:avLst>
              </a:prstGeom>
              <a:noFill/>
              <a:ln w="19050" cap="flat" cmpd="sng" algn="ctr">
                <a:solidFill>
                  <a:srgbClr val="FD920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a:buFont typeface="Wingdings" pitchFamily="2" charset="2"/>
                  <a:buNone/>
                </a:pPr>
                <a:endParaRPr lang="zh-CN" altLang="en-US">
                  <a:solidFill>
                    <a:schemeClr val="bg1"/>
                  </a:solidFill>
                  <a:latin typeface="FrutigerNext LT Medium" pitchFamily="34" charset="0"/>
                  <a:cs typeface="Arial" pitchFamily="34" charset="0"/>
                </a:endParaRPr>
              </a:p>
            </p:txBody>
          </p:sp>
        </p:grpSp>
        <p:grpSp>
          <p:nvGrpSpPr>
            <p:cNvPr id="6" name="组合 31"/>
            <p:cNvGrpSpPr/>
            <p:nvPr/>
          </p:nvGrpSpPr>
          <p:grpSpPr>
            <a:xfrm>
              <a:off x="4360544" y="2879624"/>
              <a:ext cx="3456000" cy="1452837"/>
              <a:chOff x="4360544" y="2997313"/>
              <a:chExt cx="3456000" cy="1452837"/>
            </a:xfrm>
          </p:grpSpPr>
          <p:sp>
            <p:nvSpPr>
              <p:cNvPr id="10" name="矩形 9"/>
              <p:cNvSpPr/>
              <p:nvPr/>
            </p:nvSpPr>
            <p:spPr bwMode="auto">
              <a:xfrm>
                <a:off x="4441403" y="3194312"/>
                <a:ext cx="3285235" cy="1255838"/>
              </a:xfrm>
              <a:prstGeom prst="rect">
                <a:avLst/>
              </a:prstGeom>
            </p:spPr>
            <p:txBody>
              <a:bodyPr wrap="square" lIns="0" tIns="0" rIns="0" bIns="0">
                <a:spAutoFit/>
              </a:bodyPr>
              <a:lstStyle/>
              <a:p>
                <a:pPr algn="ctr" defTabSz="914232">
                  <a:lnSpc>
                    <a:spcPct val="120000"/>
                  </a:lnSpc>
                  <a:defRPr/>
                </a:pPr>
                <a:r>
                  <a:rPr lang="en-US" altLang="zh-CN" sz="1500" b="1" dirty="0">
                    <a:solidFill>
                      <a:schemeClr val="bg1"/>
                    </a:solidFill>
                    <a:latin typeface="FrutigerNext LT Medium" pitchFamily="34" charset="0"/>
                    <a:ea typeface="华文细黑"/>
                    <a:cs typeface="Arial" pitchFamily="34" charset="0"/>
                  </a:rPr>
                  <a:t>Carrier Business</a:t>
                </a:r>
              </a:p>
              <a:p>
                <a:pPr algn="ctr" defTabSz="914232">
                  <a:lnSpc>
                    <a:spcPct val="120000"/>
                  </a:lnSpc>
                  <a:defRPr/>
                </a:pPr>
                <a:r>
                  <a:rPr lang="en-US" altLang="zh-CN" b="1" dirty="0">
                    <a:solidFill>
                      <a:schemeClr val="bg1"/>
                    </a:solidFill>
                    <a:latin typeface="FrutigerNext LT Medium" pitchFamily="34" charset="0"/>
                    <a:cs typeface="Arial" pitchFamily="34" charset="0"/>
                  </a:rPr>
                  <a:t>Customers' </a:t>
                </a:r>
                <a:r>
                  <a:rPr lang="en-US" altLang="zh-CN" b="1" dirty="0" smtClean="0">
                    <a:solidFill>
                      <a:schemeClr val="bg1"/>
                    </a:solidFill>
                    <a:latin typeface="FrutigerNext LT Medium" pitchFamily="34" charset="0"/>
                    <a:cs typeface="Arial" pitchFamily="34" charset="0"/>
                  </a:rPr>
                  <a:t>best strategic </a:t>
                </a:r>
                <a:r>
                  <a:rPr lang="en-US" altLang="zh-CN" b="1" dirty="0">
                    <a:solidFill>
                      <a:schemeClr val="bg1"/>
                    </a:solidFill>
                    <a:latin typeface="FrutigerNext LT Medium" pitchFamily="34" charset="0"/>
                    <a:cs typeface="Arial" pitchFamily="34" charset="0"/>
                  </a:rPr>
                  <a:t>partner</a:t>
                </a:r>
                <a:endParaRPr lang="en-US" altLang="zh-CN" b="1" dirty="0">
                  <a:solidFill>
                    <a:schemeClr val="bg1"/>
                  </a:solidFill>
                  <a:latin typeface="FrutigerNext LT Medium" pitchFamily="34" charset="0"/>
                  <a:ea typeface="华文细黑"/>
                  <a:cs typeface="Arial" pitchFamily="34" charset="0"/>
                </a:endParaRPr>
              </a:p>
            </p:txBody>
          </p:sp>
          <p:sp>
            <p:nvSpPr>
              <p:cNvPr id="11" name="圆角矩形 10"/>
              <p:cNvSpPr/>
              <p:nvPr/>
            </p:nvSpPr>
            <p:spPr bwMode="auto">
              <a:xfrm>
                <a:off x="4360544" y="2997313"/>
                <a:ext cx="3456000" cy="900000"/>
              </a:xfrm>
              <a:prstGeom prst="roundRect">
                <a:avLst>
                  <a:gd name="adj" fmla="val 10020"/>
                </a:avLst>
              </a:prstGeom>
              <a:noFill/>
              <a:ln w="19050" cap="flat" cmpd="sng" algn="ctr">
                <a:solidFill>
                  <a:srgbClr val="00B0F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a:buFont typeface="Wingdings" pitchFamily="2" charset="2"/>
                  <a:buNone/>
                </a:pPr>
                <a:endParaRPr lang="zh-CN" altLang="en-US">
                  <a:solidFill>
                    <a:schemeClr val="bg1"/>
                  </a:solidFill>
                  <a:latin typeface="FrutigerNext LT Medium" pitchFamily="34" charset="0"/>
                  <a:cs typeface="Arial" pitchFamily="34" charset="0"/>
                </a:endParaRPr>
              </a:p>
            </p:txBody>
          </p:sp>
        </p:grpSp>
        <p:grpSp>
          <p:nvGrpSpPr>
            <p:cNvPr id="7" name="组合 32"/>
            <p:cNvGrpSpPr/>
            <p:nvPr/>
          </p:nvGrpSpPr>
          <p:grpSpPr>
            <a:xfrm>
              <a:off x="7990674" y="2872881"/>
              <a:ext cx="3563355" cy="923410"/>
              <a:chOff x="7990674" y="2990570"/>
              <a:chExt cx="3563355" cy="923410"/>
            </a:xfrm>
          </p:grpSpPr>
          <p:sp>
            <p:nvSpPr>
              <p:cNvPr id="8" name="矩形 7"/>
              <p:cNvSpPr/>
              <p:nvPr/>
            </p:nvSpPr>
            <p:spPr bwMode="auto">
              <a:xfrm>
                <a:off x="7990674" y="2990570"/>
                <a:ext cx="3563355" cy="923410"/>
              </a:xfrm>
              <a:prstGeom prst="rect">
                <a:avLst/>
              </a:prstGeom>
            </p:spPr>
            <p:txBody>
              <a:bodyPr wrap="square" lIns="0" tIns="0" rIns="0" bIns="0">
                <a:spAutoFit/>
              </a:bodyPr>
              <a:lstStyle/>
              <a:p>
                <a:pPr algn="ctr">
                  <a:lnSpc>
                    <a:spcPct val="120000"/>
                  </a:lnSpc>
                  <a:buSzPct val="80000"/>
                  <a:defRPr/>
                </a:pPr>
                <a:r>
                  <a:rPr lang="en-US" altLang="zh-CN" sz="1350" b="1" kern="0" dirty="0">
                    <a:solidFill>
                      <a:schemeClr val="bg1"/>
                    </a:solidFill>
                    <a:latin typeface="FrutigerNext LT Medium" pitchFamily="34" charset="0"/>
                    <a:cs typeface="Arial" pitchFamily="34" charset="0"/>
                  </a:rPr>
                  <a:t>Enterprise Business</a:t>
                </a:r>
                <a:endParaRPr lang="en-US" altLang="zh-CN" sz="1350" b="1" kern="0" dirty="0">
                  <a:solidFill>
                    <a:schemeClr val="bg1"/>
                  </a:solidFill>
                  <a:latin typeface="FrutigerNext LT Medium" pitchFamily="34" charset="0"/>
                  <a:cs typeface="Arial" pitchFamily="34" charset="0"/>
                </a:endParaRPr>
              </a:p>
              <a:p>
                <a:pPr algn="ctr">
                  <a:lnSpc>
                    <a:spcPct val="120000"/>
                  </a:lnSpc>
                  <a:buSzPct val="80000"/>
                  <a:defRPr/>
                </a:pPr>
                <a:r>
                  <a:rPr lang="en-US" altLang="zh-CN" sz="1200" b="1" kern="0" dirty="0">
                    <a:solidFill>
                      <a:schemeClr val="bg1"/>
                    </a:solidFill>
                    <a:latin typeface="FrutigerNext LT Medium" pitchFamily="34" charset="0"/>
                    <a:cs typeface="Arial" pitchFamily="34" charset="0"/>
                  </a:rPr>
                  <a:t>Enabler and preferred partner of enterprise digital transformation</a:t>
                </a:r>
              </a:p>
            </p:txBody>
          </p:sp>
          <p:sp>
            <p:nvSpPr>
              <p:cNvPr id="9" name="圆角矩形 8"/>
              <p:cNvSpPr/>
              <p:nvPr/>
            </p:nvSpPr>
            <p:spPr bwMode="auto">
              <a:xfrm>
                <a:off x="8021154" y="2997313"/>
                <a:ext cx="3456000" cy="900000"/>
              </a:xfrm>
              <a:prstGeom prst="roundRect">
                <a:avLst>
                  <a:gd name="adj" fmla="val 9670"/>
                </a:avLst>
              </a:prstGeom>
              <a:noFill/>
              <a:ln w="19050" cap="flat" cmpd="sng" algn="ctr">
                <a:solidFill>
                  <a:srgbClr val="7CBF3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a:buFont typeface="Wingdings" pitchFamily="2" charset="2"/>
                  <a:buNone/>
                </a:pPr>
                <a:endParaRPr lang="zh-CN" altLang="en-US">
                  <a:solidFill>
                    <a:schemeClr val="bg1"/>
                  </a:solidFill>
                  <a:latin typeface="FrutigerNext LT Medium" pitchFamily="34" charset="0"/>
                  <a:cs typeface="Arial" pitchFamily="34" charset="0"/>
                </a:endParaRPr>
              </a:p>
            </p:txBody>
          </p:sp>
        </p:grpSp>
      </p:grpSp>
      <p:grpSp>
        <p:nvGrpSpPr>
          <p:cNvPr id="14" name="组合 25"/>
          <p:cNvGrpSpPr/>
          <p:nvPr/>
        </p:nvGrpSpPr>
        <p:grpSpPr>
          <a:xfrm>
            <a:off x="522830" y="3771974"/>
            <a:ext cx="8099297" cy="722804"/>
            <a:chOff x="697166" y="3942997"/>
            <a:chExt cx="10800000" cy="963823"/>
          </a:xfrm>
          <a:solidFill>
            <a:schemeClr val="accent1">
              <a:lumMod val="75000"/>
            </a:schemeClr>
          </a:solidFill>
        </p:grpSpPr>
        <p:sp>
          <p:nvSpPr>
            <p:cNvPr id="15" name="等腰三角形 14"/>
            <p:cNvSpPr/>
            <p:nvPr/>
          </p:nvSpPr>
          <p:spPr bwMode="auto">
            <a:xfrm>
              <a:off x="697166" y="3942997"/>
              <a:ext cx="10800000" cy="720000"/>
            </a:xfrm>
            <a:prstGeom prst="triangle">
              <a:avLst/>
            </a:prstGeom>
            <a:grpFill/>
            <a:ln w="9525" cap="flat" cmpd="sng" algn="ctr">
              <a:no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endParaRPr lang="zh-CN" altLang="en-US">
                <a:solidFill>
                  <a:schemeClr val="bg1"/>
                </a:solidFill>
                <a:latin typeface="FrutigerNext LT Medium" pitchFamily="34" charset="0"/>
                <a:cs typeface="Arial" pitchFamily="34" charset="0"/>
              </a:endParaRPr>
            </a:p>
          </p:txBody>
        </p:sp>
        <p:sp>
          <p:nvSpPr>
            <p:cNvPr id="16" name="TextBox 41"/>
            <p:cNvSpPr txBox="1"/>
            <p:nvPr/>
          </p:nvSpPr>
          <p:spPr>
            <a:xfrm>
              <a:off x="3579016" y="4291213"/>
              <a:ext cx="5606547" cy="615607"/>
            </a:xfrm>
            <a:prstGeom prst="rect">
              <a:avLst/>
            </a:prstGeom>
            <a:noFill/>
          </p:spPr>
          <p:txBody>
            <a:bodyPr wrap="square" lIns="0" tIns="0" rIns="0" bIns="0" rtlCol="0">
              <a:spAutoFit/>
            </a:bodyPr>
            <a:lstStyle/>
            <a:p>
              <a:pPr algn="ctr">
                <a:buFont typeface="Wingdings" pitchFamily="2" charset="2"/>
                <a:buNone/>
              </a:pPr>
              <a:r>
                <a:rPr lang="en-US" altLang="zh-CN" sz="1500" b="1" dirty="0">
                  <a:solidFill>
                    <a:schemeClr val="bg1"/>
                  </a:solidFill>
                  <a:latin typeface="FrutigerNext LT Medium" pitchFamily="34" charset="0"/>
                  <a:cs typeface="Arial" pitchFamily="34" charset="0"/>
                </a:rPr>
                <a:t>A Global Leader of ICT </a:t>
              </a:r>
              <a:r>
                <a:rPr lang="en-US" altLang="zh-CN" sz="1500" b="1" dirty="0">
                  <a:solidFill>
                    <a:schemeClr val="bg1"/>
                  </a:solidFill>
                  <a:latin typeface="FrutigerNext LT Medium" pitchFamily="34" charset="0"/>
                  <a:cs typeface="Arial" pitchFamily="34" charset="0"/>
                </a:rPr>
                <a:t>Solutions and Products</a:t>
              </a:r>
              <a:endParaRPr lang="zh-CN" altLang="en-US" sz="1500" b="1" dirty="0">
                <a:solidFill>
                  <a:schemeClr val="bg1"/>
                </a:solidFill>
                <a:latin typeface="FrutigerNext LT Medium" pitchFamily="34" charset="0"/>
                <a:cs typeface="Arial" pitchFamily="34" charset="0"/>
              </a:endParaRPr>
            </a:p>
          </p:txBody>
        </p:sp>
      </p:grpSp>
      <p:grpSp>
        <p:nvGrpSpPr>
          <p:cNvPr id="17" name="组合 109"/>
          <p:cNvGrpSpPr/>
          <p:nvPr/>
        </p:nvGrpSpPr>
        <p:grpSpPr>
          <a:xfrm>
            <a:off x="516042" y="4252539"/>
            <a:ext cx="8100120" cy="1268890"/>
            <a:chOff x="688113" y="4538540"/>
            <a:chExt cx="10801097" cy="1692000"/>
          </a:xfrm>
        </p:grpSpPr>
        <p:sp>
          <p:nvSpPr>
            <p:cNvPr id="18" name="圆角矩形 17"/>
            <p:cNvSpPr/>
            <p:nvPr/>
          </p:nvSpPr>
          <p:spPr bwMode="auto">
            <a:xfrm>
              <a:off x="689210" y="4862540"/>
              <a:ext cx="10800000" cy="1368000"/>
            </a:xfrm>
            <a:prstGeom prst="roundRect">
              <a:avLst>
                <a:gd name="adj" fmla="val 3033"/>
              </a:avLst>
            </a:prstGeom>
            <a:noFill/>
            <a:ln w="12700" cap="flat" cmpd="sng" algn="ctr">
              <a:solidFill>
                <a:schemeClr val="tx1">
                  <a:lumMod val="50000"/>
                  <a:lumOff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a:buFont typeface="Wingdings" pitchFamily="2" charset="2"/>
                <a:buNone/>
              </a:pPr>
              <a:endParaRPr lang="zh-CN" altLang="en-US">
                <a:solidFill>
                  <a:schemeClr val="bg1"/>
                </a:solidFill>
                <a:latin typeface="FrutigerNext LT Medium" pitchFamily="34" charset="0"/>
                <a:cs typeface="Arial" pitchFamily="34" charset="0"/>
              </a:endParaRPr>
            </a:p>
          </p:txBody>
        </p:sp>
        <p:grpSp>
          <p:nvGrpSpPr>
            <p:cNvPr id="19" name="组合 21"/>
            <p:cNvGrpSpPr/>
            <p:nvPr/>
          </p:nvGrpSpPr>
          <p:grpSpPr>
            <a:xfrm>
              <a:off x="688113" y="4538540"/>
              <a:ext cx="10801097" cy="648000"/>
              <a:chOff x="688113" y="4565912"/>
              <a:chExt cx="10801097" cy="648000"/>
            </a:xfrm>
          </p:grpSpPr>
          <p:sp>
            <p:nvSpPr>
              <p:cNvPr id="28" name="右箭头 27"/>
              <p:cNvSpPr/>
              <p:nvPr/>
            </p:nvSpPr>
            <p:spPr bwMode="auto">
              <a:xfrm>
                <a:off x="688113" y="4565912"/>
                <a:ext cx="10801097" cy="648000"/>
              </a:xfrm>
              <a:prstGeom prst="rightArrow">
                <a:avLst>
                  <a:gd name="adj1" fmla="val 55268"/>
                  <a:gd name="adj2" fmla="val 122573"/>
                </a:avLst>
              </a:prstGeom>
              <a:solidFill>
                <a:srgbClr val="6699FF"/>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74" tIns="34287" rIns="68574" bIns="34287" numCol="1" rtlCol="0" anchor="t" anchorCtr="0" compatLnSpc="1">
                <a:prstTxWarp prst="textNoShape">
                  <a:avLst/>
                </a:prstTxWarp>
              </a:bodyPr>
              <a:lstStyle/>
              <a:p>
                <a:pPr>
                  <a:buFont typeface="Wingdings" pitchFamily="2" charset="2"/>
                  <a:buNone/>
                </a:pPr>
                <a:endParaRPr lang="zh-CN" altLang="en-US" sz="1200" dirty="0">
                  <a:solidFill>
                    <a:schemeClr val="bg1"/>
                  </a:solidFill>
                  <a:latin typeface="FrutigerNext LT Medium" pitchFamily="34" charset="0"/>
                  <a:cs typeface="Arial" pitchFamily="34" charset="0"/>
                </a:endParaRPr>
              </a:p>
            </p:txBody>
          </p:sp>
          <p:grpSp>
            <p:nvGrpSpPr>
              <p:cNvPr id="29" name="组合 17"/>
              <p:cNvGrpSpPr/>
              <p:nvPr/>
            </p:nvGrpSpPr>
            <p:grpSpPr>
              <a:xfrm>
                <a:off x="699932" y="4771073"/>
                <a:ext cx="10160415" cy="226579"/>
                <a:chOff x="401117" y="4785464"/>
                <a:chExt cx="10160415" cy="226579"/>
              </a:xfrm>
            </p:grpSpPr>
            <p:sp>
              <p:nvSpPr>
                <p:cNvPr id="30" name="矩形 29"/>
                <p:cNvSpPr/>
                <p:nvPr/>
              </p:nvSpPr>
              <p:spPr>
                <a:xfrm>
                  <a:off x="401117" y="4785464"/>
                  <a:ext cx="3525445" cy="215462"/>
                </a:xfrm>
                <a:prstGeom prst="rect">
                  <a:avLst/>
                </a:prstGeom>
              </p:spPr>
              <p:txBody>
                <a:bodyPr wrap="square" lIns="0" tIns="0" rIns="0" bIns="0">
                  <a:spAutoFit/>
                </a:bodyPr>
                <a:lstStyle/>
                <a:p>
                  <a:pPr algn="ctr">
                    <a:buFont typeface="Wingdings" pitchFamily="2" charset="2"/>
                    <a:buNone/>
                  </a:pPr>
                  <a:r>
                    <a:rPr lang="en-US" altLang="zh-CN" sz="1050" dirty="0">
                      <a:solidFill>
                        <a:schemeClr val="bg1"/>
                      </a:solidFill>
                      <a:latin typeface="FrutigerNext LT Medium" pitchFamily="34" charset="0"/>
                      <a:ea typeface="华文细黑"/>
                      <a:cs typeface="Arial" pitchFamily="34" charset="0"/>
                    </a:rPr>
                    <a:t>Information Distribution and</a:t>
                  </a:r>
                  <a:r>
                    <a:rPr lang="zh-CN" altLang="en-US" sz="1050" dirty="0">
                      <a:solidFill>
                        <a:schemeClr val="bg1"/>
                      </a:solidFill>
                      <a:latin typeface="FrutigerNext LT Medium" pitchFamily="34" charset="0"/>
                      <a:ea typeface="华文细黑"/>
                      <a:cs typeface="Arial" pitchFamily="34" charset="0"/>
                    </a:rPr>
                    <a:t> </a:t>
                  </a:r>
                  <a:r>
                    <a:rPr lang="en-US" altLang="zh-CN" sz="1050" dirty="0">
                      <a:solidFill>
                        <a:schemeClr val="bg1"/>
                      </a:solidFill>
                      <a:latin typeface="FrutigerNext LT Medium" pitchFamily="34" charset="0"/>
                      <a:ea typeface="华文细黑"/>
                      <a:cs typeface="Arial" pitchFamily="34" charset="0"/>
                    </a:rPr>
                    <a:t>Presentation</a:t>
                  </a:r>
                </a:p>
              </p:txBody>
            </p:sp>
            <p:sp>
              <p:nvSpPr>
                <p:cNvPr id="31" name="矩形 30"/>
                <p:cNvSpPr/>
                <p:nvPr/>
              </p:nvSpPr>
              <p:spPr>
                <a:xfrm>
                  <a:off x="4169845" y="4796581"/>
                  <a:ext cx="2520000" cy="215462"/>
                </a:xfrm>
                <a:prstGeom prst="rect">
                  <a:avLst/>
                </a:prstGeom>
              </p:spPr>
              <p:txBody>
                <a:bodyPr wrap="square" lIns="0" tIns="0" rIns="0" bIns="0">
                  <a:spAutoFit/>
                </a:bodyPr>
                <a:lstStyle/>
                <a:p>
                  <a:pPr algn="ctr">
                    <a:buFont typeface="Wingdings" pitchFamily="2" charset="2"/>
                    <a:buNone/>
                  </a:pPr>
                  <a:r>
                    <a:rPr lang="en-US" altLang="zh-CN" sz="1050" dirty="0">
                      <a:solidFill>
                        <a:schemeClr val="bg1"/>
                      </a:solidFill>
                      <a:latin typeface="FrutigerNext LT Medium" pitchFamily="34" charset="0"/>
                      <a:ea typeface="华文细黑"/>
                      <a:cs typeface="Arial" pitchFamily="34" charset="0"/>
                    </a:rPr>
                    <a:t>Information Transmission</a:t>
                  </a:r>
                </a:p>
              </p:txBody>
            </p:sp>
            <p:sp>
              <p:nvSpPr>
                <p:cNvPr id="32" name="矩形 31"/>
                <p:cNvSpPr/>
                <p:nvPr/>
              </p:nvSpPr>
              <p:spPr>
                <a:xfrm>
                  <a:off x="7321532" y="4796581"/>
                  <a:ext cx="3240000" cy="215462"/>
                </a:xfrm>
                <a:prstGeom prst="rect">
                  <a:avLst/>
                </a:prstGeom>
              </p:spPr>
              <p:txBody>
                <a:bodyPr wrap="square" lIns="0" tIns="0" rIns="0" bIns="0">
                  <a:spAutoFit/>
                </a:bodyPr>
                <a:lstStyle/>
                <a:p>
                  <a:pPr algn="ctr">
                    <a:buFont typeface="Wingdings" pitchFamily="2" charset="2"/>
                    <a:buNone/>
                  </a:pPr>
                  <a:r>
                    <a:rPr lang="en-US" altLang="zh-CN" sz="1050" dirty="0">
                      <a:solidFill>
                        <a:schemeClr val="bg1"/>
                      </a:solidFill>
                      <a:latin typeface="FrutigerNext LT Medium" pitchFamily="34" charset="0"/>
                      <a:ea typeface="华文细黑"/>
                      <a:cs typeface="Arial" pitchFamily="34" charset="0"/>
                    </a:rPr>
                    <a:t>Information </a:t>
                  </a:r>
                  <a:r>
                    <a:rPr lang="en-US" altLang="zh-CN" sz="1050" dirty="0">
                      <a:solidFill>
                        <a:schemeClr val="bg1"/>
                      </a:solidFill>
                      <a:latin typeface="FrutigerNext LT Medium" pitchFamily="34" charset="0"/>
                      <a:ea typeface="华文细黑"/>
                      <a:cs typeface="Arial" pitchFamily="34" charset="0"/>
                    </a:rPr>
                    <a:t>Processing and Storage</a:t>
                  </a:r>
                  <a:endParaRPr lang="en-US" altLang="zh-CN" sz="1050" dirty="0">
                    <a:solidFill>
                      <a:schemeClr val="bg1"/>
                    </a:solidFill>
                    <a:latin typeface="FrutigerNext LT Medium" pitchFamily="34" charset="0"/>
                    <a:ea typeface="华文细黑"/>
                    <a:cs typeface="Arial" pitchFamily="34" charset="0"/>
                  </a:endParaRPr>
                </a:p>
              </p:txBody>
            </p:sp>
          </p:grpSp>
        </p:grpSp>
        <p:grpSp>
          <p:nvGrpSpPr>
            <p:cNvPr id="20" name="组合 37"/>
            <p:cNvGrpSpPr/>
            <p:nvPr/>
          </p:nvGrpSpPr>
          <p:grpSpPr>
            <a:xfrm>
              <a:off x="1116071" y="5093278"/>
              <a:ext cx="9612887" cy="1011156"/>
              <a:chOff x="1116071" y="5093278"/>
              <a:chExt cx="9612887" cy="1011156"/>
            </a:xfrm>
          </p:grpSpPr>
          <p:sp>
            <p:nvSpPr>
              <p:cNvPr id="21" name="矩形 12"/>
              <p:cNvSpPr>
                <a:spLocks noChangeArrowheads="1"/>
              </p:cNvSpPr>
              <p:nvPr/>
            </p:nvSpPr>
            <p:spPr bwMode="auto">
              <a:xfrm>
                <a:off x="8486557" y="5105804"/>
                <a:ext cx="2242401" cy="714788"/>
              </a:xfrm>
              <a:prstGeom prst="rect">
                <a:avLst/>
              </a:prstGeom>
              <a:noFill/>
              <a:ln w="9525">
                <a:noFill/>
                <a:miter lim="800000"/>
                <a:headEnd/>
                <a:tailEnd/>
              </a:ln>
            </p:spPr>
            <p:txBody>
              <a:bodyPr wrap="square" lIns="0" tIns="0" rIns="0" bIns="0">
                <a:spAutoFit/>
              </a:bodyPr>
              <a:lstStyle/>
              <a:p>
                <a:pPr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Data center infrastructure</a:t>
                </a:r>
              </a:p>
              <a:p>
                <a:pPr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Big </a:t>
                </a:r>
                <a:r>
                  <a:rPr lang="en-US" altLang="zh-CN" sz="1050" dirty="0">
                    <a:solidFill>
                      <a:schemeClr val="bg1"/>
                    </a:solidFill>
                    <a:latin typeface="FrutigerNext LT Medium" pitchFamily="34" charset="0"/>
                    <a:ea typeface="华文细黑"/>
                    <a:cs typeface="Arial" pitchFamily="34" charset="0"/>
                  </a:rPr>
                  <a:t>data </a:t>
                </a:r>
                <a:r>
                  <a:rPr lang="en-US" altLang="zh-CN" sz="1050" dirty="0">
                    <a:solidFill>
                      <a:schemeClr val="bg1"/>
                    </a:solidFill>
                    <a:latin typeface="FrutigerNext LT Medium" pitchFamily="34" charset="0"/>
                    <a:ea typeface="华文细黑"/>
                    <a:cs typeface="Arial" pitchFamily="34" charset="0"/>
                  </a:rPr>
                  <a:t>analytics platforms</a:t>
                </a:r>
              </a:p>
              <a:p>
                <a:pPr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Cloud services</a:t>
                </a:r>
              </a:p>
            </p:txBody>
          </p:sp>
          <p:sp>
            <p:nvSpPr>
              <p:cNvPr id="22" name="矩形 12"/>
              <p:cNvSpPr>
                <a:spLocks noChangeArrowheads="1"/>
              </p:cNvSpPr>
              <p:nvPr/>
            </p:nvSpPr>
            <p:spPr bwMode="auto">
              <a:xfrm>
                <a:off x="1116071" y="5105804"/>
                <a:ext cx="1721224" cy="964451"/>
              </a:xfrm>
              <a:prstGeom prst="rect">
                <a:avLst/>
              </a:prstGeom>
              <a:noFill/>
              <a:ln w="9525">
                <a:noFill/>
                <a:miter lim="800000"/>
                <a:headEnd/>
                <a:tailEnd/>
              </a:ln>
            </p:spPr>
            <p:txBody>
              <a:bodyPr wrap="square" lIns="0" tIns="0" rIns="0" bIns="0">
                <a:spAutoFit/>
              </a:bodyPr>
              <a:lstStyle/>
              <a:p>
                <a:pPr marL="130951" indent="-130951"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Smartphones</a:t>
                </a:r>
                <a:endParaRPr lang="zh-CN" altLang="en-US" sz="1050" dirty="0">
                  <a:solidFill>
                    <a:schemeClr val="bg1"/>
                  </a:solidFill>
                  <a:latin typeface="FrutigerNext LT Medium" pitchFamily="34" charset="0"/>
                  <a:ea typeface="华文细黑"/>
                  <a:cs typeface="Arial" pitchFamily="34" charset="0"/>
                </a:endParaRPr>
              </a:p>
              <a:p>
                <a:pPr marL="130951" indent="-130951"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MBB &amp; home devices</a:t>
                </a:r>
              </a:p>
              <a:p>
                <a:pPr marL="130951" indent="-130951"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Wearable devices</a:t>
                </a:r>
              </a:p>
              <a:p>
                <a:pPr marL="130951" indent="-130951"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Vehicle telematics </a:t>
                </a:r>
                <a:endParaRPr lang="zh-CN" altLang="en-US" sz="1050" dirty="0">
                  <a:solidFill>
                    <a:schemeClr val="bg1"/>
                  </a:solidFill>
                  <a:latin typeface="FrutigerNext LT Medium" pitchFamily="34" charset="0"/>
                  <a:ea typeface="华文细黑"/>
                  <a:cs typeface="Arial" pitchFamily="34" charset="0"/>
                </a:endParaRPr>
              </a:p>
            </p:txBody>
          </p:sp>
          <p:grpSp>
            <p:nvGrpSpPr>
              <p:cNvPr id="23" name="组合 23"/>
              <p:cNvGrpSpPr/>
              <p:nvPr/>
            </p:nvGrpSpPr>
            <p:grpSpPr>
              <a:xfrm>
                <a:off x="3612012" y="5093278"/>
                <a:ext cx="4196674" cy="930250"/>
                <a:chOff x="3791661" y="5257847"/>
                <a:chExt cx="4196674" cy="930250"/>
              </a:xfrm>
            </p:grpSpPr>
            <p:sp>
              <p:nvSpPr>
                <p:cNvPr id="26" name="矩形 12"/>
                <p:cNvSpPr>
                  <a:spLocks noChangeArrowheads="1"/>
                </p:cNvSpPr>
                <p:nvPr/>
              </p:nvSpPr>
              <p:spPr bwMode="auto">
                <a:xfrm>
                  <a:off x="3791661" y="5257847"/>
                  <a:ext cx="1969258" cy="930250"/>
                </a:xfrm>
                <a:prstGeom prst="rect">
                  <a:avLst/>
                </a:prstGeom>
                <a:noFill/>
                <a:ln w="9525">
                  <a:noFill/>
                  <a:miter lim="800000"/>
                  <a:headEnd/>
                  <a:tailEnd/>
                </a:ln>
              </p:spPr>
              <p:txBody>
                <a:bodyPr wrap="square" lIns="0" tIns="0" rIns="0" bIns="0">
                  <a:spAutoFit/>
                </a:bodyPr>
                <a:lstStyle/>
                <a:p>
                  <a:pPr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Wireless </a:t>
                  </a:r>
                  <a:r>
                    <a:rPr lang="en-US" altLang="zh-CN" sz="1050" dirty="0">
                      <a:solidFill>
                        <a:schemeClr val="bg1"/>
                      </a:solidFill>
                      <a:latin typeface="FrutigerNext LT Medium" pitchFamily="34" charset="0"/>
                      <a:ea typeface="华文细黑"/>
                      <a:cs typeface="Arial" pitchFamily="34" charset="0"/>
                    </a:rPr>
                    <a:t>networks</a:t>
                  </a:r>
                </a:p>
                <a:p>
                  <a:pPr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Fixed networks</a:t>
                  </a:r>
                </a:p>
                <a:p>
                  <a:pPr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Carrier </a:t>
                  </a:r>
                  <a:r>
                    <a:rPr lang="en-US" altLang="zh-CN" sz="1050" dirty="0">
                      <a:solidFill>
                        <a:schemeClr val="bg1"/>
                      </a:solidFill>
                      <a:latin typeface="FrutigerNext LT Medium" pitchFamily="34" charset="0"/>
                      <a:ea typeface="华文细黑"/>
                      <a:cs typeface="Arial" pitchFamily="34" charset="0"/>
                    </a:rPr>
                    <a:t>software and Core </a:t>
                  </a:r>
                  <a:r>
                    <a:rPr lang="en-US" altLang="zh-CN" sz="1050" dirty="0">
                      <a:solidFill>
                        <a:schemeClr val="bg1"/>
                      </a:solidFill>
                      <a:latin typeface="FrutigerNext LT Medium" pitchFamily="34" charset="0"/>
                      <a:ea typeface="华文细黑"/>
                      <a:cs typeface="Arial" pitchFamily="34" charset="0"/>
                    </a:rPr>
                    <a:t>networks</a:t>
                  </a:r>
                </a:p>
              </p:txBody>
            </p:sp>
            <p:sp>
              <p:nvSpPr>
                <p:cNvPr id="27" name="矩形 12"/>
                <p:cNvSpPr>
                  <a:spLocks noChangeArrowheads="1"/>
                </p:cNvSpPr>
                <p:nvPr/>
              </p:nvSpPr>
              <p:spPr bwMode="auto">
                <a:xfrm>
                  <a:off x="5760919" y="5282899"/>
                  <a:ext cx="2227416" cy="680587"/>
                </a:xfrm>
                <a:prstGeom prst="rect">
                  <a:avLst/>
                </a:prstGeom>
                <a:noFill/>
                <a:ln w="9525">
                  <a:noFill/>
                  <a:miter lim="800000"/>
                  <a:headEnd/>
                  <a:tailEnd/>
                </a:ln>
              </p:spPr>
              <p:txBody>
                <a:bodyPr wrap="square" lIns="0" tIns="0" rIns="0" bIns="0">
                  <a:spAutoFit/>
                </a:bodyPr>
                <a:lstStyle/>
                <a:p>
                  <a:pPr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Enterprise networks</a:t>
                  </a:r>
                </a:p>
                <a:p>
                  <a:pPr defTabSz="913290">
                    <a:spcAft>
                      <a:spcPts val="225"/>
                    </a:spcAft>
                    <a:buClr>
                      <a:srgbClr val="990000"/>
                    </a:buClr>
                    <a:buSzPct val="60000"/>
                    <a:defRPr/>
                  </a:pPr>
                  <a:r>
                    <a:rPr lang="en-US" altLang="zh-CN" sz="1050" dirty="0">
                      <a:solidFill>
                        <a:schemeClr val="bg1"/>
                      </a:solidFill>
                      <a:latin typeface="FrutigerNext LT Medium" pitchFamily="34" charset="0"/>
                      <a:ea typeface="华文细黑"/>
                      <a:cs typeface="Arial" pitchFamily="34" charset="0"/>
                    </a:rPr>
                    <a:t>M2M connection </a:t>
                  </a:r>
                  <a:r>
                    <a:rPr lang="en-US" altLang="zh-CN" sz="1050" dirty="0">
                      <a:solidFill>
                        <a:schemeClr val="bg1"/>
                      </a:solidFill>
                      <a:latin typeface="FrutigerNext LT Medium" pitchFamily="34" charset="0"/>
                      <a:ea typeface="华文细黑"/>
                      <a:cs typeface="Arial" pitchFamily="34" charset="0"/>
                    </a:rPr>
                    <a:t>Management </a:t>
                  </a:r>
                  <a:r>
                    <a:rPr lang="en-US" altLang="zh-CN" sz="1050" dirty="0">
                      <a:solidFill>
                        <a:schemeClr val="bg1"/>
                      </a:solidFill>
                      <a:latin typeface="FrutigerNext LT Medium" pitchFamily="34" charset="0"/>
                      <a:ea typeface="华文细黑"/>
                      <a:cs typeface="Arial" pitchFamily="34" charset="0"/>
                    </a:rPr>
                    <a:t>platforms</a:t>
                  </a:r>
                </a:p>
              </p:txBody>
            </p:sp>
          </p:grpSp>
          <p:cxnSp>
            <p:nvCxnSpPr>
              <p:cNvPr id="24" name="直接连接符 23"/>
              <p:cNvCxnSpPr/>
              <p:nvPr/>
            </p:nvCxnSpPr>
            <p:spPr bwMode="auto">
              <a:xfrm>
                <a:off x="3358970" y="5168434"/>
                <a:ext cx="0" cy="936000"/>
              </a:xfrm>
              <a:prstGeom prst="line">
                <a:avLst/>
              </a:prstGeom>
              <a:noFill/>
              <a:ln w="12700" cap="flat" cmpd="sng" algn="ctr">
                <a:solidFill>
                  <a:schemeClr val="bg1">
                    <a:lumMod val="65000"/>
                  </a:schemeClr>
                </a:solidFill>
                <a:prstDash val="sysDash"/>
                <a:round/>
                <a:headEnd type="none" w="med" len="med"/>
                <a:tailEnd type="none" w="med" len="med"/>
              </a:ln>
              <a:effectLst/>
            </p:spPr>
          </p:cxnSp>
          <p:cxnSp>
            <p:nvCxnSpPr>
              <p:cNvPr id="25" name="直接连接符 24"/>
              <p:cNvCxnSpPr/>
              <p:nvPr/>
            </p:nvCxnSpPr>
            <p:spPr bwMode="auto">
              <a:xfrm>
                <a:off x="8061727" y="5168434"/>
                <a:ext cx="0" cy="936000"/>
              </a:xfrm>
              <a:prstGeom prst="line">
                <a:avLst/>
              </a:prstGeom>
              <a:noFill/>
              <a:ln w="12700" cap="flat" cmpd="sng" algn="ctr">
                <a:solidFill>
                  <a:schemeClr val="bg1">
                    <a:lumMod val="65000"/>
                  </a:schemeClr>
                </a:solidFill>
                <a:prstDash val="sysDash"/>
                <a:round/>
                <a:headEnd type="none" w="med" len="med"/>
                <a:tailEnd type="none" w="med" len="med"/>
              </a:ln>
              <a:effectLst/>
            </p:spPr>
          </p:cxnSp>
        </p:grpSp>
      </p:grpSp>
      <p:grpSp>
        <p:nvGrpSpPr>
          <p:cNvPr id="33" name="组合 116"/>
          <p:cNvGrpSpPr/>
          <p:nvPr/>
        </p:nvGrpSpPr>
        <p:grpSpPr>
          <a:xfrm>
            <a:off x="3270125" y="2022845"/>
            <a:ext cx="2591775" cy="539953"/>
            <a:chOff x="4360544" y="1565356"/>
            <a:chExt cx="3456000" cy="720000"/>
          </a:xfrm>
        </p:grpSpPr>
        <p:sp>
          <p:nvSpPr>
            <p:cNvPr id="34" name="矩形 27"/>
            <p:cNvSpPr>
              <a:spLocks noChangeArrowheads="1"/>
            </p:cNvSpPr>
            <p:nvPr/>
          </p:nvSpPr>
          <p:spPr bwMode="auto">
            <a:xfrm>
              <a:off x="4360544" y="1637356"/>
              <a:ext cx="3456000" cy="576000"/>
            </a:xfrm>
            <a:prstGeom prst="roundRect">
              <a:avLst/>
            </a:prstGeom>
            <a:solidFill>
              <a:srgbClr val="00B0F0"/>
            </a:solidFill>
            <a:ln w="9525">
              <a:noFill/>
              <a:miter lim="800000"/>
              <a:headEnd/>
              <a:tailEnd/>
            </a:ln>
          </p:spPr>
          <p:txBody>
            <a:bodyPr wrap="square" lIns="269977" tIns="0" rIns="0" bIns="0" anchor="ctr" anchorCtr="0">
              <a:noAutofit/>
            </a:bodyPr>
            <a:lstStyle/>
            <a:p>
              <a:pPr algn="ctr">
                <a:buFont typeface="Wingdings" pitchFamily="2" charset="2"/>
                <a:buNone/>
              </a:pPr>
              <a:r>
                <a:rPr lang="en-US" altLang="zh-CN" sz="1050" dirty="0">
                  <a:solidFill>
                    <a:schemeClr val="bg1"/>
                  </a:solidFill>
                  <a:latin typeface="FrutigerNext LT Medium" pitchFamily="34" charset="0"/>
                  <a:ea typeface="华文细黑"/>
                  <a:cs typeface="Arial" pitchFamily="34" charset="0"/>
                </a:rPr>
                <a:t>Serving global carriers</a:t>
              </a:r>
              <a:endParaRPr lang="zh-CN" altLang="en-US" sz="1050" dirty="0">
                <a:solidFill>
                  <a:schemeClr val="bg1"/>
                </a:solidFill>
                <a:latin typeface="FrutigerNext LT Medium" pitchFamily="34" charset="0"/>
                <a:ea typeface="华文细黑"/>
                <a:cs typeface="Arial" pitchFamily="34" charset="0"/>
              </a:endParaRPr>
            </a:p>
          </p:txBody>
        </p:sp>
        <p:grpSp>
          <p:nvGrpSpPr>
            <p:cNvPr id="35" name="组合 15"/>
            <p:cNvGrpSpPr/>
            <p:nvPr/>
          </p:nvGrpSpPr>
          <p:grpSpPr>
            <a:xfrm>
              <a:off x="4514445" y="1565356"/>
              <a:ext cx="720000" cy="720000"/>
              <a:chOff x="4513411" y="1429562"/>
              <a:chExt cx="720000" cy="720000"/>
            </a:xfrm>
          </p:grpSpPr>
          <p:sp>
            <p:nvSpPr>
              <p:cNvPr id="36" name="椭圆 35"/>
              <p:cNvSpPr>
                <a:spLocks noChangeAspect="1"/>
              </p:cNvSpPr>
              <p:nvPr/>
            </p:nvSpPr>
            <p:spPr bwMode="auto">
              <a:xfrm>
                <a:off x="4513411" y="1429562"/>
                <a:ext cx="720000" cy="720000"/>
              </a:xfrm>
              <a:prstGeom prst="ellipse">
                <a:avLst/>
              </a:prstGeom>
              <a:solidFill>
                <a:schemeClr val="bg1"/>
              </a:solidFill>
              <a:ln w="19050" cap="flat" cmpd="sng" algn="ctr">
                <a:solidFill>
                  <a:srgbClr val="00B0F0"/>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1350" b="1">
                  <a:solidFill>
                    <a:schemeClr val="bg1"/>
                  </a:solidFill>
                  <a:latin typeface="FrutigerNext LT Medium" pitchFamily="34" charset="0"/>
                  <a:cs typeface="Arial" pitchFamily="34" charset="0"/>
                </a:endParaRPr>
              </a:p>
            </p:txBody>
          </p:sp>
          <p:sp>
            <p:nvSpPr>
              <p:cNvPr id="37" name="Freeform 5"/>
              <p:cNvSpPr>
                <a:spLocks noChangeAspect="1" noEditPoints="1"/>
              </p:cNvSpPr>
              <p:nvPr/>
            </p:nvSpPr>
            <p:spPr bwMode="auto">
              <a:xfrm>
                <a:off x="4714448" y="1609562"/>
                <a:ext cx="317926" cy="360000"/>
              </a:xfrm>
              <a:custGeom>
                <a:avLst/>
                <a:gdLst>
                  <a:gd name="T0" fmla="*/ 244 w 2282"/>
                  <a:gd name="T1" fmla="*/ 522 h 2584"/>
                  <a:gd name="T2" fmla="*/ 374 w 2282"/>
                  <a:gd name="T3" fmla="*/ 238 h 2584"/>
                  <a:gd name="T4" fmla="*/ 440 w 2282"/>
                  <a:gd name="T5" fmla="*/ 74 h 2584"/>
                  <a:gd name="T6" fmla="*/ 328 w 2282"/>
                  <a:gd name="T7" fmla="*/ 0 h 2584"/>
                  <a:gd name="T8" fmla="*/ 170 w 2282"/>
                  <a:gd name="T9" fmla="*/ 158 h 2584"/>
                  <a:gd name="T10" fmla="*/ 26 w 2282"/>
                  <a:gd name="T11" fmla="*/ 516 h 2584"/>
                  <a:gd name="T12" fmla="*/ 4 w 2282"/>
                  <a:gd name="T13" fmla="*/ 856 h 2584"/>
                  <a:gd name="T14" fmla="*/ 102 w 2282"/>
                  <a:gd name="T15" fmla="*/ 1230 h 2584"/>
                  <a:gd name="T16" fmla="*/ 264 w 2282"/>
                  <a:gd name="T17" fmla="*/ 1486 h 2584"/>
                  <a:gd name="T18" fmla="*/ 338 w 2282"/>
                  <a:gd name="T19" fmla="*/ 1518 h 2584"/>
                  <a:gd name="T20" fmla="*/ 440 w 2282"/>
                  <a:gd name="T21" fmla="*/ 1442 h 2584"/>
                  <a:gd name="T22" fmla="*/ 374 w 2282"/>
                  <a:gd name="T23" fmla="*/ 1278 h 2584"/>
                  <a:gd name="T24" fmla="*/ 244 w 2282"/>
                  <a:gd name="T25" fmla="*/ 994 h 2584"/>
                  <a:gd name="T26" fmla="*/ 664 w 2282"/>
                  <a:gd name="T27" fmla="*/ 1192 h 2584"/>
                  <a:gd name="T28" fmla="*/ 754 w 2282"/>
                  <a:gd name="T29" fmla="*/ 1142 h 2584"/>
                  <a:gd name="T30" fmla="*/ 734 w 2282"/>
                  <a:gd name="T31" fmla="*/ 994 h 2584"/>
                  <a:gd name="T32" fmla="*/ 670 w 2282"/>
                  <a:gd name="T33" fmla="*/ 758 h 2584"/>
                  <a:gd name="T34" fmla="*/ 752 w 2282"/>
                  <a:gd name="T35" fmla="*/ 492 h 2584"/>
                  <a:gd name="T36" fmla="*/ 742 w 2282"/>
                  <a:gd name="T37" fmla="*/ 358 h 2584"/>
                  <a:gd name="T38" fmla="*/ 606 w 2282"/>
                  <a:gd name="T39" fmla="*/ 342 h 2584"/>
                  <a:gd name="T40" fmla="*/ 474 w 2282"/>
                  <a:gd name="T41" fmla="*/ 604 h 2584"/>
                  <a:gd name="T42" fmla="*/ 488 w 2282"/>
                  <a:gd name="T43" fmla="*/ 960 h 2584"/>
                  <a:gd name="T44" fmla="*/ 604 w 2282"/>
                  <a:gd name="T45" fmla="*/ 1172 h 2584"/>
                  <a:gd name="T46" fmla="*/ 1142 w 2282"/>
                  <a:gd name="T47" fmla="*/ 986 h 2584"/>
                  <a:gd name="T48" fmla="*/ 1302 w 2282"/>
                  <a:gd name="T49" fmla="*/ 920 h 2584"/>
                  <a:gd name="T50" fmla="*/ 1370 w 2282"/>
                  <a:gd name="T51" fmla="*/ 758 h 2584"/>
                  <a:gd name="T52" fmla="*/ 1318 w 2282"/>
                  <a:gd name="T53" fmla="*/ 612 h 2584"/>
                  <a:gd name="T54" fmla="*/ 1164 w 2282"/>
                  <a:gd name="T55" fmla="*/ 530 h 2584"/>
                  <a:gd name="T56" fmla="*/ 1014 w 2282"/>
                  <a:gd name="T57" fmla="*/ 568 h 2584"/>
                  <a:gd name="T58" fmla="*/ 918 w 2282"/>
                  <a:gd name="T59" fmla="*/ 712 h 2584"/>
                  <a:gd name="T60" fmla="*/ 940 w 2282"/>
                  <a:gd name="T61" fmla="*/ 866 h 2584"/>
                  <a:gd name="T62" fmla="*/ 1074 w 2282"/>
                  <a:gd name="T63" fmla="*/ 976 h 2584"/>
                  <a:gd name="T64" fmla="*/ 1994 w 2282"/>
                  <a:gd name="T65" fmla="*/ 12 h 2584"/>
                  <a:gd name="T66" fmla="*/ 1862 w 2282"/>
                  <a:gd name="T67" fmla="*/ 38 h 2584"/>
                  <a:gd name="T68" fmla="*/ 1862 w 2282"/>
                  <a:gd name="T69" fmla="*/ 174 h 2584"/>
                  <a:gd name="T70" fmla="*/ 2016 w 2282"/>
                  <a:gd name="T71" fmla="*/ 448 h 2584"/>
                  <a:gd name="T72" fmla="*/ 2068 w 2282"/>
                  <a:gd name="T73" fmla="*/ 758 h 2584"/>
                  <a:gd name="T74" fmla="*/ 2028 w 2282"/>
                  <a:gd name="T75" fmla="*/ 1032 h 2584"/>
                  <a:gd name="T76" fmla="*/ 1886 w 2282"/>
                  <a:gd name="T77" fmla="*/ 1312 h 2584"/>
                  <a:gd name="T78" fmla="*/ 1850 w 2282"/>
                  <a:gd name="T79" fmla="*/ 1460 h 2584"/>
                  <a:gd name="T80" fmla="*/ 1944 w 2282"/>
                  <a:gd name="T81" fmla="*/ 1518 h 2584"/>
                  <a:gd name="T82" fmla="*/ 2028 w 2282"/>
                  <a:gd name="T83" fmla="*/ 1478 h 2584"/>
                  <a:gd name="T84" fmla="*/ 2200 w 2282"/>
                  <a:gd name="T85" fmla="*/ 1186 h 2584"/>
                  <a:gd name="T86" fmla="*/ 2282 w 2282"/>
                  <a:gd name="T87" fmla="*/ 806 h 2584"/>
                  <a:gd name="T88" fmla="*/ 2246 w 2282"/>
                  <a:gd name="T89" fmla="*/ 468 h 2584"/>
                  <a:gd name="T90" fmla="*/ 2086 w 2282"/>
                  <a:gd name="T91" fmla="*/ 116 h 2584"/>
                  <a:gd name="T92" fmla="*/ 1518 w 2282"/>
                  <a:gd name="T93" fmla="*/ 392 h 2584"/>
                  <a:gd name="T94" fmla="*/ 1566 w 2282"/>
                  <a:gd name="T95" fmla="*/ 554 h 2584"/>
                  <a:gd name="T96" fmla="*/ 1610 w 2282"/>
                  <a:gd name="T97" fmla="*/ 794 h 2584"/>
                  <a:gd name="T98" fmla="*/ 1530 w 2282"/>
                  <a:gd name="T99" fmla="*/ 1024 h 2584"/>
                  <a:gd name="T100" fmla="*/ 1558 w 2282"/>
                  <a:gd name="T101" fmla="*/ 1172 h 2584"/>
                  <a:gd name="T102" fmla="*/ 1644 w 2282"/>
                  <a:gd name="T103" fmla="*/ 1188 h 2584"/>
                  <a:gd name="T104" fmla="*/ 1734 w 2282"/>
                  <a:gd name="T105" fmla="*/ 1102 h 2584"/>
                  <a:gd name="T106" fmla="*/ 1826 w 2282"/>
                  <a:gd name="T107" fmla="*/ 758 h 2584"/>
                  <a:gd name="T108" fmla="*/ 1706 w 2282"/>
                  <a:gd name="T109" fmla="*/ 372 h 2584"/>
                  <a:gd name="T110" fmla="*/ 1578 w 2282"/>
                  <a:gd name="T111" fmla="*/ 334 h 2584"/>
                  <a:gd name="T112" fmla="*/ 1516 w 2282"/>
                  <a:gd name="T113" fmla="*/ 2584 h 2584"/>
                  <a:gd name="T114" fmla="*/ 1378 w 2282"/>
                  <a:gd name="T115" fmla="*/ 2128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82" h="2584">
                    <a:moveTo>
                      <a:pt x="214" y="758"/>
                    </a:moveTo>
                    <a:lnTo>
                      <a:pt x="214" y="758"/>
                    </a:lnTo>
                    <a:lnTo>
                      <a:pt x="216" y="718"/>
                    </a:lnTo>
                    <a:lnTo>
                      <a:pt x="218" y="678"/>
                    </a:lnTo>
                    <a:lnTo>
                      <a:pt x="222" y="638"/>
                    </a:lnTo>
                    <a:lnTo>
                      <a:pt x="228" y="600"/>
                    </a:lnTo>
                    <a:lnTo>
                      <a:pt x="234" y="560"/>
                    </a:lnTo>
                    <a:lnTo>
                      <a:pt x="244" y="522"/>
                    </a:lnTo>
                    <a:lnTo>
                      <a:pt x="254" y="484"/>
                    </a:lnTo>
                    <a:lnTo>
                      <a:pt x="266" y="448"/>
                    </a:lnTo>
                    <a:lnTo>
                      <a:pt x="280" y="410"/>
                    </a:lnTo>
                    <a:lnTo>
                      <a:pt x="296" y="374"/>
                    </a:lnTo>
                    <a:lnTo>
                      <a:pt x="314" y="340"/>
                    </a:lnTo>
                    <a:lnTo>
                      <a:pt x="332" y="304"/>
                    </a:lnTo>
                    <a:lnTo>
                      <a:pt x="352" y="270"/>
                    </a:lnTo>
                    <a:lnTo>
                      <a:pt x="374" y="238"/>
                    </a:lnTo>
                    <a:lnTo>
                      <a:pt x="396" y="206"/>
                    </a:lnTo>
                    <a:lnTo>
                      <a:pt x="422" y="174"/>
                    </a:lnTo>
                    <a:lnTo>
                      <a:pt x="422" y="174"/>
                    </a:lnTo>
                    <a:lnTo>
                      <a:pt x="434" y="156"/>
                    </a:lnTo>
                    <a:lnTo>
                      <a:pt x="440" y="136"/>
                    </a:lnTo>
                    <a:lnTo>
                      <a:pt x="444" y="116"/>
                    </a:lnTo>
                    <a:lnTo>
                      <a:pt x="444" y="96"/>
                    </a:lnTo>
                    <a:lnTo>
                      <a:pt x="440" y="74"/>
                    </a:lnTo>
                    <a:lnTo>
                      <a:pt x="432" y="56"/>
                    </a:lnTo>
                    <a:lnTo>
                      <a:pt x="422" y="38"/>
                    </a:lnTo>
                    <a:lnTo>
                      <a:pt x="406" y="24"/>
                    </a:lnTo>
                    <a:lnTo>
                      <a:pt x="406" y="24"/>
                    </a:lnTo>
                    <a:lnTo>
                      <a:pt x="388" y="12"/>
                    </a:lnTo>
                    <a:lnTo>
                      <a:pt x="368" y="4"/>
                    </a:lnTo>
                    <a:lnTo>
                      <a:pt x="348" y="0"/>
                    </a:lnTo>
                    <a:lnTo>
                      <a:pt x="328" y="0"/>
                    </a:lnTo>
                    <a:lnTo>
                      <a:pt x="308" y="4"/>
                    </a:lnTo>
                    <a:lnTo>
                      <a:pt x="288" y="12"/>
                    </a:lnTo>
                    <a:lnTo>
                      <a:pt x="270" y="24"/>
                    </a:lnTo>
                    <a:lnTo>
                      <a:pt x="256" y="38"/>
                    </a:lnTo>
                    <a:lnTo>
                      <a:pt x="256" y="38"/>
                    </a:lnTo>
                    <a:lnTo>
                      <a:pt x="226" y="78"/>
                    </a:lnTo>
                    <a:lnTo>
                      <a:pt x="198" y="116"/>
                    </a:lnTo>
                    <a:lnTo>
                      <a:pt x="170" y="158"/>
                    </a:lnTo>
                    <a:lnTo>
                      <a:pt x="146" y="200"/>
                    </a:lnTo>
                    <a:lnTo>
                      <a:pt x="124" y="242"/>
                    </a:lnTo>
                    <a:lnTo>
                      <a:pt x="102" y="286"/>
                    </a:lnTo>
                    <a:lnTo>
                      <a:pt x="84" y="330"/>
                    </a:lnTo>
                    <a:lnTo>
                      <a:pt x="66" y="376"/>
                    </a:lnTo>
                    <a:lnTo>
                      <a:pt x="50" y="422"/>
                    </a:lnTo>
                    <a:lnTo>
                      <a:pt x="38" y="468"/>
                    </a:lnTo>
                    <a:lnTo>
                      <a:pt x="26" y="516"/>
                    </a:lnTo>
                    <a:lnTo>
                      <a:pt x="16" y="564"/>
                    </a:lnTo>
                    <a:lnTo>
                      <a:pt x="10" y="612"/>
                    </a:lnTo>
                    <a:lnTo>
                      <a:pt x="4" y="660"/>
                    </a:lnTo>
                    <a:lnTo>
                      <a:pt x="2" y="708"/>
                    </a:lnTo>
                    <a:lnTo>
                      <a:pt x="0" y="758"/>
                    </a:lnTo>
                    <a:lnTo>
                      <a:pt x="0" y="758"/>
                    </a:lnTo>
                    <a:lnTo>
                      <a:pt x="2" y="806"/>
                    </a:lnTo>
                    <a:lnTo>
                      <a:pt x="4" y="856"/>
                    </a:lnTo>
                    <a:lnTo>
                      <a:pt x="10" y="904"/>
                    </a:lnTo>
                    <a:lnTo>
                      <a:pt x="16" y="952"/>
                    </a:lnTo>
                    <a:lnTo>
                      <a:pt x="26" y="1000"/>
                    </a:lnTo>
                    <a:lnTo>
                      <a:pt x="38" y="1048"/>
                    </a:lnTo>
                    <a:lnTo>
                      <a:pt x="50" y="1094"/>
                    </a:lnTo>
                    <a:lnTo>
                      <a:pt x="66" y="1140"/>
                    </a:lnTo>
                    <a:lnTo>
                      <a:pt x="84" y="1186"/>
                    </a:lnTo>
                    <a:lnTo>
                      <a:pt x="102" y="1230"/>
                    </a:lnTo>
                    <a:lnTo>
                      <a:pt x="124" y="1274"/>
                    </a:lnTo>
                    <a:lnTo>
                      <a:pt x="146" y="1316"/>
                    </a:lnTo>
                    <a:lnTo>
                      <a:pt x="170" y="1358"/>
                    </a:lnTo>
                    <a:lnTo>
                      <a:pt x="198" y="1400"/>
                    </a:lnTo>
                    <a:lnTo>
                      <a:pt x="226" y="1440"/>
                    </a:lnTo>
                    <a:lnTo>
                      <a:pt x="256" y="1478"/>
                    </a:lnTo>
                    <a:lnTo>
                      <a:pt x="256" y="1478"/>
                    </a:lnTo>
                    <a:lnTo>
                      <a:pt x="264" y="1486"/>
                    </a:lnTo>
                    <a:lnTo>
                      <a:pt x="274" y="1494"/>
                    </a:lnTo>
                    <a:lnTo>
                      <a:pt x="282" y="1502"/>
                    </a:lnTo>
                    <a:lnTo>
                      <a:pt x="294" y="1508"/>
                    </a:lnTo>
                    <a:lnTo>
                      <a:pt x="304" y="1512"/>
                    </a:lnTo>
                    <a:lnTo>
                      <a:pt x="316" y="1514"/>
                    </a:lnTo>
                    <a:lnTo>
                      <a:pt x="326" y="1516"/>
                    </a:lnTo>
                    <a:lnTo>
                      <a:pt x="338" y="1518"/>
                    </a:lnTo>
                    <a:lnTo>
                      <a:pt x="338" y="1518"/>
                    </a:lnTo>
                    <a:lnTo>
                      <a:pt x="356" y="1516"/>
                    </a:lnTo>
                    <a:lnTo>
                      <a:pt x="374" y="1512"/>
                    </a:lnTo>
                    <a:lnTo>
                      <a:pt x="390" y="1504"/>
                    </a:lnTo>
                    <a:lnTo>
                      <a:pt x="406" y="1492"/>
                    </a:lnTo>
                    <a:lnTo>
                      <a:pt x="406" y="1492"/>
                    </a:lnTo>
                    <a:lnTo>
                      <a:pt x="422" y="1478"/>
                    </a:lnTo>
                    <a:lnTo>
                      <a:pt x="434" y="1460"/>
                    </a:lnTo>
                    <a:lnTo>
                      <a:pt x="440" y="1442"/>
                    </a:lnTo>
                    <a:lnTo>
                      <a:pt x="444" y="1420"/>
                    </a:lnTo>
                    <a:lnTo>
                      <a:pt x="446" y="1400"/>
                    </a:lnTo>
                    <a:lnTo>
                      <a:pt x="442" y="1380"/>
                    </a:lnTo>
                    <a:lnTo>
                      <a:pt x="434" y="1360"/>
                    </a:lnTo>
                    <a:lnTo>
                      <a:pt x="422" y="1342"/>
                    </a:lnTo>
                    <a:lnTo>
                      <a:pt x="422" y="1342"/>
                    </a:lnTo>
                    <a:lnTo>
                      <a:pt x="398" y="1312"/>
                    </a:lnTo>
                    <a:lnTo>
                      <a:pt x="374" y="1278"/>
                    </a:lnTo>
                    <a:lnTo>
                      <a:pt x="352" y="1246"/>
                    </a:lnTo>
                    <a:lnTo>
                      <a:pt x="332" y="1212"/>
                    </a:lnTo>
                    <a:lnTo>
                      <a:pt x="314" y="1178"/>
                    </a:lnTo>
                    <a:lnTo>
                      <a:pt x="298" y="1142"/>
                    </a:lnTo>
                    <a:lnTo>
                      <a:pt x="282" y="1106"/>
                    </a:lnTo>
                    <a:lnTo>
                      <a:pt x="268" y="1068"/>
                    </a:lnTo>
                    <a:lnTo>
                      <a:pt x="256" y="1032"/>
                    </a:lnTo>
                    <a:lnTo>
                      <a:pt x="244" y="994"/>
                    </a:lnTo>
                    <a:lnTo>
                      <a:pt x="236" y="954"/>
                    </a:lnTo>
                    <a:lnTo>
                      <a:pt x="228" y="916"/>
                    </a:lnTo>
                    <a:lnTo>
                      <a:pt x="222" y="876"/>
                    </a:lnTo>
                    <a:lnTo>
                      <a:pt x="218" y="838"/>
                    </a:lnTo>
                    <a:lnTo>
                      <a:pt x="216" y="798"/>
                    </a:lnTo>
                    <a:lnTo>
                      <a:pt x="214" y="758"/>
                    </a:lnTo>
                    <a:lnTo>
                      <a:pt x="214" y="758"/>
                    </a:lnTo>
                    <a:close/>
                    <a:moveTo>
                      <a:pt x="664" y="1192"/>
                    </a:moveTo>
                    <a:lnTo>
                      <a:pt x="664" y="1192"/>
                    </a:lnTo>
                    <a:lnTo>
                      <a:pt x="680" y="1190"/>
                    </a:lnTo>
                    <a:lnTo>
                      <a:pt x="696" y="1186"/>
                    </a:lnTo>
                    <a:lnTo>
                      <a:pt x="710" y="1180"/>
                    </a:lnTo>
                    <a:lnTo>
                      <a:pt x="726" y="1172"/>
                    </a:lnTo>
                    <a:lnTo>
                      <a:pt x="726" y="1172"/>
                    </a:lnTo>
                    <a:lnTo>
                      <a:pt x="742" y="1158"/>
                    </a:lnTo>
                    <a:lnTo>
                      <a:pt x="754" y="1142"/>
                    </a:lnTo>
                    <a:lnTo>
                      <a:pt x="764" y="1124"/>
                    </a:lnTo>
                    <a:lnTo>
                      <a:pt x="770" y="1104"/>
                    </a:lnTo>
                    <a:lnTo>
                      <a:pt x="772" y="1084"/>
                    </a:lnTo>
                    <a:lnTo>
                      <a:pt x="770" y="1064"/>
                    </a:lnTo>
                    <a:lnTo>
                      <a:pt x="764" y="1042"/>
                    </a:lnTo>
                    <a:lnTo>
                      <a:pt x="752" y="1024"/>
                    </a:lnTo>
                    <a:lnTo>
                      <a:pt x="752" y="1024"/>
                    </a:lnTo>
                    <a:lnTo>
                      <a:pt x="734" y="994"/>
                    </a:lnTo>
                    <a:lnTo>
                      <a:pt x="718" y="962"/>
                    </a:lnTo>
                    <a:lnTo>
                      <a:pt x="704" y="930"/>
                    </a:lnTo>
                    <a:lnTo>
                      <a:pt x="692" y="898"/>
                    </a:lnTo>
                    <a:lnTo>
                      <a:pt x="682" y="864"/>
                    </a:lnTo>
                    <a:lnTo>
                      <a:pt x="676" y="828"/>
                    </a:lnTo>
                    <a:lnTo>
                      <a:pt x="672" y="794"/>
                    </a:lnTo>
                    <a:lnTo>
                      <a:pt x="670" y="758"/>
                    </a:lnTo>
                    <a:lnTo>
                      <a:pt x="670" y="758"/>
                    </a:lnTo>
                    <a:lnTo>
                      <a:pt x="672" y="722"/>
                    </a:lnTo>
                    <a:lnTo>
                      <a:pt x="676" y="688"/>
                    </a:lnTo>
                    <a:lnTo>
                      <a:pt x="682" y="652"/>
                    </a:lnTo>
                    <a:lnTo>
                      <a:pt x="692" y="618"/>
                    </a:lnTo>
                    <a:lnTo>
                      <a:pt x="704" y="586"/>
                    </a:lnTo>
                    <a:lnTo>
                      <a:pt x="718" y="554"/>
                    </a:lnTo>
                    <a:lnTo>
                      <a:pt x="734" y="522"/>
                    </a:lnTo>
                    <a:lnTo>
                      <a:pt x="752" y="492"/>
                    </a:lnTo>
                    <a:lnTo>
                      <a:pt x="752" y="492"/>
                    </a:lnTo>
                    <a:lnTo>
                      <a:pt x="764" y="474"/>
                    </a:lnTo>
                    <a:lnTo>
                      <a:pt x="770" y="454"/>
                    </a:lnTo>
                    <a:lnTo>
                      <a:pt x="772" y="432"/>
                    </a:lnTo>
                    <a:lnTo>
                      <a:pt x="770" y="412"/>
                    </a:lnTo>
                    <a:lnTo>
                      <a:pt x="764" y="392"/>
                    </a:lnTo>
                    <a:lnTo>
                      <a:pt x="754" y="374"/>
                    </a:lnTo>
                    <a:lnTo>
                      <a:pt x="742" y="358"/>
                    </a:lnTo>
                    <a:lnTo>
                      <a:pt x="724" y="344"/>
                    </a:lnTo>
                    <a:lnTo>
                      <a:pt x="724" y="344"/>
                    </a:lnTo>
                    <a:lnTo>
                      <a:pt x="706" y="334"/>
                    </a:lnTo>
                    <a:lnTo>
                      <a:pt x="686" y="326"/>
                    </a:lnTo>
                    <a:lnTo>
                      <a:pt x="666" y="324"/>
                    </a:lnTo>
                    <a:lnTo>
                      <a:pt x="644" y="326"/>
                    </a:lnTo>
                    <a:lnTo>
                      <a:pt x="626" y="332"/>
                    </a:lnTo>
                    <a:lnTo>
                      <a:pt x="606" y="342"/>
                    </a:lnTo>
                    <a:lnTo>
                      <a:pt x="590" y="354"/>
                    </a:lnTo>
                    <a:lnTo>
                      <a:pt x="576" y="372"/>
                    </a:lnTo>
                    <a:lnTo>
                      <a:pt x="576" y="372"/>
                    </a:lnTo>
                    <a:lnTo>
                      <a:pt x="548" y="414"/>
                    </a:lnTo>
                    <a:lnTo>
                      <a:pt x="524" y="460"/>
                    </a:lnTo>
                    <a:lnTo>
                      <a:pt x="504" y="508"/>
                    </a:lnTo>
                    <a:lnTo>
                      <a:pt x="488" y="556"/>
                    </a:lnTo>
                    <a:lnTo>
                      <a:pt x="474" y="604"/>
                    </a:lnTo>
                    <a:lnTo>
                      <a:pt x="464" y="654"/>
                    </a:lnTo>
                    <a:lnTo>
                      <a:pt x="458" y="706"/>
                    </a:lnTo>
                    <a:lnTo>
                      <a:pt x="456" y="758"/>
                    </a:lnTo>
                    <a:lnTo>
                      <a:pt x="456" y="758"/>
                    </a:lnTo>
                    <a:lnTo>
                      <a:pt x="458" y="810"/>
                    </a:lnTo>
                    <a:lnTo>
                      <a:pt x="464" y="860"/>
                    </a:lnTo>
                    <a:lnTo>
                      <a:pt x="474" y="912"/>
                    </a:lnTo>
                    <a:lnTo>
                      <a:pt x="488" y="960"/>
                    </a:lnTo>
                    <a:lnTo>
                      <a:pt x="504" y="1008"/>
                    </a:lnTo>
                    <a:lnTo>
                      <a:pt x="524" y="1056"/>
                    </a:lnTo>
                    <a:lnTo>
                      <a:pt x="548" y="1102"/>
                    </a:lnTo>
                    <a:lnTo>
                      <a:pt x="576" y="1144"/>
                    </a:lnTo>
                    <a:lnTo>
                      <a:pt x="576" y="1144"/>
                    </a:lnTo>
                    <a:lnTo>
                      <a:pt x="584" y="1156"/>
                    </a:lnTo>
                    <a:lnTo>
                      <a:pt x="594" y="1164"/>
                    </a:lnTo>
                    <a:lnTo>
                      <a:pt x="604" y="1172"/>
                    </a:lnTo>
                    <a:lnTo>
                      <a:pt x="616" y="1180"/>
                    </a:lnTo>
                    <a:lnTo>
                      <a:pt x="628" y="1184"/>
                    </a:lnTo>
                    <a:lnTo>
                      <a:pt x="640" y="1188"/>
                    </a:lnTo>
                    <a:lnTo>
                      <a:pt x="652" y="1190"/>
                    </a:lnTo>
                    <a:lnTo>
                      <a:pt x="664" y="1192"/>
                    </a:lnTo>
                    <a:lnTo>
                      <a:pt x="664" y="1192"/>
                    </a:lnTo>
                    <a:close/>
                    <a:moveTo>
                      <a:pt x="1142" y="986"/>
                    </a:moveTo>
                    <a:lnTo>
                      <a:pt x="1142" y="986"/>
                    </a:lnTo>
                    <a:lnTo>
                      <a:pt x="1164" y="986"/>
                    </a:lnTo>
                    <a:lnTo>
                      <a:pt x="1188" y="982"/>
                    </a:lnTo>
                    <a:lnTo>
                      <a:pt x="1210" y="976"/>
                    </a:lnTo>
                    <a:lnTo>
                      <a:pt x="1230" y="968"/>
                    </a:lnTo>
                    <a:lnTo>
                      <a:pt x="1250" y="958"/>
                    </a:lnTo>
                    <a:lnTo>
                      <a:pt x="1270" y="948"/>
                    </a:lnTo>
                    <a:lnTo>
                      <a:pt x="1286" y="934"/>
                    </a:lnTo>
                    <a:lnTo>
                      <a:pt x="1302" y="920"/>
                    </a:lnTo>
                    <a:lnTo>
                      <a:pt x="1318" y="904"/>
                    </a:lnTo>
                    <a:lnTo>
                      <a:pt x="1330" y="886"/>
                    </a:lnTo>
                    <a:lnTo>
                      <a:pt x="1342" y="866"/>
                    </a:lnTo>
                    <a:lnTo>
                      <a:pt x="1352" y="846"/>
                    </a:lnTo>
                    <a:lnTo>
                      <a:pt x="1360" y="826"/>
                    </a:lnTo>
                    <a:lnTo>
                      <a:pt x="1366" y="804"/>
                    </a:lnTo>
                    <a:lnTo>
                      <a:pt x="1368" y="782"/>
                    </a:lnTo>
                    <a:lnTo>
                      <a:pt x="1370" y="758"/>
                    </a:lnTo>
                    <a:lnTo>
                      <a:pt x="1370" y="758"/>
                    </a:lnTo>
                    <a:lnTo>
                      <a:pt x="1368" y="734"/>
                    </a:lnTo>
                    <a:lnTo>
                      <a:pt x="1366" y="712"/>
                    </a:lnTo>
                    <a:lnTo>
                      <a:pt x="1360" y="690"/>
                    </a:lnTo>
                    <a:lnTo>
                      <a:pt x="1352" y="670"/>
                    </a:lnTo>
                    <a:lnTo>
                      <a:pt x="1342" y="650"/>
                    </a:lnTo>
                    <a:lnTo>
                      <a:pt x="1330" y="630"/>
                    </a:lnTo>
                    <a:lnTo>
                      <a:pt x="1318" y="612"/>
                    </a:lnTo>
                    <a:lnTo>
                      <a:pt x="1302" y="596"/>
                    </a:lnTo>
                    <a:lnTo>
                      <a:pt x="1286" y="582"/>
                    </a:lnTo>
                    <a:lnTo>
                      <a:pt x="1270" y="568"/>
                    </a:lnTo>
                    <a:lnTo>
                      <a:pt x="1250" y="558"/>
                    </a:lnTo>
                    <a:lnTo>
                      <a:pt x="1230" y="548"/>
                    </a:lnTo>
                    <a:lnTo>
                      <a:pt x="1210" y="540"/>
                    </a:lnTo>
                    <a:lnTo>
                      <a:pt x="1188" y="534"/>
                    </a:lnTo>
                    <a:lnTo>
                      <a:pt x="1164" y="530"/>
                    </a:lnTo>
                    <a:lnTo>
                      <a:pt x="1142" y="530"/>
                    </a:lnTo>
                    <a:lnTo>
                      <a:pt x="1142" y="530"/>
                    </a:lnTo>
                    <a:lnTo>
                      <a:pt x="1118" y="530"/>
                    </a:lnTo>
                    <a:lnTo>
                      <a:pt x="1096" y="534"/>
                    </a:lnTo>
                    <a:lnTo>
                      <a:pt x="1074" y="540"/>
                    </a:lnTo>
                    <a:lnTo>
                      <a:pt x="1052" y="548"/>
                    </a:lnTo>
                    <a:lnTo>
                      <a:pt x="1032" y="558"/>
                    </a:lnTo>
                    <a:lnTo>
                      <a:pt x="1014" y="568"/>
                    </a:lnTo>
                    <a:lnTo>
                      <a:pt x="996" y="582"/>
                    </a:lnTo>
                    <a:lnTo>
                      <a:pt x="980" y="596"/>
                    </a:lnTo>
                    <a:lnTo>
                      <a:pt x="966" y="612"/>
                    </a:lnTo>
                    <a:lnTo>
                      <a:pt x="952" y="630"/>
                    </a:lnTo>
                    <a:lnTo>
                      <a:pt x="940" y="650"/>
                    </a:lnTo>
                    <a:lnTo>
                      <a:pt x="932" y="670"/>
                    </a:lnTo>
                    <a:lnTo>
                      <a:pt x="924" y="690"/>
                    </a:lnTo>
                    <a:lnTo>
                      <a:pt x="918" y="712"/>
                    </a:lnTo>
                    <a:lnTo>
                      <a:pt x="914" y="734"/>
                    </a:lnTo>
                    <a:lnTo>
                      <a:pt x="914" y="758"/>
                    </a:lnTo>
                    <a:lnTo>
                      <a:pt x="914" y="758"/>
                    </a:lnTo>
                    <a:lnTo>
                      <a:pt x="914" y="782"/>
                    </a:lnTo>
                    <a:lnTo>
                      <a:pt x="918" y="804"/>
                    </a:lnTo>
                    <a:lnTo>
                      <a:pt x="924" y="826"/>
                    </a:lnTo>
                    <a:lnTo>
                      <a:pt x="932" y="846"/>
                    </a:lnTo>
                    <a:lnTo>
                      <a:pt x="940" y="866"/>
                    </a:lnTo>
                    <a:lnTo>
                      <a:pt x="952" y="886"/>
                    </a:lnTo>
                    <a:lnTo>
                      <a:pt x="966" y="904"/>
                    </a:lnTo>
                    <a:lnTo>
                      <a:pt x="980" y="920"/>
                    </a:lnTo>
                    <a:lnTo>
                      <a:pt x="996" y="934"/>
                    </a:lnTo>
                    <a:lnTo>
                      <a:pt x="1014" y="948"/>
                    </a:lnTo>
                    <a:lnTo>
                      <a:pt x="1032" y="958"/>
                    </a:lnTo>
                    <a:lnTo>
                      <a:pt x="1052" y="968"/>
                    </a:lnTo>
                    <a:lnTo>
                      <a:pt x="1074" y="976"/>
                    </a:lnTo>
                    <a:lnTo>
                      <a:pt x="1096" y="982"/>
                    </a:lnTo>
                    <a:lnTo>
                      <a:pt x="1118" y="986"/>
                    </a:lnTo>
                    <a:lnTo>
                      <a:pt x="1142" y="986"/>
                    </a:lnTo>
                    <a:lnTo>
                      <a:pt x="1142" y="986"/>
                    </a:lnTo>
                    <a:close/>
                    <a:moveTo>
                      <a:pt x="2028" y="38"/>
                    </a:moveTo>
                    <a:lnTo>
                      <a:pt x="2028" y="38"/>
                    </a:lnTo>
                    <a:lnTo>
                      <a:pt x="2012" y="24"/>
                    </a:lnTo>
                    <a:lnTo>
                      <a:pt x="1994" y="12"/>
                    </a:lnTo>
                    <a:lnTo>
                      <a:pt x="1976" y="4"/>
                    </a:lnTo>
                    <a:lnTo>
                      <a:pt x="1956" y="0"/>
                    </a:lnTo>
                    <a:lnTo>
                      <a:pt x="1936" y="0"/>
                    </a:lnTo>
                    <a:lnTo>
                      <a:pt x="1914" y="4"/>
                    </a:lnTo>
                    <a:lnTo>
                      <a:pt x="1896" y="12"/>
                    </a:lnTo>
                    <a:lnTo>
                      <a:pt x="1878" y="24"/>
                    </a:lnTo>
                    <a:lnTo>
                      <a:pt x="1878" y="24"/>
                    </a:lnTo>
                    <a:lnTo>
                      <a:pt x="1862" y="38"/>
                    </a:lnTo>
                    <a:lnTo>
                      <a:pt x="1850" y="56"/>
                    </a:lnTo>
                    <a:lnTo>
                      <a:pt x="1842" y="74"/>
                    </a:lnTo>
                    <a:lnTo>
                      <a:pt x="1838" y="96"/>
                    </a:lnTo>
                    <a:lnTo>
                      <a:pt x="1838" y="116"/>
                    </a:lnTo>
                    <a:lnTo>
                      <a:pt x="1842" y="136"/>
                    </a:lnTo>
                    <a:lnTo>
                      <a:pt x="1850" y="156"/>
                    </a:lnTo>
                    <a:lnTo>
                      <a:pt x="1862" y="174"/>
                    </a:lnTo>
                    <a:lnTo>
                      <a:pt x="1862" y="174"/>
                    </a:lnTo>
                    <a:lnTo>
                      <a:pt x="1886" y="206"/>
                    </a:lnTo>
                    <a:lnTo>
                      <a:pt x="1910" y="238"/>
                    </a:lnTo>
                    <a:lnTo>
                      <a:pt x="1932" y="270"/>
                    </a:lnTo>
                    <a:lnTo>
                      <a:pt x="1952" y="304"/>
                    </a:lnTo>
                    <a:lnTo>
                      <a:pt x="1970" y="340"/>
                    </a:lnTo>
                    <a:lnTo>
                      <a:pt x="1986" y="374"/>
                    </a:lnTo>
                    <a:lnTo>
                      <a:pt x="2002" y="410"/>
                    </a:lnTo>
                    <a:lnTo>
                      <a:pt x="2016" y="448"/>
                    </a:lnTo>
                    <a:lnTo>
                      <a:pt x="2028" y="484"/>
                    </a:lnTo>
                    <a:lnTo>
                      <a:pt x="2038" y="522"/>
                    </a:lnTo>
                    <a:lnTo>
                      <a:pt x="2048" y="560"/>
                    </a:lnTo>
                    <a:lnTo>
                      <a:pt x="2056" y="600"/>
                    </a:lnTo>
                    <a:lnTo>
                      <a:pt x="2062" y="638"/>
                    </a:lnTo>
                    <a:lnTo>
                      <a:pt x="2066" y="678"/>
                    </a:lnTo>
                    <a:lnTo>
                      <a:pt x="2068" y="718"/>
                    </a:lnTo>
                    <a:lnTo>
                      <a:pt x="2068" y="758"/>
                    </a:lnTo>
                    <a:lnTo>
                      <a:pt x="2068" y="758"/>
                    </a:lnTo>
                    <a:lnTo>
                      <a:pt x="2068" y="798"/>
                    </a:lnTo>
                    <a:lnTo>
                      <a:pt x="2066" y="838"/>
                    </a:lnTo>
                    <a:lnTo>
                      <a:pt x="2062" y="876"/>
                    </a:lnTo>
                    <a:lnTo>
                      <a:pt x="2056" y="916"/>
                    </a:lnTo>
                    <a:lnTo>
                      <a:pt x="2048" y="954"/>
                    </a:lnTo>
                    <a:lnTo>
                      <a:pt x="2038" y="994"/>
                    </a:lnTo>
                    <a:lnTo>
                      <a:pt x="2028" y="1032"/>
                    </a:lnTo>
                    <a:lnTo>
                      <a:pt x="2016" y="1068"/>
                    </a:lnTo>
                    <a:lnTo>
                      <a:pt x="2002" y="1106"/>
                    </a:lnTo>
                    <a:lnTo>
                      <a:pt x="1986" y="1142"/>
                    </a:lnTo>
                    <a:lnTo>
                      <a:pt x="1968" y="1178"/>
                    </a:lnTo>
                    <a:lnTo>
                      <a:pt x="1950" y="1212"/>
                    </a:lnTo>
                    <a:lnTo>
                      <a:pt x="1930" y="1246"/>
                    </a:lnTo>
                    <a:lnTo>
                      <a:pt x="1908" y="1278"/>
                    </a:lnTo>
                    <a:lnTo>
                      <a:pt x="1886" y="1312"/>
                    </a:lnTo>
                    <a:lnTo>
                      <a:pt x="1862" y="1342"/>
                    </a:lnTo>
                    <a:lnTo>
                      <a:pt x="1862" y="1342"/>
                    </a:lnTo>
                    <a:lnTo>
                      <a:pt x="1850" y="1360"/>
                    </a:lnTo>
                    <a:lnTo>
                      <a:pt x="1842" y="1380"/>
                    </a:lnTo>
                    <a:lnTo>
                      <a:pt x="1838" y="1400"/>
                    </a:lnTo>
                    <a:lnTo>
                      <a:pt x="1838" y="1420"/>
                    </a:lnTo>
                    <a:lnTo>
                      <a:pt x="1842" y="1442"/>
                    </a:lnTo>
                    <a:lnTo>
                      <a:pt x="1850" y="1460"/>
                    </a:lnTo>
                    <a:lnTo>
                      <a:pt x="1862" y="1478"/>
                    </a:lnTo>
                    <a:lnTo>
                      <a:pt x="1876" y="1492"/>
                    </a:lnTo>
                    <a:lnTo>
                      <a:pt x="1876" y="1492"/>
                    </a:lnTo>
                    <a:lnTo>
                      <a:pt x="1892" y="1504"/>
                    </a:lnTo>
                    <a:lnTo>
                      <a:pt x="1910" y="1512"/>
                    </a:lnTo>
                    <a:lnTo>
                      <a:pt x="1926" y="1516"/>
                    </a:lnTo>
                    <a:lnTo>
                      <a:pt x="1944" y="1518"/>
                    </a:lnTo>
                    <a:lnTo>
                      <a:pt x="1944" y="1518"/>
                    </a:lnTo>
                    <a:lnTo>
                      <a:pt x="1956" y="1516"/>
                    </a:lnTo>
                    <a:lnTo>
                      <a:pt x="1968" y="1514"/>
                    </a:lnTo>
                    <a:lnTo>
                      <a:pt x="1978" y="1512"/>
                    </a:lnTo>
                    <a:lnTo>
                      <a:pt x="1990" y="1508"/>
                    </a:lnTo>
                    <a:lnTo>
                      <a:pt x="2000" y="1502"/>
                    </a:lnTo>
                    <a:lnTo>
                      <a:pt x="2010" y="1494"/>
                    </a:lnTo>
                    <a:lnTo>
                      <a:pt x="2020" y="1486"/>
                    </a:lnTo>
                    <a:lnTo>
                      <a:pt x="2028" y="1478"/>
                    </a:lnTo>
                    <a:lnTo>
                      <a:pt x="2028" y="1478"/>
                    </a:lnTo>
                    <a:lnTo>
                      <a:pt x="2058" y="1440"/>
                    </a:lnTo>
                    <a:lnTo>
                      <a:pt x="2086" y="1400"/>
                    </a:lnTo>
                    <a:lnTo>
                      <a:pt x="2112" y="1358"/>
                    </a:lnTo>
                    <a:lnTo>
                      <a:pt x="2136" y="1316"/>
                    </a:lnTo>
                    <a:lnTo>
                      <a:pt x="2160" y="1274"/>
                    </a:lnTo>
                    <a:lnTo>
                      <a:pt x="2180" y="1230"/>
                    </a:lnTo>
                    <a:lnTo>
                      <a:pt x="2200" y="1186"/>
                    </a:lnTo>
                    <a:lnTo>
                      <a:pt x="2216" y="1140"/>
                    </a:lnTo>
                    <a:lnTo>
                      <a:pt x="2232" y="1094"/>
                    </a:lnTo>
                    <a:lnTo>
                      <a:pt x="2246" y="1048"/>
                    </a:lnTo>
                    <a:lnTo>
                      <a:pt x="2256" y="1000"/>
                    </a:lnTo>
                    <a:lnTo>
                      <a:pt x="2266" y="952"/>
                    </a:lnTo>
                    <a:lnTo>
                      <a:pt x="2274" y="904"/>
                    </a:lnTo>
                    <a:lnTo>
                      <a:pt x="2278" y="856"/>
                    </a:lnTo>
                    <a:lnTo>
                      <a:pt x="2282" y="806"/>
                    </a:lnTo>
                    <a:lnTo>
                      <a:pt x="2282" y="758"/>
                    </a:lnTo>
                    <a:lnTo>
                      <a:pt x="2282" y="758"/>
                    </a:lnTo>
                    <a:lnTo>
                      <a:pt x="2282" y="708"/>
                    </a:lnTo>
                    <a:lnTo>
                      <a:pt x="2278" y="660"/>
                    </a:lnTo>
                    <a:lnTo>
                      <a:pt x="2274" y="612"/>
                    </a:lnTo>
                    <a:lnTo>
                      <a:pt x="2266" y="564"/>
                    </a:lnTo>
                    <a:lnTo>
                      <a:pt x="2256" y="516"/>
                    </a:lnTo>
                    <a:lnTo>
                      <a:pt x="2246" y="468"/>
                    </a:lnTo>
                    <a:lnTo>
                      <a:pt x="2232" y="422"/>
                    </a:lnTo>
                    <a:lnTo>
                      <a:pt x="2216" y="376"/>
                    </a:lnTo>
                    <a:lnTo>
                      <a:pt x="2200" y="330"/>
                    </a:lnTo>
                    <a:lnTo>
                      <a:pt x="2180" y="286"/>
                    </a:lnTo>
                    <a:lnTo>
                      <a:pt x="2160" y="242"/>
                    </a:lnTo>
                    <a:lnTo>
                      <a:pt x="2136" y="200"/>
                    </a:lnTo>
                    <a:lnTo>
                      <a:pt x="2112" y="158"/>
                    </a:lnTo>
                    <a:lnTo>
                      <a:pt x="2086" y="116"/>
                    </a:lnTo>
                    <a:lnTo>
                      <a:pt x="2058" y="78"/>
                    </a:lnTo>
                    <a:lnTo>
                      <a:pt x="2028" y="38"/>
                    </a:lnTo>
                    <a:lnTo>
                      <a:pt x="2028" y="38"/>
                    </a:lnTo>
                    <a:close/>
                    <a:moveTo>
                      <a:pt x="1558" y="344"/>
                    </a:moveTo>
                    <a:lnTo>
                      <a:pt x="1558" y="344"/>
                    </a:lnTo>
                    <a:lnTo>
                      <a:pt x="1542" y="358"/>
                    </a:lnTo>
                    <a:lnTo>
                      <a:pt x="1528" y="374"/>
                    </a:lnTo>
                    <a:lnTo>
                      <a:pt x="1518" y="392"/>
                    </a:lnTo>
                    <a:lnTo>
                      <a:pt x="1514" y="412"/>
                    </a:lnTo>
                    <a:lnTo>
                      <a:pt x="1512" y="432"/>
                    </a:lnTo>
                    <a:lnTo>
                      <a:pt x="1514" y="454"/>
                    </a:lnTo>
                    <a:lnTo>
                      <a:pt x="1520" y="474"/>
                    </a:lnTo>
                    <a:lnTo>
                      <a:pt x="1530" y="492"/>
                    </a:lnTo>
                    <a:lnTo>
                      <a:pt x="1530" y="492"/>
                    </a:lnTo>
                    <a:lnTo>
                      <a:pt x="1550" y="522"/>
                    </a:lnTo>
                    <a:lnTo>
                      <a:pt x="1566" y="554"/>
                    </a:lnTo>
                    <a:lnTo>
                      <a:pt x="1580" y="586"/>
                    </a:lnTo>
                    <a:lnTo>
                      <a:pt x="1592" y="618"/>
                    </a:lnTo>
                    <a:lnTo>
                      <a:pt x="1600" y="652"/>
                    </a:lnTo>
                    <a:lnTo>
                      <a:pt x="1606" y="688"/>
                    </a:lnTo>
                    <a:lnTo>
                      <a:pt x="1610" y="722"/>
                    </a:lnTo>
                    <a:lnTo>
                      <a:pt x="1612" y="758"/>
                    </a:lnTo>
                    <a:lnTo>
                      <a:pt x="1612" y="758"/>
                    </a:lnTo>
                    <a:lnTo>
                      <a:pt x="1610" y="794"/>
                    </a:lnTo>
                    <a:lnTo>
                      <a:pt x="1606" y="828"/>
                    </a:lnTo>
                    <a:lnTo>
                      <a:pt x="1600" y="864"/>
                    </a:lnTo>
                    <a:lnTo>
                      <a:pt x="1592" y="898"/>
                    </a:lnTo>
                    <a:lnTo>
                      <a:pt x="1580" y="930"/>
                    </a:lnTo>
                    <a:lnTo>
                      <a:pt x="1566" y="962"/>
                    </a:lnTo>
                    <a:lnTo>
                      <a:pt x="1548" y="994"/>
                    </a:lnTo>
                    <a:lnTo>
                      <a:pt x="1530" y="1024"/>
                    </a:lnTo>
                    <a:lnTo>
                      <a:pt x="1530" y="1024"/>
                    </a:lnTo>
                    <a:lnTo>
                      <a:pt x="1520" y="1042"/>
                    </a:lnTo>
                    <a:lnTo>
                      <a:pt x="1514" y="1064"/>
                    </a:lnTo>
                    <a:lnTo>
                      <a:pt x="1512" y="1084"/>
                    </a:lnTo>
                    <a:lnTo>
                      <a:pt x="1514" y="1104"/>
                    </a:lnTo>
                    <a:lnTo>
                      <a:pt x="1518" y="1124"/>
                    </a:lnTo>
                    <a:lnTo>
                      <a:pt x="1528" y="1142"/>
                    </a:lnTo>
                    <a:lnTo>
                      <a:pt x="1542" y="1158"/>
                    </a:lnTo>
                    <a:lnTo>
                      <a:pt x="1558" y="1172"/>
                    </a:lnTo>
                    <a:lnTo>
                      <a:pt x="1558" y="1172"/>
                    </a:lnTo>
                    <a:lnTo>
                      <a:pt x="1572" y="1180"/>
                    </a:lnTo>
                    <a:lnTo>
                      <a:pt x="1588" y="1186"/>
                    </a:lnTo>
                    <a:lnTo>
                      <a:pt x="1602" y="1190"/>
                    </a:lnTo>
                    <a:lnTo>
                      <a:pt x="1618" y="1192"/>
                    </a:lnTo>
                    <a:lnTo>
                      <a:pt x="1618" y="1192"/>
                    </a:lnTo>
                    <a:lnTo>
                      <a:pt x="1630" y="1190"/>
                    </a:lnTo>
                    <a:lnTo>
                      <a:pt x="1644" y="1188"/>
                    </a:lnTo>
                    <a:lnTo>
                      <a:pt x="1656" y="1184"/>
                    </a:lnTo>
                    <a:lnTo>
                      <a:pt x="1668" y="1180"/>
                    </a:lnTo>
                    <a:lnTo>
                      <a:pt x="1678" y="1172"/>
                    </a:lnTo>
                    <a:lnTo>
                      <a:pt x="1688" y="1164"/>
                    </a:lnTo>
                    <a:lnTo>
                      <a:pt x="1698" y="1156"/>
                    </a:lnTo>
                    <a:lnTo>
                      <a:pt x="1706" y="1144"/>
                    </a:lnTo>
                    <a:lnTo>
                      <a:pt x="1706" y="1144"/>
                    </a:lnTo>
                    <a:lnTo>
                      <a:pt x="1734" y="1102"/>
                    </a:lnTo>
                    <a:lnTo>
                      <a:pt x="1758" y="1056"/>
                    </a:lnTo>
                    <a:lnTo>
                      <a:pt x="1778" y="1008"/>
                    </a:lnTo>
                    <a:lnTo>
                      <a:pt x="1796" y="960"/>
                    </a:lnTo>
                    <a:lnTo>
                      <a:pt x="1808" y="912"/>
                    </a:lnTo>
                    <a:lnTo>
                      <a:pt x="1818" y="860"/>
                    </a:lnTo>
                    <a:lnTo>
                      <a:pt x="1824" y="810"/>
                    </a:lnTo>
                    <a:lnTo>
                      <a:pt x="1826" y="758"/>
                    </a:lnTo>
                    <a:lnTo>
                      <a:pt x="1826" y="758"/>
                    </a:lnTo>
                    <a:lnTo>
                      <a:pt x="1824" y="706"/>
                    </a:lnTo>
                    <a:lnTo>
                      <a:pt x="1818" y="654"/>
                    </a:lnTo>
                    <a:lnTo>
                      <a:pt x="1810" y="604"/>
                    </a:lnTo>
                    <a:lnTo>
                      <a:pt x="1796" y="556"/>
                    </a:lnTo>
                    <a:lnTo>
                      <a:pt x="1778" y="508"/>
                    </a:lnTo>
                    <a:lnTo>
                      <a:pt x="1758" y="460"/>
                    </a:lnTo>
                    <a:lnTo>
                      <a:pt x="1734" y="414"/>
                    </a:lnTo>
                    <a:lnTo>
                      <a:pt x="1706" y="372"/>
                    </a:lnTo>
                    <a:lnTo>
                      <a:pt x="1706" y="372"/>
                    </a:lnTo>
                    <a:lnTo>
                      <a:pt x="1692" y="354"/>
                    </a:lnTo>
                    <a:lnTo>
                      <a:pt x="1676" y="342"/>
                    </a:lnTo>
                    <a:lnTo>
                      <a:pt x="1658" y="332"/>
                    </a:lnTo>
                    <a:lnTo>
                      <a:pt x="1638" y="326"/>
                    </a:lnTo>
                    <a:lnTo>
                      <a:pt x="1618" y="324"/>
                    </a:lnTo>
                    <a:lnTo>
                      <a:pt x="1598" y="326"/>
                    </a:lnTo>
                    <a:lnTo>
                      <a:pt x="1578" y="334"/>
                    </a:lnTo>
                    <a:lnTo>
                      <a:pt x="1558" y="344"/>
                    </a:lnTo>
                    <a:lnTo>
                      <a:pt x="1558" y="344"/>
                    </a:lnTo>
                    <a:close/>
                    <a:moveTo>
                      <a:pt x="1004" y="1100"/>
                    </a:moveTo>
                    <a:lnTo>
                      <a:pt x="560" y="2584"/>
                    </a:lnTo>
                    <a:lnTo>
                      <a:pt x="768" y="2584"/>
                    </a:lnTo>
                    <a:lnTo>
                      <a:pt x="836" y="2356"/>
                    </a:lnTo>
                    <a:lnTo>
                      <a:pt x="1446" y="2356"/>
                    </a:lnTo>
                    <a:lnTo>
                      <a:pt x="1516" y="2584"/>
                    </a:lnTo>
                    <a:lnTo>
                      <a:pt x="1724" y="2584"/>
                    </a:lnTo>
                    <a:lnTo>
                      <a:pt x="1278" y="1100"/>
                    </a:lnTo>
                    <a:lnTo>
                      <a:pt x="1004" y="1100"/>
                    </a:lnTo>
                    <a:close/>
                    <a:moveTo>
                      <a:pt x="1142" y="1338"/>
                    </a:moveTo>
                    <a:lnTo>
                      <a:pt x="1242" y="1670"/>
                    </a:lnTo>
                    <a:lnTo>
                      <a:pt x="1042" y="1670"/>
                    </a:lnTo>
                    <a:lnTo>
                      <a:pt x="1142" y="1338"/>
                    </a:lnTo>
                    <a:close/>
                    <a:moveTo>
                      <a:pt x="1378" y="2128"/>
                    </a:moveTo>
                    <a:lnTo>
                      <a:pt x="904" y="2128"/>
                    </a:lnTo>
                    <a:lnTo>
                      <a:pt x="974" y="1900"/>
                    </a:lnTo>
                    <a:lnTo>
                      <a:pt x="1310" y="1900"/>
                    </a:lnTo>
                    <a:lnTo>
                      <a:pt x="1378" y="2128"/>
                    </a:lnTo>
                    <a:close/>
                  </a:path>
                </a:pathLst>
              </a:custGeom>
              <a:solidFill>
                <a:srgbClr val="00B0F0"/>
              </a:solidFill>
              <a:ln>
                <a:noFill/>
              </a:ln>
            </p:spPr>
            <p:txBody>
              <a:bodyPr vert="horz" wrap="square" lIns="68574" tIns="34287" rIns="68574" bIns="34287" numCol="1" anchor="t" anchorCtr="0" compatLnSpc="1">
                <a:prstTxWarp prst="textNoShape">
                  <a:avLst/>
                </a:prstTxWarp>
              </a:bodyPr>
              <a:lstStyle/>
              <a:p>
                <a:endParaRPr lang="zh-CN" altLang="en-US">
                  <a:solidFill>
                    <a:schemeClr val="bg1"/>
                  </a:solidFill>
                  <a:latin typeface="FrutigerNext LT Medium" pitchFamily="34" charset="0"/>
                  <a:cs typeface="Arial" pitchFamily="34" charset="0"/>
                </a:endParaRPr>
              </a:p>
            </p:txBody>
          </p:sp>
        </p:grpSp>
      </p:grpSp>
      <p:grpSp>
        <p:nvGrpSpPr>
          <p:cNvPr id="38" name="组合 115"/>
          <p:cNvGrpSpPr/>
          <p:nvPr/>
        </p:nvGrpSpPr>
        <p:grpSpPr>
          <a:xfrm>
            <a:off x="524906" y="2022845"/>
            <a:ext cx="2591775" cy="539953"/>
            <a:chOff x="699934" y="1565356"/>
            <a:chExt cx="3456000" cy="720000"/>
          </a:xfrm>
        </p:grpSpPr>
        <p:sp>
          <p:nvSpPr>
            <p:cNvPr id="39" name="矩形 25"/>
            <p:cNvSpPr>
              <a:spLocks noChangeArrowheads="1"/>
            </p:cNvSpPr>
            <p:nvPr/>
          </p:nvSpPr>
          <p:spPr bwMode="auto">
            <a:xfrm>
              <a:off x="699934" y="1637356"/>
              <a:ext cx="3456000" cy="576000"/>
            </a:xfrm>
            <a:prstGeom prst="roundRect">
              <a:avLst/>
            </a:prstGeom>
            <a:solidFill>
              <a:srgbClr val="FD9203"/>
            </a:solidFill>
            <a:ln w="9525">
              <a:noFill/>
              <a:miter lim="800000"/>
              <a:headEnd/>
              <a:tailEnd/>
            </a:ln>
          </p:spPr>
          <p:txBody>
            <a:bodyPr wrap="square" lIns="269977" tIns="0" rIns="0" bIns="0" anchor="ctr" anchorCtr="0">
              <a:noAutofit/>
            </a:bodyPr>
            <a:lstStyle/>
            <a:p>
              <a:pPr algn="ctr">
                <a:lnSpc>
                  <a:spcPct val="90000"/>
                </a:lnSpc>
                <a:buSzPct val="80000"/>
              </a:pPr>
              <a:r>
                <a:rPr lang="en-US" altLang="zh-CN" sz="1050" dirty="0">
                  <a:solidFill>
                    <a:schemeClr val="bg1"/>
                  </a:solidFill>
                  <a:latin typeface="FrutigerNext LT Medium" pitchFamily="34" charset="0"/>
                  <a:cs typeface="Arial" pitchFamily="34" charset="0"/>
                </a:rPr>
                <a:t>Serving hundreds of </a:t>
              </a:r>
            </a:p>
            <a:p>
              <a:pPr algn="ctr">
                <a:lnSpc>
                  <a:spcPct val="90000"/>
                </a:lnSpc>
                <a:buSzPct val="80000"/>
              </a:pPr>
              <a:r>
                <a:rPr lang="en-US" altLang="zh-CN" sz="1050" dirty="0">
                  <a:solidFill>
                    <a:schemeClr val="bg1"/>
                  </a:solidFill>
                  <a:latin typeface="FrutigerNext LT Medium" pitchFamily="34" charset="0"/>
                  <a:cs typeface="Arial" pitchFamily="34" charset="0"/>
                </a:rPr>
                <a:t>millions of consumers</a:t>
              </a:r>
            </a:p>
          </p:txBody>
        </p:sp>
        <p:grpSp>
          <p:nvGrpSpPr>
            <p:cNvPr id="40" name="组合 14"/>
            <p:cNvGrpSpPr/>
            <p:nvPr/>
          </p:nvGrpSpPr>
          <p:grpSpPr>
            <a:xfrm>
              <a:off x="853835" y="1565356"/>
              <a:ext cx="720000" cy="720000"/>
              <a:chOff x="2936168" y="1429562"/>
              <a:chExt cx="720000" cy="720000"/>
            </a:xfrm>
            <a:noFill/>
          </p:grpSpPr>
          <p:sp>
            <p:nvSpPr>
              <p:cNvPr id="41" name="椭圆 40"/>
              <p:cNvSpPr>
                <a:spLocks noChangeAspect="1"/>
              </p:cNvSpPr>
              <p:nvPr/>
            </p:nvSpPr>
            <p:spPr bwMode="auto">
              <a:xfrm>
                <a:off x="2936168" y="1429562"/>
                <a:ext cx="720000" cy="720000"/>
              </a:xfrm>
              <a:prstGeom prst="ellipse">
                <a:avLst/>
              </a:prstGeom>
              <a:solidFill>
                <a:schemeClr val="bg1"/>
              </a:solidFill>
              <a:ln w="19050" cap="flat" cmpd="sng" algn="ctr">
                <a:solidFill>
                  <a:srgbClr val="FD9203"/>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1350" b="1">
                  <a:solidFill>
                    <a:schemeClr val="bg1"/>
                  </a:solidFill>
                  <a:latin typeface="FrutigerNext LT Medium" pitchFamily="34" charset="0"/>
                  <a:cs typeface="Arial" pitchFamily="34" charset="0"/>
                </a:endParaRPr>
              </a:p>
            </p:txBody>
          </p:sp>
          <p:sp>
            <p:nvSpPr>
              <p:cNvPr id="42" name="Freeform 9"/>
              <p:cNvSpPr>
                <a:spLocks noChangeAspect="1" noEditPoints="1"/>
              </p:cNvSpPr>
              <p:nvPr/>
            </p:nvSpPr>
            <p:spPr bwMode="auto">
              <a:xfrm>
                <a:off x="3101548" y="1627562"/>
                <a:ext cx="389241" cy="324000"/>
              </a:xfrm>
              <a:custGeom>
                <a:avLst/>
                <a:gdLst>
                  <a:gd name="T0" fmla="*/ 1520 w 1766"/>
                  <a:gd name="T1" fmla="*/ 806 h 1470"/>
                  <a:gd name="T2" fmla="*/ 1472 w 1766"/>
                  <a:gd name="T3" fmla="*/ 728 h 1470"/>
                  <a:gd name="T4" fmla="*/ 1656 w 1766"/>
                  <a:gd name="T5" fmla="*/ 676 h 1470"/>
                  <a:gd name="T6" fmla="*/ 1566 w 1766"/>
                  <a:gd name="T7" fmla="*/ 568 h 1470"/>
                  <a:gd name="T8" fmla="*/ 1538 w 1766"/>
                  <a:gd name="T9" fmla="*/ 346 h 1470"/>
                  <a:gd name="T10" fmla="*/ 1454 w 1766"/>
                  <a:gd name="T11" fmla="*/ 240 h 1470"/>
                  <a:gd name="T12" fmla="*/ 1316 w 1766"/>
                  <a:gd name="T13" fmla="*/ 224 h 1470"/>
                  <a:gd name="T14" fmla="*/ 1262 w 1766"/>
                  <a:gd name="T15" fmla="*/ 378 h 1470"/>
                  <a:gd name="T16" fmla="*/ 1288 w 1766"/>
                  <a:gd name="T17" fmla="*/ 564 h 1470"/>
                  <a:gd name="T18" fmla="*/ 1212 w 1766"/>
                  <a:gd name="T19" fmla="*/ 702 h 1470"/>
                  <a:gd name="T20" fmla="*/ 1250 w 1766"/>
                  <a:gd name="T21" fmla="*/ 754 h 1470"/>
                  <a:gd name="T22" fmla="*/ 1202 w 1766"/>
                  <a:gd name="T23" fmla="*/ 806 h 1470"/>
                  <a:gd name="T24" fmla="*/ 1412 w 1766"/>
                  <a:gd name="T25" fmla="*/ 996 h 1470"/>
                  <a:gd name="T26" fmla="*/ 1550 w 1766"/>
                  <a:gd name="T27" fmla="*/ 1096 h 1470"/>
                  <a:gd name="T28" fmla="*/ 1764 w 1766"/>
                  <a:gd name="T29" fmla="*/ 1056 h 1470"/>
                  <a:gd name="T30" fmla="*/ 1724 w 1766"/>
                  <a:gd name="T31" fmla="*/ 910 h 1470"/>
                  <a:gd name="T32" fmla="*/ 564 w 1766"/>
                  <a:gd name="T33" fmla="*/ 806 h 1470"/>
                  <a:gd name="T34" fmla="*/ 516 w 1766"/>
                  <a:gd name="T35" fmla="*/ 754 h 1470"/>
                  <a:gd name="T36" fmla="*/ 498 w 1766"/>
                  <a:gd name="T37" fmla="*/ 620 h 1470"/>
                  <a:gd name="T38" fmla="*/ 478 w 1766"/>
                  <a:gd name="T39" fmla="*/ 438 h 1470"/>
                  <a:gd name="T40" fmla="*/ 478 w 1766"/>
                  <a:gd name="T41" fmla="*/ 228 h 1470"/>
                  <a:gd name="T42" fmla="*/ 304 w 1766"/>
                  <a:gd name="T43" fmla="*/ 238 h 1470"/>
                  <a:gd name="T44" fmla="*/ 228 w 1766"/>
                  <a:gd name="T45" fmla="*/ 318 h 1470"/>
                  <a:gd name="T46" fmla="*/ 226 w 1766"/>
                  <a:gd name="T47" fmla="*/ 472 h 1470"/>
                  <a:gd name="T48" fmla="*/ 212 w 1766"/>
                  <a:gd name="T49" fmla="*/ 546 h 1470"/>
                  <a:gd name="T50" fmla="*/ 264 w 1766"/>
                  <a:gd name="T51" fmla="*/ 608 h 1470"/>
                  <a:gd name="T52" fmla="*/ 294 w 1766"/>
                  <a:gd name="T53" fmla="*/ 754 h 1470"/>
                  <a:gd name="T54" fmla="*/ 246 w 1766"/>
                  <a:gd name="T55" fmla="*/ 806 h 1470"/>
                  <a:gd name="T56" fmla="*/ 42 w 1766"/>
                  <a:gd name="T57" fmla="*/ 910 h 1470"/>
                  <a:gd name="T58" fmla="*/ 2 w 1766"/>
                  <a:gd name="T59" fmla="*/ 1056 h 1470"/>
                  <a:gd name="T60" fmla="*/ 216 w 1766"/>
                  <a:gd name="T61" fmla="*/ 1096 h 1470"/>
                  <a:gd name="T62" fmla="*/ 376 w 1766"/>
                  <a:gd name="T63" fmla="*/ 984 h 1470"/>
                  <a:gd name="T64" fmla="*/ 1098 w 1766"/>
                  <a:gd name="T65" fmla="*/ 952 h 1470"/>
                  <a:gd name="T66" fmla="*/ 1064 w 1766"/>
                  <a:gd name="T67" fmla="*/ 796 h 1470"/>
                  <a:gd name="T68" fmla="*/ 1114 w 1766"/>
                  <a:gd name="T69" fmla="*/ 646 h 1470"/>
                  <a:gd name="T70" fmla="*/ 1182 w 1766"/>
                  <a:gd name="T71" fmla="*/ 588 h 1470"/>
                  <a:gd name="T72" fmla="*/ 1192 w 1766"/>
                  <a:gd name="T73" fmla="*/ 442 h 1470"/>
                  <a:gd name="T74" fmla="*/ 1184 w 1766"/>
                  <a:gd name="T75" fmla="*/ 214 h 1470"/>
                  <a:gd name="T76" fmla="*/ 1140 w 1766"/>
                  <a:gd name="T77" fmla="*/ 84 h 1470"/>
                  <a:gd name="T78" fmla="*/ 1054 w 1766"/>
                  <a:gd name="T79" fmla="*/ 48 h 1470"/>
                  <a:gd name="T80" fmla="*/ 902 w 1766"/>
                  <a:gd name="T81" fmla="*/ 0 h 1470"/>
                  <a:gd name="T82" fmla="*/ 678 w 1766"/>
                  <a:gd name="T83" fmla="*/ 58 h 1470"/>
                  <a:gd name="T84" fmla="*/ 610 w 1766"/>
                  <a:gd name="T85" fmla="*/ 80 h 1470"/>
                  <a:gd name="T86" fmla="*/ 586 w 1766"/>
                  <a:gd name="T87" fmla="*/ 278 h 1470"/>
                  <a:gd name="T88" fmla="*/ 568 w 1766"/>
                  <a:gd name="T89" fmla="*/ 458 h 1470"/>
                  <a:gd name="T90" fmla="*/ 594 w 1766"/>
                  <a:gd name="T91" fmla="*/ 606 h 1470"/>
                  <a:gd name="T92" fmla="*/ 656 w 1766"/>
                  <a:gd name="T93" fmla="*/ 666 h 1470"/>
                  <a:gd name="T94" fmla="*/ 702 w 1766"/>
                  <a:gd name="T95" fmla="*/ 888 h 1470"/>
                  <a:gd name="T96" fmla="*/ 648 w 1766"/>
                  <a:gd name="T97" fmla="*/ 964 h 1470"/>
                  <a:gd name="T98" fmla="*/ 310 w 1766"/>
                  <a:gd name="T99" fmla="*/ 1128 h 1470"/>
                  <a:gd name="T100" fmla="*/ 238 w 1766"/>
                  <a:gd name="T101" fmla="*/ 1274 h 1470"/>
                  <a:gd name="T102" fmla="*/ 246 w 1766"/>
                  <a:gd name="T103" fmla="*/ 1412 h 1470"/>
                  <a:gd name="T104" fmla="*/ 756 w 1766"/>
                  <a:gd name="T105" fmla="*/ 1468 h 1470"/>
                  <a:gd name="T106" fmla="*/ 1444 w 1766"/>
                  <a:gd name="T107" fmla="*/ 1428 h 1470"/>
                  <a:gd name="T108" fmla="*/ 1544 w 1766"/>
                  <a:gd name="T109" fmla="*/ 1382 h 1470"/>
                  <a:gd name="T110" fmla="*/ 1476 w 1766"/>
                  <a:gd name="T111" fmla="*/ 1148 h 1470"/>
                  <a:gd name="T112" fmla="*/ 1222 w 1766"/>
                  <a:gd name="T113" fmla="*/ 1008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6" h="1470">
                    <a:moveTo>
                      <a:pt x="1716" y="902"/>
                    </a:moveTo>
                    <a:lnTo>
                      <a:pt x="1716" y="902"/>
                    </a:lnTo>
                    <a:lnTo>
                      <a:pt x="1704" y="892"/>
                    </a:lnTo>
                    <a:lnTo>
                      <a:pt x="1682" y="880"/>
                    </a:lnTo>
                    <a:lnTo>
                      <a:pt x="1628" y="852"/>
                    </a:lnTo>
                    <a:lnTo>
                      <a:pt x="1568" y="826"/>
                    </a:lnTo>
                    <a:lnTo>
                      <a:pt x="1520" y="806"/>
                    </a:lnTo>
                    <a:lnTo>
                      <a:pt x="1520" y="806"/>
                    </a:lnTo>
                    <a:lnTo>
                      <a:pt x="1506" y="798"/>
                    </a:lnTo>
                    <a:lnTo>
                      <a:pt x="1492" y="792"/>
                    </a:lnTo>
                    <a:lnTo>
                      <a:pt x="1484" y="784"/>
                    </a:lnTo>
                    <a:lnTo>
                      <a:pt x="1478" y="778"/>
                    </a:lnTo>
                    <a:lnTo>
                      <a:pt x="1474" y="772"/>
                    </a:lnTo>
                    <a:lnTo>
                      <a:pt x="1472" y="766"/>
                    </a:lnTo>
                    <a:lnTo>
                      <a:pt x="1472" y="754"/>
                    </a:lnTo>
                    <a:lnTo>
                      <a:pt x="1472" y="728"/>
                    </a:lnTo>
                    <a:lnTo>
                      <a:pt x="1472" y="728"/>
                    </a:lnTo>
                    <a:lnTo>
                      <a:pt x="1524" y="722"/>
                    </a:lnTo>
                    <a:lnTo>
                      <a:pt x="1572" y="710"/>
                    </a:lnTo>
                    <a:lnTo>
                      <a:pt x="1594" y="704"/>
                    </a:lnTo>
                    <a:lnTo>
                      <a:pt x="1616" y="696"/>
                    </a:lnTo>
                    <a:lnTo>
                      <a:pt x="1636" y="686"/>
                    </a:lnTo>
                    <a:lnTo>
                      <a:pt x="1656" y="676"/>
                    </a:lnTo>
                    <a:lnTo>
                      <a:pt x="1656" y="676"/>
                    </a:lnTo>
                    <a:lnTo>
                      <a:pt x="1638" y="670"/>
                    </a:lnTo>
                    <a:lnTo>
                      <a:pt x="1624" y="660"/>
                    </a:lnTo>
                    <a:lnTo>
                      <a:pt x="1610" y="648"/>
                    </a:lnTo>
                    <a:lnTo>
                      <a:pt x="1600" y="636"/>
                    </a:lnTo>
                    <a:lnTo>
                      <a:pt x="1588" y="620"/>
                    </a:lnTo>
                    <a:lnTo>
                      <a:pt x="1580" y="604"/>
                    </a:lnTo>
                    <a:lnTo>
                      <a:pt x="1572" y="588"/>
                    </a:lnTo>
                    <a:lnTo>
                      <a:pt x="1566" y="568"/>
                    </a:lnTo>
                    <a:lnTo>
                      <a:pt x="1556" y="530"/>
                    </a:lnTo>
                    <a:lnTo>
                      <a:pt x="1550" y="488"/>
                    </a:lnTo>
                    <a:lnTo>
                      <a:pt x="1546" y="446"/>
                    </a:lnTo>
                    <a:lnTo>
                      <a:pt x="1544" y="404"/>
                    </a:lnTo>
                    <a:lnTo>
                      <a:pt x="1544" y="404"/>
                    </a:lnTo>
                    <a:lnTo>
                      <a:pt x="1544" y="384"/>
                    </a:lnTo>
                    <a:lnTo>
                      <a:pt x="1542" y="364"/>
                    </a:lnTo>
                    <a:lnTo>
                      <a:pt x="1538" y="346"/>
                    </a:lnTo>
                    <a:lnTo>
                      <a:pt x="1532" y="328"/>
                    </a:lnTo>
                    <a:lnTo>
                      <a:pt x="1524" y="312"/>
                    </a:lnTo>
                    <a:lnTo>
                      <a:pt x="1516" y="298"/>
                    </a:lnTo>
                    <a:lnTo>
                      <a:pt x="1506" y="284"/>
                    </a:lnTo>
                    <a:lnTo>
                      <a:pt x="1494" y="270"/>
                    </a:lnTo>
                    <a:lnTo>
                      <a:pt x="1482" y="260"/>
                    </a:lnTo>
                    <a:lnTo>
                      <a:pt x="1468" y="250"/>
                    </a:lnTo>
                    <a:lnTo>
                      <a:pt x="1454" y="240"/>
                    </a:lnTo>
                    <a:lnTo>
                      <a:pt x="1436" y="234"/>
                    </a:lnTo>
                    <a:lnTo>
                      <a:pt x="1420" y="228"/>
                    </a:lnTo>
                    <a:lnTo>
                      <a:pt x="1400" y="224"/>
                    </a:lnTo>
                    <a:lnTo>
                      <a:pt x="1382" y="220"/>
                    </a:lnTo>
                    <a:lnTo>
                      <a:pt x="1362" y="220"/>
                    </a:lnTo>
                    <a:lnTo>
                      <a:pt x="1362" y="220"/>
                    </a:lnTo>
                    <a:lnTo>
                      <a:pt x="1338" y="222"/>
                    </a:lnTo>
                    <a:lnTo>
                      <a:pt x="1316" y="224"/>
                    </a:lnTo>
                    <a:lnTo>
                      <a:pt x="1294" y="230"/>
                    </a:lnTo>
                    <a:lnTo>
                      <a:pt x="1274" y="238"/>
                    </a:lnTo>
                    <a:lnTo>
                      <a:pt x="1274" y="238"/>
                    </a:lnTo>
                    <a:lnTo>
                      <a:pt x="1270" y="302"/>
                    </a:lnTo>
                    <a:lnTo>
                      <a:pt x="1264" y="368"/>
                    </a:lnTo>
                    <a:lnTo>
                      <a:pt x="1264" y="368"/>
                    </a:lnTo>
                    <a:lnTo>
                      <a:pt x="1262" y="378"/>
                    </a:lnTo>
                    <a:lnTo>
                      <a:pt x="1262" y="378"/>
                    </a:lnTo>
                    <a:lnTo>
                      <a:pt x="1274" y="396"/>
                    </a:lnTo>
                    <a:lnTo>
                      <a:pt x="1282" y="416"/>
                    </a:lnTo>
                    <a:lnTo>
                      <a:pt x="1288" y="438"/>
                    </a:lnTo>
                    <a:lnTo>
                      <a:pt x="1292" y="460"/>
                    </a:lnTo>
                    <a:lnTo>
                      <a:pt x="1296" y="486"/>
                    </a:lnTo>
                    <a:lnTo>
                      <a:pt x="1294" y="510"/>
                    </a:lnTo>
                    <a:lnTo>
                      <a:pt x="1292" y="538"/>
                    </a:lnTo>
                    <a:lnTo>
                      <a:pt x="1288" y="564"/>
                    </a:lnTo>
                    <a:lnTo>
                      <a:pt x="1288" y="564"/>
                    </a:lnTo>
                    <a:lnTo>
                      <a:pt x="1282" y="586"/>
                    </a:lnTo>
                    <a:lnTo>
                      <a:pt x="1274" y="608"/>
                    </a:lnTo>
                    <a:lnTo>
                      <a:pt x="1264" y="628"/>
                    </a:lnTo>
                    <a:lnTo>
                      <a:pt x="1254" y="648"/>
                    </a:lnTo>
                    <a:lnTo>
                      <a:pt x="1240" y="668"/>
                    </a:lnTo>
                    <a:lnTo>
                      <a:pt x="1226" y="686"/>
                    </a:lnTo>
                    <a:lnTo>
                      <a:pt x="1212" y="702"/>
                    </a:lnTo>
                    <a:lnTo>
                      <a:pt x="1194" y="714"/>
                    </a:lnTo>
                    <a:lnTo>
                      <a:pt x="1194" y="714"/>
                    </a:lnTo>
                    <a:lnTo>
                      <a:pt x="1192" y="720"/>
                    </a:lnTo>
                    <a:lnTo>
                      <a:pt x="1192" y="720"/>
                    </a:lnTo>
                    <a:lnTo>
                      <a:pt x="1220" y="726"/>
                    </a:lnTo>
                    <a:lnTo>
                      <a:pt x="1250" y="728"/>
                    </a:lnTo>
                    <a:lnTo>
                      <a:pt x="1250" y="754"/>
                    </a:lnTo>
                    <a:lnTo>
                      <a:pt x="1250" y="754"/>
                    </a:lnTo>
                    <a:lnTo>
                      <a:pt x="1250" y="766"/>
                    </a:lnTo>
                    <a:lnTo>
                      <a:pt x="1248" y="772"/>
                    </a:lnTo>
                    <a:lnTo>
                      <a:pt x="1244" y="780"/>
                    </a:lnTo>
                    <a:lnTo>
                      <a:pt x="1238" y="786"/>
                    </a:lnTo>
                    <a:lnTo>
                      <a:pt x="1230" y="792"/>
                    </a:lnTo>
                    <a:lnTo>
                      <a:pt x="1218" y="798"/>
                    </a:lnTo>
                    <a:lnTo>
                      <a:pt x="1202" y="806"/>
                    </a:lnTo>
                    <a:lnTo>
                      <a:pt x="1202" y="806"/>
                    </a:lnTo>
                    <a:lnTo>
                      <a:pt x="1156" y="824"/>
                    </a:lnTo>
                    <a:lnTo>
                      <a:pt x="1156" y="878"/>
                    </a:lnTo>
                    <a:lnTo>
                      <a:pt x="1156" y="878"/>
                    </a:lnTo>
                    <a:lnTo>
                      <a:pt x="1180" y="890"/>
                    </a:lnTo>
                    <a:lnTo>
                      <a:pt x="1180" y="890"/>
                    </a:lnTo>
                    <a:lnTo>
                      <a:pt x="1310" y="948"/>
                    </a:lnTo>
                    <a:lnTo>
                      <a:pt x="1366" y="974"/>
                    </a:lnTo>
                    <a:lnTo>
                      <a:pt x="1412" y="996"/>
                    </a:lnTo>
                    <a:lnTo>
                      <a:pt x="1454" y="1018"/>
                    </a:lnTo>
                    <a:lnTo>
                      <a:pt x="1486" y="1038"/>
                    </a:lnTo>
                    <a:lnTo>
                      <a:pt x="1512" y="1056"/>
                    </a:lnTo>
                    <a:lnTo>
                      <a:pt x="1530" y="1072"/>
                    </a:lnTo>
                    <a:lnTo>
                      <a:pt x="1530" y="1072"/>
                    </a:lnTo>
                    <a:lnTo>
                      <a:pt x="1540" y="1082"/>
                    </a:lnTo>
                    <a:lnTo>
                      <a:pt x="1550" y="1096"/>
                    </a:lnTo>
                    <a:lnTo>
                      <a:pt x="1550" y="1096"/>
                    </a:lnTo>
                    <a:lnTo>
                      <a:pt x="1622" y="1088"/>
                    </a:lnTo>
                    <a:lnTo>
                      <a:pt x="1680" y="1082"/>
                    </a:lnTo>
                    <a:lnTo>
                      <a:pt x="1722" y="1074"/>
                    </a:lnTo>
                    <a:lnTo>
                      <a:pt x="1750" y="1068"/>
                    </a:lnTo>
                    <a:lnTo>
                      <a:pt x="1750" y="1068"/>
                    </a:lnTo>
                    <a:lnTo>
                      <a:pt x="1758" y="1064"/>
                    </a:lnTo>
                    <a:lnTo>
                      <a:pt x="1762" y="1060"/>
                    </a:lnTo>
                    <a:lnTo>
                      <a:pt x="1764" y="1056"/>
                    </a:lnTo>
                    <a:lnTo>
                      <a:pt x="1766" y="1050"/>
                    </a:lnTo>
                    <a:lnTo>
                      <a:pt x="1766" y="1050"/>
                    </a:lnTo>
                    <a:lnTo>
                      <a:pt x="1762" y="1026"/>
                    </a:lnTo>
                    <a:lnTo>
                      <a:pt x="1754" y="984"/>
                    </a:lnTo>
                    <a:lnTo>
                      <a:pt x="1748" y="962"/>
                    </a:lnTo>
                    <a:lnTo>
                      <a:pt x="1740" y="938"/>
                    </a:lnTo>
                    <a:lnTo>
                      <a:pt x="1730" y="918"/>
                    </a:lnTo>
                    <a:lnTo>
                      <a:pt x="1724" y="910"/>
                    </a:lnTo>
                    <a:lnTo>
                      <a:pt x="1716" y="902"/>
                    </a:lnTo>
                    <a:lnTo>
                      <a:pt x="1716" y="902"/>
                    </a:lnTo>
                    <a:close/>
                    <a:moveTo>
                      <a:pt x="588" y="890"/>
                    </a:moveTo>
                    <a:lnTo>
                      <a:pt x="588" y="890"/>
                    </a:lnTo>
                    <a:lnTo>
                      <a:pt x="610" y="880"/>
                    </a:lnTo>
                    <a:lnTo>
                      <a:pt x="610" y="824"/>
                    </a:lnTo>
                    <a:lnTo>
                      <a:pt x="610" y="824"/>
                    </a:lnTo>
                    <a:lnTo>
                      <a:pt x="564" y="806"/>
                    </a:lnTo>
                    <a:lnTo>
                      <a:pt x="564" y="806"/>
                    </a:lnTo>
                    <a:lnTo>
                      <a:pt x="550" y="798"/>
                    </a:lnTo>
                    <a:lnTo>
                      <a:pt x="538" y="792"/>
                    </a:lnTo>
                    <a:lnTo>
                      <a:pt x="528" y="784"/>
                    </a:lnTo>
                    <a:lnTo>
                      <a:pt x="522" y="778"/>
                    </a:lnTo>
                    <a:lnTo>
                      <a:pt x="518" y="772"/>
                    </a:lnTo>
                    <a:lnTo>
                      <a:pt x="516" y="766"/>
                    </a:lnTo>
                    <a:lnTo>
                      <a:pt x="516" y="754"/>
                    </a:lnTo>
                    <a:lnTo>
                      <a:pt x="516" y="754"/>
                    </a:lnTo>
                    <a:lnTo>
                      <a:pt x="516" y="698"/>
                    </a:lnTo>
                    <a:lnTo>
                      <a:pt x="516" y="698"/>
                    </a:lnTo>
                    <a:lnTo>
                      <a:pt x="522" y="688"/>
                    </a:lnTo>
                    <a:lnTo>
                      <a:pt x="530" y="672"/>
                    </a:lnTo>
                    <a:lnTo>
                      <a:pt x="530" y="672"/>
                    </a:lnTo>
                    <a:lnTo>
                      <a:pt x="512" y="646"/>
                    </a:lnTo>
                    <a:lnTo>
                      <a:pt x="498" y="620"/>
                    </a:lnTo>
                    <a:lnTo>
                      <a:pt x="488" y="592"/>
                    </a:lnTo>
                    <a:lnTo>
                      <a:pt x="478" y="564"/>
                    </a:lnTo>
                    <a:lnTo>
                      <a:pt x="478" y="564"/>
                    </a:lnTo>
                    <a:lnTo>
                      <a:pt x="474" y="538"/>
                    </a:lnTo>
                    <a:lnTo>
                      <a:pt x="472" y="510"/>
                    </a:lnTo>
                    <a:lnTo>
                      <a:pt x="472" y="486"/>
                    </a:lnTo>
                    <a:lnTo>
                      <a:pt x="474" y="462"/>
                    </a:lnTo>
                    <a:lnTo>
                      <a:pt x="478" y="438"/>
                    </a:lnTo>
                    <a:lnTo>
                      <a:pt x="484" y="416"/>
                    </a:lnTo>
                    <a:lnTo>
                      <a:pt x="492" y="396"/>
                    </a:lnTo>
                    <a:lnTo>
                      <a:pt x="502" y="378"/>
                    </a:lnTo>
                    <a:lnTo>
                      <a:pt x="502" y="378"/>
                    </a:lnTo>
                    <a:lnTo>
                      <a:pt x="496" y="312"/>
                    </a:lnTo>
                    <a:lnTo>
                      <a:pt x="492" y="234"/>
                    </a:lnTo>
                    <a:lnTo>
                      <a:pt x="492" y="234"/>
                    </a:lnTo>
                    <a:lnTo>
                      <a:pt x="478" y="228"/>
                    </a:lnTo>
                    <a:lnTo>
                      <a:pt x="460" y="224"/>
                    </a:lnTo>
                    <a:lnTo>
                      <a:pt x="432" y="222"/>
                    </a:lnTo>
                    <a:lnTo>
                      <a:pt x="398" y="220"/>
                    </a:lnTo>
                    <a:lnTo>
                      <a:pt x="398" y="220"/>
                    </a:lnTo>
                    <a:lnTo>
                      <a:pt x="372" y="222"/>
                    </a:lnTo>
                    <a:lnTo>
                      <a:pt x="348" y="226"/>
                    </a:lnTo>
                    <a:lnTo>
                      <a:pt x="324" y="232"/>
                    </a:lnTo>
                    <a:lnTo>
                      <a:pt x="304" y="238"/>
                    </a:lnTo>
                    <a:lnTo>
                      <a:pt x="270" y="252"/>
                    </a:lnTo>
                    <a:lnTo>
                      <a:pt x="258" y="256"/>
                    </a:lnTo>
                    <a:lnTo>
                      <a:pt x="258" y="256"/>
                    </a:lnTo>
                    <a:lnTo>
                      <a:pt x="252" y="264"/>
                    </a:lnTo>
                    <a:lnTo>
                      <a:pt x="246" y="272"/>
                    </a:lnTo>
                    <a:lnTo>
                      <a:pt x="240" y="284"/>
                    </a:lnTo>
                    <a:lnTo>
                      <a:pt x="234" y="300"/>
                    </a:lnTo>
                    <a:lnTo>
                      <a:pt x="228" y="318"/>
                    </a:lnTo>
                    <a:lnTo>
                      <a:pt x="222" y="342"/>
                    </a:lnTo>
                    <a:lnTo>
                      <a:pt x="222" y="368"/>
                    </a:lnTo>
                    <a:lnTo>
                      <a:pt x="222" y="368"/>
                    </a:lnTo>
                    <a:lnTo>
                      <a:pt x="222" y="404"/>
                    </a:lnTo>
                    <a:lnTo>
                      <a:pt x="226" y="436"/>
                    </a:lnTo>
                    <a:lnTo>
                      <a:pt x="232" y="470"/>
                    </a:lnTo>
                    <a:lnTo>
                      <a:pt x="232" y="470"/>
                    </a:lnTo>
                    <a:lnTo>
                      <a:pt x="226" y="472"/>
                    </a:lnTo>
                    <a:lnTo>
                      <a:pt x="220" y="478"/>
                    </a:lnTo>
                    <a:lnTo>
                      <a:pt x="216" y="486"/>
                    </a:lnTo>
                    <a:lnTo>
                      <a:pt x="212" y="494"/>
                    </a:lnTo>
                    <a:lnTo>
                      <a:pt x="210" y="506"/>
                    </a:lnTo>
                    <a:lnTo>
                      <a:pt x="210" y="518"/>
                    </a:lnTo>
                    <a:lnTo>
                      <a:pt x="210" y="532"/>
                    </a:lnTo>
                    <a:lnTo>
                      <a:pt x="212" y="546"/>
                    </a:lnTo>
                    <a:lnTo>
                      <a:pt x="212" y="546"/>
                    </a:lnTo>
                    <a:lnTo>
                      <a:pt x="216" y="560"/>
                    </a:lnTo>
                    <a:lnTo>
                      <a:pt x="222" y="572"/>
                    </a:lnTo>
                    <a:lnTo>
                      <a:pt x="228" y="584"/>
                    </a:lnTo>
                    <a:lnTo>
                      <a:pt x="236" y="594"/>
                    </a:lnTo>
                    <a:lnTo>
                      <a:pt x="242" y="600"/>
                    </a:lnTo>
                    <a:lnTo>
                      <a:pt x="250" y="606"/>
                    </a:lnTo>
                    <a:lnTo>
                      <a:pt x="258" y="608"/>
                    </a:lnTo>
                    <a:lnTo>
                      <a:pt x="264" y="608"/>
                    </a:lnTo>
                    <a:lnTo>
                      <a:pt x="264" y="608"/>
                    </a:lnTo>
                    <a:lnTo>
                      <a:pt x="266" y="620"/>
                    </a:lnTo>
                    <a:lnTo>
                      <a:pt x="272" y="646"/>
                    </a:lnTo>
                    <a:lnTo>
                      <a:pt x="282" y="676"/>
                    </a:lnTo>
                    <a:lnTo>
                      <a:pt x="288" y="688"/>
                    </a:lnTo>
                    <a:lnTo>
                      <a:pt x="294" y="698"/>
                    </a:lnTo>
                    <a:lnTo>
                      <a:pt x="294" y="698"/>
                    </a:lnTo>
                    <a:lnTo>
                      <a:pt x="294" y="754"/>
                    </a:lnTo>
                    <a:lnTo>
                      <a:pt x="294" y="754"/>
                    </a:lnTo>
                    <a:lnTo>
                      <a:pt x="294" y="766"/>
                    </a:lnTo>
                    <a:lnTo>
                      <a:pt x="292" y="772"/>
                    </a:lnTo>
                    <a:lnTo>
                      <a:pt x="288" y="780"/>
                    </a:lnTo>
                    <a:lnTo>
                      <a:pt x="282" y="786"/>
                    </a:lnTo>
                    <a:lnTo>
                      <a:pt x="274" y="792"/>
                    </a:lnTo>
                    <a:lnTo>
                      <a:pt x="262" y="798"/>
                    </a:lnTo>
                    <a:lnTo>
                      <a:pt x="246" y="806"/>
                    </a:lnTo>
                    <a:lnTo>
                      <a:pt x="246" y="806"/>
                    </a:lnTo>
                    <a:lnTo>
                      <a:pt x="198" y="824"/>
                    </a:lnTo>
                    <a:lnTo>
                      <a:pt x="138" y="852"/>
                    </a:lnTo>
                    <a:lnTo>
                      <a:pt x="84" y="880"/>
                    </a:lnTo>
                    <a:lnTo>
                      <a:pt x="64" y="892"/>
                    </a:lnTo>
                    <a:lnTo>
                      <a:pt x="50" y="902"/>
                    </a:lnTo>
                    <a:lnTo>
                      <a:pt x="50" y="902"/>
                    </a:lnTo>
                    <a:lnTo>
                      <a:pt x="42" y="910"/>
                    </a:lnTo>
                    <a:lnTo>
                      <a:pt x="36" y="918"/>
                    </a:lnTo>
                    <a:lnTo>
                      <a:pt x="26" y="938"/>
                    </a:lnTo>
                    <a:lnTo>
                      <a:pt x="18" y="962"/>
                    </a:lnTo>
                    <a:lnTo>
                      <a:pt x="12" y="984"/>
                    </a:lnTo>
                    <a:lnTo>
                      <a:pt x="4" y="1026"/>
                    </a:lnTo>
                    <a:lnTo>
                      <a:pt x="0" y="1050"/>
                    </a:lnTo>
                    <a:lnTo>
                      <a:pt x="0" y="1050"/>
                    </a:lnTo>
                    <a:lnTo>
                      <a:pt x="2" y="1056"/>
                    </a:lnTo>
                    <a:lnTo>
                      <a:pt x="4" y="1060"/>
                    </a:lnTo>
                    <a:lnTo>
                      <a:pt x="10" y="1064"/>
                    </a:lnTo>
                    <a:lnTo>
                      <a:pt x="16" y="1068"/>
                    </a:lnTo>
                    <a:lnTo>
                      <a:pt x="16" y="1068"/>
                    </a:lnTo>
                    <a:lnTo>
                      <a:pt x="44" y="1074"/>
                    </a:lnTo>
                    <a:lnTo>
                      <a:pt x="86" y="1082"/>
                    </a:lnTo>
                    <a:lnTo>
                      <a:pt x="144" y="1088"/>
                    </a:lnTo>
                    <a:lnTo>
                      <a:pt x="216" y="1096"/>
                    </a:lnTo>
                    <a:lnTo>
                      <a:pt x="216" y="1096"/>
                    </a:lnTo>
                    <a:lnTo>
                      <a:pt x="226" y="1082"/>
                    </a:lnTo>
                    <a:lnTo>
                      <a:pt x="236" y="1072"/>
                    </a:lnTo>
                    <a:lnTo>
                      <a:pt x="236" y="1072"/>
                    </a:lnTo>
                    <a:lnTo>
                      <a:pt x="252" y="1058"/>
                    </a:lnTo>
                    <a:lnTo>
                      <a:pt x="270" y="1044"/>
                    </a:lnTo>
                    <a:lnTo>
                      <a:pt x="320" y="1014"/>
                    </a:lnTo>
                    <a:lnTo>
                      <a:pt x="376" y="984"/>
                    </a:lnTo>
                    <a:lnTo>
                      <a:pt x="436" y="956"/>
                    </a:lnTo>
                    <a:lnTo>
                      <a:pt x="540" y="910"/>
                    </a:lnTo>
                    <a:lnTo>
                      <a:pt x="588" y="890"/>
                    </a:lnTo>
                    <a:lnTo>
                      <a:pt x="588" y="890"/>
                    </a:lnTo>
                    <a:close/>
                    <a:moveTo>
                      <a:pt x="1144" y="974"/>
                    </a:moveTo>
                    <a:lnTo>
                      <a:pt x="1144" y="974"/>
                    </a:lnTo>
                    <a:lnTo>
                      <a:pt x="1118" y="962"/>
                    </a:lnTo>
                    <a:lnTo>
                      <a:pt x="1098" y="952"/>
                    </a:lnTo>
                    <a:lnTo>
                      <a:pt x="1084" y="940"/>
                    </a:lnTo>
                    <a:lnTo>
                      <a:pt x="1074" y="930"/>
                    </a:lnTo>
                    <a:lnTo>
                      <a:pt x="1068" y="920"/>
                    </a:lnTo>
                    <a:lnTo>
                      <a:pt x="1066" y="910"/>
                    </a:lnTo>
                    <a:lnTo>
                      <a:pt x="1064" y="900"/>
                    </a:lnTo>
                    <a:lnTo>
                      <a:pt x="1064" y="888"/>
                    </a:lnTo>
                    <a:lnTo>
                      <a:pt x="1064" y="888"/>
                    </a:lnTo>
                    <a:lnTo>
                      <a:pt x="1064" y="796"/>
                    </a:lnTo>
                    <a:lnTo>
                      <a:pt x="1064" y="796"/>
                    </a:lnTo>
                    <a:lnTo>
                      <a:pt x="1070" y="790"/>
                    </a:lnTo>
                    <a:lnTo>
                      <a:pt x="1074" y="780"/>
                    </a:lnTo>
                    <a:lnTo>
                      <a:pt x="1084" y="760"/>
                    </a:lnTo>
                    <a:lnTo>
                      <a:pt x="1092" y="736"/>
                    </a:lnTo>
                    <a:lnTo>
                      <a:pt x="1100" y="710"/>
                    </a:lnTo>
                    <a:lnTo>
                      <a:pt x="1110" y="666"/>
                    </a:lnTo>
                    <a:lnTo>
                      <a:pt x="1114" y="646"/>
                    </a:lnTo>
                    <a:lnTo>
                      <a:pt x="1114" y="646"/>
                    </a:lnTo>
                    <a:lnTo>
                      <a:pt x="1120" y="646"/>
                    </a:lnTo>
                    <a:lnTo>
                      <a:pt x="1124" y="646"/>
                    </a:lnTo>
                    <a:lnTo>
                      <a:pt x="1136" y="642"/>
                    </a:lnTo>
                    <a:lnTo>
                      <a:pt x="1148" y="634"/>
                    </a:lnTo>
                    <a:lnTo>
                      <a:pt x="1160" y="622"/>
                    </a:lnTo>
                    <a:lnTo>
                      <a:pt x="1172" y="606"/>
                    </a:lnTo>
                    <a:lnTo>
                      <a:pt x="1182" y="588"/>
                    </a:lnTo>
                    <a:lnTo>
                      <a:pt x="1190" y="566"/>
                    </a:lnTo>
                    <a:lnTo>
                      <a:pt x="1198" y="544"/>
                    </a:lnTo>
                    <a:lnTo>
                      <a:pt x="1198" y="544"/>
                    </a:lnTo>
                    <a:lnTo>
                      <a:pt x="1202" y="520"/>
                    </a:lnTo>
                    <a:lnTo>
                      <a:pt x="1204" y="498"/>
                    </a:lnTo>
                    <a:lnTo>
                      <a:pt x="1202" y="476"/>
                    </a:lnTo>
                    <a:lnTo>
                      <a:pt x="1198" y="458"/>
                    </a:lnTo>
                    <a:lnTo>
                      <a:pt x="1192" y="442"/>
                    </a:lnTo>
                    <a:lnTo>
                      <a:pt x="1186" y="428"/>
                    </a:lnTo>
                    <a:lnTo>
                      <a:pt x="1178" y="420"/>
                    </a:lnTo>
                    <a:lnTo>
                      <a:pt x="1168" y="414"/>
                    </a:lnTo>
                    <a:lnTo>
                      <a:pt x="1168" y="414"/>
                    </a:lnTo>
                    <a:lnTo>
                      <a:pt x="1170" y="392"/>
                    </a:lnTo>
                    <a:lnTo>
                      <a:pt x="1174" y="336"/>
                    </a:lnTo>
                    <a:lnTo>
                      <a:pt x="1180" y="270"/>
                    </a:lnTo>
                    <a:lnTo>
                      <a:pt x="1184" y="214"/>
                    </a:lnTo>
                    <a:lnTo>
                      <a:pt x="1184" y="214"/>
                    </a:lnTo>
                    <a:lnTo>
                      <a:pt x="1182" y="180"/>
                    </a:lnTo>
                    <a:lnTo>
                      <a:pt x="1178" y="152"/>
                    </a:lnTo>
                    <a:lnTo>
                      <a:pt x="1168" y="126"/>
                    </a:lnTo>
                    <a:lnTo>
                      <a:pt x="1162" y="114"/>
                    </a:lnTo>
                    <a:lnTo>
                      <a:pt x="1156" y="102"/>
                    </a:lnTo>
                    <a:lnTo>
                      <a:pt x="1148" y="94"/>
                    </a:lnTo>
                    <a:lnTo>
                      <a:pt x="1140" y="84"/>
                    </a:lnTo>
                    <a:lnTo>
                      <a:pt x="1130" y="78"/>
                    </a:lnTo>
                    <a:lnTo>
                      <a:pt x="1118" y="72"/>
                    </a:lnTo>
                    <a:lnTo>
                      <a:pt x="1106" y="66"/>
                    </a:lnTo>
                    <a:lnTo>
                      <a:pt x="1094" y="64"/>
                    </a:lnTo>
                    <a:lnTo>
                      <a:pt x="1080" y="62"/>
                    </a:lnTo>
                    <a:lnTo>
                      <a:pt x="1064" y="60"/>
                    </a:lnTo>
                    <a:lnTo>
                      <a:pt x="1064" y="60"/>
                    </a:lnTo>
                    <a:lnTo>
                      <a:pt x="1054" y="48"/>
                    </a:lnTo>
                    <a:lnTo>
                      <a:pt x="1044" y="36"/>
                    </a:lnTo>
                    <a:lnTo>
                      <a:pt x="1030" y="24"/>
                    </a:lnTo>
                    <a:lnTo>
                      <a:pt x="1012" y="16"/>
                    </a:lnTo>
                    <a:lnTo>
                      <a:pt x="992" y="8"/>
                    </a:lnTo>
                    <a:lnTo>
                      <a:pt x="966" y="4"/>
                    </a:lnTo>
                    <a:lnTo>
                      <a:pt x="936" y="0"/>
                    </a:lnTo>
                    <a:lnTo>
                      <a:pt x="902" y="0"/>
                    </a:lnTo>
                    <a:lnTo>
                      <a:pt x="902" y="0"/>
                    </a:lnTo>
                    <a:lnTo>
                      <a:pt x="882" y="0"/>
                    </a:lnTo>
                    <a:lnTo>
                      <a:pt x="864" y="2"/>
                    </a:lnTo>
                    <a:lnTo>
                      <a:pt x="830" y="8"/>
                    </a:lnTo>
                    <a:lnTo>
                      <a:pt x="798" y="18"/>
                    </a:lnTo>
                    <a:lnTo>
                      <a:pt x="770" y="30"/>
                    </a:lnTo>
                    <a:lnTo>
                      <a:pt x="740" y="42"/>
                    </a:lnTo>
                    <a:lnTo>
                      <a:pt x="712" y="52"/>
                    </a:lnTo>
                    <a:lnTo>
                      <a:pt x="678" y="58"/>
                    </a:lnTo>
                    <a:lnTo>
                      <a:pt x="662" y="60"/>
                    </a:lnTo>
                    <a:lnTo>
                      <a:pt x="644" y="60"/>
                    </a:lnTo>
                    <a:lnTo>
                      <a:pt x="644" y="60"/>
                    </a:lnTo>
                    <a:lnTo>
                      <a:pt x="636" y="62"/>
                    </a:lnTo>
                    <a:lnTo>
                      <a:pt x="628" y="64"/>
                    </a:lnTo>
                    <a:lnTo>
                      <a:pt x="622" y="68"/>
                    </a:lnTo>
                    <a:lnTo>
                      <a:pt x="614" y="74"/>
                    </a:lnTo>
                    <a:lnTo>
                      <a:pt x="610" y="80"/>
                    </a:lnTo>
                    <a:lnTo>
                      <a:pt x="604" y="88"/>
                    </a:lnTo>
                    <a:lnTo>
                      <a:pt x="596" y="108"/>
                    </a:lnTo>
                    <a:lnTo>
                      <a:pt x="590" y="130"/>
                    </a:lnTo>
                    <a:lnTo>
                      <a:pt x="586" y="156"/>
                    </a:lnTo>
                    <a:lnTo>
                      <a:pt x="584" y="184"/>
                    </a:lnTo>
                    <a:lnTo>
                      <a:pt x="584" y="212"/>
                    </a:lnTo>
                    <a:lnTo>
                      <a:pt x="584" y="212"/>
                    </a:lnTo>
                    <a:lnTo>
                      <a:pt x="586" y="278"/>
                    </a:lnTo>
                    <a:lnTo>
                      <a:pt x="592" y="344"/>
                    </a:lnTo>
                    <a:lnTo>
                      <a:pt x="596" y="394"/>
                    </a:lnTo>
                    <a:lnTo>
                      <a:pt x="598" y="414"/>
                    </a:lnTo>
                    <a:lnTo>
                      <a:pt x="598" y="414"/>
                    </a:lnTo>
                    <a:lnTo>
                      <a:pt x="588" y="420"/>
                    </a:lnTo>
                    <a:lnTo>
                      <a:pt x="580" y="428"/>
                    </a:lnTo>
                    <a:lnTo>
                      <a:pt x="574" y="442"/>
                    </a:lnTo>
                    <a:lnTo>
                      <a:pt x="568" y="458"/>
                    </a:lnTo>
                    <a:lnTo>
                      <a:pt x="564" y="476"/>
                    </a:lnTo>
                    <a:lnTo>
                      <a:pt x="564" y="498"/>
                    </a:lnTo>
                    <a:lnTo>
                      <a:pt x="564" y="520"/>
                    </a:lnTo>
                    <a:lnTo>
                      <a:pt x="568" y="544"/>
                    </a:lnTo>
                    <a:lnTo>
                      <a:pt x="568" y="544"/>
                    </a:lnTo>
                    <a:lnTo>
                      <a:pt x="576" y="566"/>
                    </a:lnTo>
                    <a:lnTo>
                      <a:pt x="584" y="588"/>
                    </a:lnTo>
                    <a:lnTo>
                      <a:pt x="594" y="606"/>
                    </a:lnTo>
                    <a:lnTo>
                      <a:pt x="606" y="622"/>
                    </a:lnTo>
                    <a:lnTo>
                      <a:pt x="618" y="634"/>
                    </a:lnTo>
                    <a:lnTo>
                      <a:pt x="630" y="642"/>
                    </a:lnTo>
                    <a:lnTo>
                      <a:pt x="642" y="646"/>
                    </a:lnTo>
                    <a:lnTo>
                      <a:pt x="646" y="646"/>
                    </a:lnTo>
                    <a:lnTo>
                      <a:pt x="652" y="646"/>
                    </a:lnTo>
                    <a:lnTo>
                      <a:pt x="652" y="646"/>
                    </a:lnTo>
                    <a:lnTo>
                      <a:pt x="656" y="666"/>
                    </a:lnTo>
                    <a:lnTo>
                      <a:pt x="666" y="710"/>
                    </a:lnTo>
                    <a:lnTo>
                      <a:pt x="674" y="736"/>
                    </a:lnTo>
                    <a:lnTo>
                      <a:pt x="682" y="760"/>
                    </a:lnTo>
                    <a:lnTo>
                      <a:pt x="692" y="780"/>
                    </a:lnTo>
                    <a:lnTo>
                      <a:pt x="696" y="790"/>
                    </a:lnTo>
                    <a:lnTo>
                      <a:pt x="702" y="796"/>
                    </a:lnTo>
                    <a:lnTo>
                      <a:pt x="702" y="796"/>
                    </a:lnTo>
                    <a:lnTo>
                      <a:pt x="702" y="888"/>
                    </a:lnTo>
                    <a:lnTo>
                      <a:pt x="702" y="888"/>
                    </a:lnTo>
                    <a:lnTo>
                      <a:pt x="702" y="900"/>
                    </a:lnTo>
                    <a:lnTo>
                      <a:pt x="700" y="910"/>
                    </a:lnTo>
                    <a:lnTo>
                      <a:pt x="698" y="920"/>
                    </a:lnTo>
                    <a:lnTo>
                      <a:pt x="692" y="932"/>
                    </a:lnTo>
                    <a:lnTo>
                      <a:pt x="682" y="942"/>
                    </a:lnTo>
                    <a:lnTo>
                      <a:pt x="668" y="952"/>
                    </a:lnTo>
                    <a:lnTo>
                      <a:pt x="648" y="964"/>
                    </a:lnTo>
                    <a:lnTo>
                      <a:pt x="622" y="974"/>
                    </a:lnTo>
                    <a:lnTo>
                      <a:pt x="622" y="974"/>
                    </a:lnTo>
                    <a:lnTo>
                      <a:pt x="544" y="1008"/>
                    </a:lnTo>
                    <a:lnTo>
                      <a:pt x="448" y="1052"/>
                    </a:lnTo>
                    <a:lnTo>
                      <a:pt x="400" y="1076"/>
                    </a:lnTo>
                    <a:lnTo>
                      <a:pt x="358" y="1098"/>
                    </a:lnTo>
                    <a:lnTo>
                      <a:pt x="324" y="1120"/>
                    </a:lnTo>
                    <a:lnTo>
                      <a:pt x="310" y="1128"/>
                    </a:lnTo>
                    <a:lnTo>
                      <a:pt x="302" y="1136"/>
                    </a:lnTo>
                    <a:lnTo>
                      <a:pt x="302" y="1136"/>
                    </a:lnTo>
                    <a:lnTo>
                      <a:pt x="290" y="1148"/>
                    </a:lnTo>
                    <a:lnTo>
                      <a:pt x="280" y="1164"/>
                    </a:lnTo>
                    <a:lnTo>
                      <a:pt x="272" y="1180"/>
                    </a:lnTo>
                    <a:lnTo>
                      <a:pt x="264" y="1198"/>
                    </a:lnTo>
                    <a:lnTo>
                      <a:pt x="250" y="1236"/>
                    </a:lnTo>
                    <a:lnTo>
                      <a:pt x="238" y="1274"/>
                    </a:lnTo>
                    <a:lnTo>
                      <a:pt x="230" y="1312"/>
                    </a:lnTo>
                    <a:lnTo>
                      <a:pt x="226" y="1344"/>
                    </a:lnTo>
                    <a:lnTo>
                      <a:pt x="222" y="1382"/>
                    </a:lnTo>
                    <a:lnTo>
                      <a:pt x="222" y="1382"/>
                    </a:lnTo>
                    <a:lnTo>
                      <a:pt x="222" y="1392"/>
                    </a:lnTo>
                    <a:lnTo>
                      <a:pt x="226" y="1400"/>
                    </a:lnTo>
                    <a:lnTo>
                      <a:pt x="234" y="1406"/>
                    </a:lnTo>
                    <a:lnTo>
                      <a:pt x="246" y="1412"/>
                    </a:lnTo>
                    <a:lnTo>
                      <a:pt x="246" y="1412"/>
                    </a:lnTo>
                    <a:lnTo>
                      <a:pt x="278" y="1420"/>
                    </a:lnTo>
                    <a:lnTo>
                      <a:pt x="324" y="1428"/>
                    </a:lnTo>
                    <a:lnTo>
                      <a:pt x="382" y="1438"/>
                    </a:lnTo>
                    <a:lnTo>
                      <a:pt x="454" y="1448"/>
                    </a:lnTo>
                    <a:lnTo>
                      <a:pt x="542" y="1456"/>
                    </a:lnTo>
                    <a:lnTo>
                      <a:pt x="642" y="1464"/>
                    </a:lnTo>
                    <a:lnTo>
                      <a:pt x="756" y="1468"/>
                    </a:lnTo>
                    <a:lnTo>
                      <a:pt x="884" y="1470"/>
                    </a:lnTo>
                    <a:lnTo>
                      <a:pt x="884" y="1470"/>
                    </a:lnTo>
                    <a:lnTo>
                      <a:pt x="1010" y="1468"/>
                    </a:lnTo>
                    <a:lnTo>
                      <a:pt x="1124" y="1464"/>
                    </a:lnTo>
                    <a:lnTo>
                      <a:pt x="1224" y="1456"/>
                    </a:lnTo>
                    <a:lnTo>
                      <a:pt x="1312" y="1448"/>
                    </a:lnTo>
                    <a:lnTo>
                      <a:pt x="1384" y="1438"/>
                    </a:lnTo>
                    <a:lnTo>
                      <a:pt x="1444" y="1428"/>
                    </a:lnTo>
                    <a:lnTo>
                      <a:pt x="1488" y="1420"/>
                    </a:lnTo>
                    <a:lnTo>
                      <a:pt x="1520" y="1412"/>
                    </a:lnTo>
                    <a:lnTo>
                      <a:pt x="1520" y="1412"/>
                    </a:lnTo>
                    <a:lnTo>
                      <a:pt x="1532" y="1406"/>
                    </a:lnTo>
                    <a:lnTo>
                      <a:pt x="1540" y="1400"/>
                    </a:lnTo>
                    <a:lnTo>
                      <a:pt x="1544" y="1392"/>
                    </a:lnTo>
                    <a:lnTo>
                      <a:pt x="1544" y="1382"/>
                    </a:lnTo>
                    <a:lnTo>
                      <a:pt x="1544" y="1382"/>
                    </a:lnTo>
                    <a:lnTo>
                      <a:pt x="1540" y="1344"/>
                    </a:lnTo>
                    <a:lnTo>
                      <a:pt x="1536" y="1312"/>
                    </a:lnTo>
                    <a:lnTo>
                      <a:pt x="1528" y="1274"/>
                    </a:lnTo>
                    <a:lnTo>
                      <a:pt x="1516" y="1236"/>
                    </a:lnTo>
                    <a:lnTo>
                      <a:pt x="1502" y="1198"/>
                    </a:lnTo>
                    <a:lnTo>
                      <a:pt x="1494" y="1180"/>
                    </a:lnTo>
                    <a:lnTo>
                      <a:pt x="1486" y="1164"/>
                    </a:lnTo>
                    <a:lnTo>
                      <a:pt x="1476" y="1148"/>
                    </a:lnTo>
                    <a:lnTo>
                      <a:pt x="1464" y="1136"/>
                    </a:lnTo>
                    <a:lnTo>
                      <a:pt x="1464" y="1136"/>
                    </a:lnTo>
                    <a:lnTo>
                      <a:pt x="1456" y="1128"/>
                    </a:lnTo>
                    <a:lnTo>
                      <a:pt x="1442" y="1120"/>
                    </a:lnTo>
                    <a:lnTo>
                      <a:pt x="1408" y="1100"/>
                    </a:lnTo>
                    <a:lnTo>
                      <a:pt x="1366" y="1076"/>
                    </a:lnTo>
                    <a:lnTo>
                      <a:pt x="1320" y="1054"/>
                    </a:lnTo>
                    <a:lnTo>
                      <a:pt x="1222" y="1008"/>
                    </a:lnTo>
                    <a:lnTo>
                      <a:pt x="1144" y="974"/>
                    </a:lnTo>
                    <a:lnTo>
                      <a:pt x="1144" y="974"/>
                    </a:lnTo>
                    <a:close/>
                  </a:path>
                </a:pathLst>
              </a:custGeom>
              <a:solidFill>
                <a:srgbClr val="FD9203"/>
              </a:solidFill>
              <a:ln>
                <a:noFill/>
              </a:ln>
            </p:spPr>
            <p:txBody>
              <a:bodyPr vert="horz" wrap="square" lIns="68574" tIns="34287" rIns="68574" bIns="34287" numCol="1" anchor="t" anchorCtr="0" compatLnSpc="1">
                <a:prstTxWarp prst="textNoShape">
                  <a:avLst/>
                </a:prstTxWarp>
              </a:bodyPr>
              <a:lstStyle/>
              <a:p>
                <a:endParaRPr lang="zh-CN" altLang="en-US">
                  <a:solidFill>
                    <a:schemeClr val="bg1"/>
                  </a:solidFill>
                  <a:latin typeface="FrutigerNext LT Medium" pitchFamily="34" charset="0"/>
                  <a:cs typeface="Arial" pitchFamily="34" charset="0"/>
                </a:endParaRPr>
              </a:p>
            </p:txBody>
          </p:sp>
        </p:grpSp>
      </p:grpSp>
      <p:grpSp>
        <p:nvGrpSpPr>
          <p:cNvPr id="43" name="组合 117"/>
          <p:cNvGrpSpPr/>
          <p:nvPr/>
        </p:nvGrpSpPr>
        <p:grpSpPr>
          <a:xfrm>
            <a:off x="6015344" y="2022845"/>
            <a:ext cx="2591775" cy="539953"/>
            <a:chOff x="8021154" y="1565356"/>
            <a:chExt cx="3456000" cy="720000"/>
          </a:xfrm>
        </p:grpSpPr>
        <p:sp>
          <p:nvSpPr>
            <p:cNvPr id="44" name="矩形 29"/>
            <p:cNvSpPr>
              <a:spLocks noChangeArrowheads="1"/>
            </p:cNvSpPr>
            <p:nvPr/>
          </p:nvSpPr>
          <p:spPr bwMode="auto">
            <a:xfrm>
              <a:off x="8021154" y="1637356"/>
              <a:ext cx="3456000" cy="576000"/>
            </a:xfrm>
            <a:prstGeom prst="roundRect">
              <a:avLst/>
            </a:prstGeom>
            <a:solidFill>
              <a:srgbClr val="7CBF33"/>
            </a:solidFill>
            <a:ln w="9525">
              <a:noFill/>
              <a:miter lim="800000"/>
              <a:headEnd/>
              <a:tailEnd/>
            </a:ln>
          </p:spPr>
          <p:txBody>
            <a:bodyPr wrap="square" lIns="593948" tIns="0" rIns="0" bIns="0" anchor="ctr" anchorCtr="0">
              <a:noAutofit/>
            </a:bodyPr>
            <a:lstStyle/>
            <a:p>
              <a:pPr algn="ctr">
                <a:lnSpc>
                  <a:spcPct val="90000"/>
                </a:lnSpc>
                <a:buSzPct val="80000"/>
              </a:pPr>
              <a:r>
                <a:rPr lang="en-US" altLang="zh-CN" sz="1050" dirty="0">
                  <a:solidFill>
                    <a:schemeClr val="bg1"/>
                  </a:solidFill>
                  <a:latin typeface="FrutigerNext LT Medium" pitchFamily="34" charset="0"/>
                  <a:cs typeface="Arial" pitchFamily="34" charset="0"/>
                </a:rPr>
                <a:t>Serving global enterprises and industry customers</a:t>
              </a:r>
              <a:endParaRPr lang="zh-CN" altLang="en-US" sz="1050" dirty="0">
                <a:solidFill>
                  <a:schemeClr val="bg1"/>
                </a:solidFill>
                <a:latin typeface="FrutigerNext LT Medium" pitchFamily="34" charset="0"/>
                <a:cs typeface="Arial" pitchFamily="34" charset="0"/>
              </a:endParaRPr>
            </a:p>
          </p:txBody>
        </p:sp>
        <p:grpSp>
          <p:nvGrpSpPr>
            <p:cNvPr id="45" name="组合 35"/>
            <p:cNvGrpSpPr/>
            <p:nvPr/>
          </p:nvGrpSpPr>
          <p:grpSpPr>
            <a:xfrm>
              <a:off x="8175055" y="1565356"/>
              <a:ext cx="720000" cy="720000"/>
              <a:chOff x="9389154" y="1989682"/>
              <a:chExt cx="720000" cy="720000"/>
            </a:xfrm>
          </p:grpSpPr>
          <p:sp>
            <p:nvSpPr>
              <p:cNvPr id="46" name="椭圆 45"/>
              <p:cNvSpPr>
                <a:spLocks noChangeAspect="1"/>
              </p:cNvSpPr>
              <p:nvPr/>
            </p:nvSpPr>
            <p:spPr bwMode="auto">
              <a:xfrm>
                <a:off x="9389154" y="1989682"/>
                <a:ext cx="720000" cy="720000"/>
              </a:xfrm>
              <a:prstGeom prst="ellipse">
                <a:avLst/>
              </a:prstGeom>
              <a:solidFill>
                <a:schemeClr val="bg1"/>
              </a:solidFill>
              <a:ln w="19050" cap="flat" cmpd="sng" algn="ctr">
                <a:solidFill>
                  <a:srgbClr val="7CBF33"/>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1350" b="1">
                  <a:solidFill>
                    <a:schemeClr val="bg1"/>
                  </a:solidFill>
                  <a:latin typeface="FrutigerNext LT Medium" pitchFamily="34" charset="0"/>
                  <a:cs typeface="Arial" pitchFamily="34" charset="0"/>
                </a:endParaRPr>
              </a:p>
            </p:txBody>
          </p:sp>
          <p:sp>
            <p:nvSpPr>
              <p:cNvPr id="47" name="Freeform 6"/>
              <p:cNvSpPr>
                <a:spLocks noChangeAspect="1" noEditPoints="1"/>
              </p:cNvSpPr>
              <p:nvPr/>
            </p:nvSpPr>
            <p:spPr bwMode="auto">
              <a:xfrm>
                <a:off x="9588552" y="2106576"/>
                <a:ext cx="321204" cy="432000"/>
              </a:xfrm>
              <a:custGeom>
                <a:avLst/>
                <a:gdLst>
                  <a:gd name="T0" fmla="*/ 49 w 134"/>
                  <a:gd name="T1" fmla="*/ 44 h 180"/>
                  <a:gd name="T2" fmla="*/ 37 w 134"/>
                  <a:gd name="T3" fmla="*/ 33 h 180"/>
                  <a:gd name="T4" fmla="*/ 31 w 134"/>
                  <a:gd name="T5" fmla="*/ 4 h 180"/>
                  <a:gd name="T6" fmla="*/ 17 w 134"/>
                  <a:gd name="T7" fmla="*/ 43 h 180"/>
                  <a:gd name="T8" fmla="*/ 10 w 134"/>
                  <a:gd name="T9" fmla="*/ 53 h 180"/>
                  <a:gd name="T10" fmla="*/ 7 w 134"/>
                  <a:gd name="T11" fmla="*/ 179 h 180"/>
                  <a:gd name="T12" fmla="*/ 25 w 134"/>
                  <a:gd name="T13" fmla="*/ 179 h 180"/>
                  <a:gd name="T14" fmla="*/ 40 w 134"/>
                  <a:gd name="T15" fmla="*/ 156 h 180"/>
                  <a:gd name="T16" fmla="*/ 47 w 134"/>
                  <a:gd name="T17" fmla="*/ 179 h 180"/>
                  <a:gd name="T18" fmla="*/ 66 w 134"/>
                  <a:gd name="T19" fmla="*/ 173 h 180"/>
                  <a:gd name="T20" fmla="*/ 48 w 134"/>
                  <a:gd name="T21" fmla="*/ 142 h 180"/>
                  <a:gd name="T22" fmla="*/ 18 w 134"/>
                  <a:gd name="T23" fmla="*/ 134 h 180"/>
                  <a:gd name="T24" fmla="*/ 48 w 134"/>
                  <a:gd name="T25" fmla="*/ 142 h 180"/>
                  <a:gd name="T26" fmla="*/ 14 w 134"/>
                  <a:gd name="T27" fmla="*/ 120 h 180"/>
                  <a:gd name="T28" fmla="*/ 52 w 134"/>
                  <a:gd name="T29" fmla="*/ 120 h 180"/>
                  <a:gd name="T30" fmla="*/ 18 w 134"/>
                  <a:gd name="T31" fmla="*/ 106 h 180"/>
                  <a:gd name="T32" fmla="*/ 48 w 134"/>
                  <a:gd name="T33" fmla="*/ 99 h 180"/>
                  <a:gd name="T34" fmla="*/ 48 w 134"/>
                  <a:gd name="T35" fmla="*/ 88 h 180"/>
                  <a:gd name="T36" fmla="*/ 18 w 134"/>
                  <a:gd name="T37" fmla="*/ 81 h 180"/>
                  <a:gd name="T38" fmla="*/ 48 w 134"/>
                  <a:gd name="T39" fmla="*/ 88 h 180"/>
                  <a:gd name="T40" fmla="*/ 14 w 134"/>
                  <a:gd name="T41" fmla="*/ 66 h 180"/>
                  <a:gd name="T42" fmla="*/ 52 w 134"/>
                  <a:gd name="T43" fmla="*/ 66 h 180"/>
                  <a:gd name="T44" fmla="*/ 83 w 134"/>
                  <a:gd name="T45" fmla="*/ 88 h 180"/>
                  <a:gd name="T46" fmla="*/ 83 w 134"/>
                  <a:gd name="T47" fmla="*/ 180 h 180"/>
                  <a:gd name="T48" fmla="*/ 114 w 134"/>
                  <a:gd name="T49" fmla="*/ 160 h 180"/>
                  <a:gd name="T50" fmla="*/ 125 w 134"/>
                  <a:gd name="T51" fmla="*/ 180 h 180"/>
                  <a:gd name="T52" fmla="*/ 134 w 134"/>
                  <a:gd name="T53" fmla="*/ 94 h 180"/>
                  <a:gd name="T54" fmla="*/ 98 w 134"/>
                  <a:gd name="T55" fmla="*/ 168 h 180"/>
                  <a:gd name="T56" fmla="*/ 87 w 134"/>
                  <a:gd name="T57" fmla="*/ 162 h 180"/>
                  <a:gd name="T58" fmla="*/ 101 w 134"/>
                  <a:gd name="T59" fmla="*/ 162 h 180"/>
                  <a:gd name="T60" fmla="*/ 98 w 134"/>
                  <a:gd name="T61" fmla="*/ 153 h 180"/>
                  <a:gd name="T62" fmla="*/ 87 w 134"/>
                  <a:gd name="T63" fmla="*/ 147 h 180"/>
                  <a:gd name="T64" fmla="*/ 101 w 134"/>
                  <a:gd name="T65" fmla="*/ 147 h 180"/>
                  <a:gd name="T66" fmla="*/ 98 w 134"/>
                  <a:gd name="T67" fmla="*/ 138 h 180"/>
                  <a:gd name="T68" fmla="*/ 87 w 134"/>
                  <a:gd name="T69" fmla="*/ 132 h 180"/>
                  <a:gd name="T70" fmla="*/ 101 w 134"/>
                  <a:gd name="T71" fmla="*/ 132 h 180"/>
                  <a:gd name="T72" fmla="*/ 98 w 134"/>
                  <a:gd name="T73" fmla="*/ 122 h 180"/>
                  <a:gd name="T74" fmla="*/ 87 w 134"/>
                  <a:gd name="T75" fmla="*/ 116 h 180"/>
                  <a:gd name="T76" fmla="*/ 101 w 134"/>
                  <a:gd name="T77" fmla="*/ 116 h 180"/>
                  <a:gd name="T78" fmla="*/ 98 w 134"/>
                  <a:gd name="T79" fmla="*/ 107 h 180"/>
                  <a:gd name="T80" fmla="*/ 87 w 134"/>
                  <a:gd name="T81" fmla="*/ 101 h 180"/>
                  <a:gd name="T82" fmla="*/ 101 w 134"/>
                  <a:gd name="T83" fmla="*/ 101 h 180"/>
                  <a:gd name="T84" fmla="*/ 121 w 134"/>
                  <a:gd name="T85" fmla="*/ 153 h 180"/>
                  <a:gd name="T86" fmla="*/ 110 w 134"/>
                  <a:gd name="T87" fmla="*/ 147 h 180"/>
                  <a:gd name="T88" fmla="*/ 124 w 134"/>
                  <a:gd name="T89" fmla="*/ 147 h 180"/>
                  <a:gd name="T90" fmla="*/ 121 w 134"/>
                  <a:gd name="T91" fmla="*/ 138 h 180"/>
                  <a:gd name="T92" fmla="*/ 110 w 134"/>
                  <a:gd name="T93" fmla="*/ 132 h 180"/>
                  <a:gd name="T94" fmla="*/ 124 w 134"/>
                  <a:gd name="T95" fmla="*/ 132 h 180"/>
                  <a:gd name="T96" fmla="*/ 121 w 134"/>
                  <a:gd name="T97" fmla="*/ 122 h 180"/>
                  <a:gd name="T98" fmla="*/ 110 w 134"/>
                  <a:gd name="T99" fmla="*/ 116 h 180"/>
                  <a:gd name="T100" fmla="*/ 124 w 134"/>
                  <a:gd name="T101" fmla="*/ 116 h 180"/>
                  <a:gd name="T102" fmla="*/ 121 w 134"/>
                  <a:gd name="T103" fmla="*/ 107 h 180"/>
                  <a:gd name="T104" fmla="*/ 110 w 134"/>
                  <a:gd name="T105" fmla="*/ 101 h 180"/>
                  <a:gd name="T106" fmla="*/ 124 w 134"/>
                  <a:gd name="T107" fmla="*/ 10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 h="180">
                    <a:moveTo>
                      <a:pt x="57" y="53"/>
                    </a:moveTo>
                    <a:cubicBezTo>
                      <a:pt x="57" y="53"/>
                      <a:pt x="57" y="53"/>
                      <a:pt x="57" y="53"/>
                    </a:cubicBezTo>
                    <a:cubicBezTo>
                      <a:pt x="57" y="49"/>
                      <a:pt x="53" y="45"/>
                      <a:pt x="49" y="44"/>
                    </a:cubicBezTo>
                    <a:cubicBezTo>
                      <a:pt x="49" y="43"/>
                      <a:pt x="49" y="43"/>
                      <a:pt x="49" y="43"/>
                    </a:cubicBezTo>
                    <a:cubicBezTo>
                      <a:pt x="49" y="37"/>
                      <a:pt x="45" y="33"/>
                      <a:pt x="40" y="33"/>
                    </a:cubicBezTo>
                    <a:cubicBezTo>
                      <a:pt x="37" y="33"/>
                      <a:pt x="37" y="33"/>
                      <a:pt x="37" y="33"/>
                    </a:cubicBezTo>
                    <a:cubicBezTo>
                      <a:pt x="35" y="4"/>
                      <a:pt x="35" y="4"/>
                      <a:pt x="35" y="4"/>
                    </a:cubicBezTo>
                    <a:cubicBezTo>
                      <a:pt x="35" y="2"/>
                      <a:pt x="34" y="0"/>
                      <a:pt x="33" y="0"/>
                    </a:cubicBezTo>
                    <a:cubicBezTo>
                      <a:pt x="32" y="0"/>
                      <a:pt x="31" y="2"/>
                      <a:pt x="31" y="4"/>
                    </a:cubicBezTo>
                    <a:cubicBezTo>
                      <a:pt x="30" y="33"/>
                      <a:pt x="30" y="33"/>
                      <a:pt x="30" y="33"/>
                    </a:cubicBezTo>
                    <a:cubicBezTo>
                      <a:pt x="27" y="33"/>
                      <a:pt x="27" y="33"/>
                      <a:pt x="27" y="33"/>
                    </a:cubicBezTo>
                    <a:cubicBezTo>
                      <a:pt x="22" y="33"/>
                      <a:pt x="17" y="37"/>
                      <a:pt x="17" y="43"/>
                    </a:cubicBezTo>
                    <a:cubicBezTo>
                      <a:pt x="17" y="44"/>
                      <a:pt x="17" y="44"/>
                      <a:pt x="17" y="44"/>
                    </a:cubicBezTo>
                    <a:cubicBezTo>
                      <a:pt x="13" y="45"/>
                      <a:pt x="10" y="49"/>
                      <a:pt x="10" y="53"/>
                    </a:cubicBezTo>
                    <a:cubicBezTo>
                      <a:pt x="10" y="53"/>
                      <a:pt x="10" y="53"/>
                      <a:pt x="10" y="53"/>
                    </a:cubicBezTo>
                    <a:cubicBezTo>
                      <a:pt x="4" y="53"/>
                      <a:pt x="0" y="57"/>
                      <a:pt x="0" y="62"/>
                    </a:cubicBezTo>
                    <a:cubicBezTo>
                      <a:pt x="0" y="173"/>
                      <a:pt x="0" y="173"/>
                      <a:pt x="0" y="173"/>
                    </a:cubicBezTo>
                    <a:cubicBezTo>
                      <a:pt x="0" y="176"/>
                      <a:pt x="3" y="179"/>
                      <a:pt x="7" y="179"/>
                    </a:cubicBezTo>
                    <a:cubicBezTo>
                      <a:pt x="18" y="179"/>
                      <a:pt x="18" y="179"/>
                      <a:pt x="18" y="179"/>
                    </a:cubicBezTo>
                    <a:cubicBezTo>
                      <a:pt x="19" y="179"/>
                      <a:pt x="19" y="179"/>
                      <a:pt x="19" y="179"/>
                    </a:cubicBezTo>
                    <a:cubicBezTo>
                      <a:pt x="25" y="179"/>
                      <a:pt x="25" y="179"/>
                      <a:pt x="25" y="179"/>
                    </a:cubicBezTo>
                    <a:cubicBezTo>
                      <a:pt x="25" y="157"/>
                      <a:pt x="25" y="157"/>
                      <a:pt x="25" y="157"/>
                    </a:cubicBezTo>
                    <a:cubicBezTo>
                      <a:pt x="25" y="156"/>
                      <a:pt x="25" y="156"/>
                      <a:pt x="26" y="156"/>
                    </a:cubicBezTo>
                    <a:cubicBezTo>
                      <a:pt x="40" y="156"/>
                      <a:pt x="40" y="156"/>
                      <a:pt x="40" y="156"/>
                    </a:cubicBezTo>
                    <a:cubicBezTo>
                      <a:pt x="41" y="156"/>
                      <a:pt x="41" y="156"/>
                      <a:pt x="41" y="157"/>
                    </a:cubicBezTo>
                    <a:cubicBezTo>
                      <a:pt x="41" y="179"/>
                      <a:pt x="41" y="179"/>
                      <a:pt x="41" y="179"/>
                    </a:cubicBezTo>
                    <a:cubicBezTo>
                      <a:pt x="47" y="179"/>
                      <a:pt x="47" y="179"/>
                      <a:pt x="47" y="179"/>
                    </a:cubicBezTo>
                    <a:cubicBezTo>
                      <a:pt x="48" y="179"/>
                      <a:pt x="48" y="179"/>
                      <a:pt x="48" y="179"/>
                    </a:cubicBezTo>
                    <a:cubicBezTo>
                      <a:pt x="60" y="179"/>
                      <a:pt x="60" y="179"/>
                      <a:pt x="60" y="179"/>
                    </a:cubicBezTo>
                    <a:cubicBezTo>
                      <a:pt x="63" y="179"/>
                      <a:pt x="66" y="176"/>
                      <a:pt x="66" y="173"/>
                    </a:cubicBezTo>
                    <a:cubicBezTo>
                      <a:pt x="66" y="62"/>
                      <a:pt x="66" y="62"/>
                      <a:pt x="66" y="62"/>
                    </a:cubicBezTo>
                    <a:cubicBezTo>
                      <a:pt x="66" y="57"/>
                      <a:pt x="62" y="53"/>
                      <a:pt x="57" y="53"/>
                    </a:cubicBezTo>
                    <a:close/>
                    <a:moveTo>
                      <a:pt x="48" y="142"/>
                    </a:moveTo>
                    <a:cubicBezTo>
                      <a:pt x="18" y="142"/>
                      <a:pt x="18" y="142"/>
                      <a:pt x="18" y="142"/>
                    </a:cubicBezTo>
                    <a:cubicBezTo>
                      <a:pt x="16" y="142"/>
                      <a:pt x="14" y="140"/>
                      <a:pt x="14" y="138"/>
                    </a:cubicBezTo>
                    <a:cubicBezTo>
                      <a:pt x="14" y="136"/>
                      <a:pt x="16" y="134"/>
                      <a:pt x="18" y="134"/>
                    </a:cubicBezTo>
                    <a:cubicBezTo>
                      <a:pt x="48" y="134"/>
                      <a:pt x="48" y="134"/>
                      <a:pt x="48" y="134"/>
                    </a:cubicBezTo>
                    <a:cubicBezTo>
                      <a:pt x="50" y="134"/>
                      <a:pt x="52" y="136"/>
                      <a:pt x="52" y="138"/>
                    </a:cubicBezTo>
                    <a:cubicBezTo>
                      <a:pt x="52" y="140"/>
                      <a:pt x="50" y="142"/>
                      <a:pt x="48" y="142"/>
                    </a:cubicBezTo>
                    <a:close/>
                    <a:moveTo>
                      <a:pt x="48" y="124"/>
                    </a:moveTo>
                    <a:cubicBezTo>
                      <a:pt x="18" y="124"/>
                      <a:pt x="18" y="124"/>
                      <a:pt x="18" y="124"/>
                    </a:cubicBezTo>
                    <a:cubicBezTo>
                      <a:pt x="16" y="124"/>
                      <a:pt x="14" y="122"/>
                      <a:pt x="14" y="120"/>
                    </a:cubicBezTo>
                    <a:cubicBezTo>
                      <a:pt x="14" y="118"/>
                      <a:pt x="16" y="116"/>
                      <a:pt x="18" y="116"/>
                    </a:cubicBezTo>
                    <a:cubicBezTo>
                      <a:pt x="48" y="116"/>
                      <a:pt x="48" y="116"/>
                      <a:pt x="48" y="116"/>
                    </a:cubicBezTo>
                    <a:cubicBezTo>
                      <a:pt x="50" y="116"/>
                      <a:pt x="52" y="118"/>
                      <a:pt x="52" y="120"/>
                    </a:cubicBezTo>
                    <a:cubicBezTo>
                      <a:pt x="52" y="122"/>
                      <a:pt x="50" y="124"/>
                      <a:pt x="48" y="124"/>
                    </a:cubicBezTo>
                    <a:close/>
                    <a:moveTo>
                      <a:pt x="48" y="106"/>
                    </a:moveTo>
                    <a:cubicBezTo>
                      <a:pt x="18" y="106"/>
                      <a:pt x="18" y="106"/>
                      <a:pt x="18" y="106"/>
                    </a:cubicBezTo>
                    <a:cubicBezTo>
                      <a:pt x="16" y="106"/>
                      <a:pt x="14" y="104"/>
                      <a:pt x="14" y="102"/>
                    </a:cubicBezTo>
                    <a:cubicBezTo>
                      <a:pt x="14" y="100"/>
                      <a:pt x="16" y="99"/>
                      <a:pt x="18" y="99"/>
                    </a:cubicBezTo>
                    <a:cubicBezTo>
                      <a:pt x="48" y="99"/>
                      <a:pt x="48" y="99"/>
                      <a:pt x="48" y="99"/>
                    </a:cubicBezTo>
                    <a:cubicBezTo>
                      <a:pt x="50" y="99"/>
                      <a:pt x="52" y="100"/>
                      <a:pt x="52" y="102"/>
                    </a:cubicBezTo>
                    <a:cubicBezTo>
                      <a:pt x="52" y="104"/>
                      <a:pt x="50" y="106"/>
                      <a:pt x="48" y="106"/>
                    </a:cubicBezTo>
                    <a:close/>
                    <a:moveTo>
                      <a:pt x="48" y="88"/>
                    </a:moveTo>
                    <a:cubicBezTo>
                      <a:pt x="18" y="88"/>
                      <a:pt x="18" y="88"/>
                      <a:pt x="18" y="88"/>
                    </a:cubicBezTo>
                    <a:cubicBezTo>
                      <a:pt x="16" y="88"/>
                      <a:pt x="14" y="86"/>
                      <a:pt x="14" y="84"/>
                    </a:cubicBezTo>
                    <a:cubicBezTo>
                      <a:pt x="14" y="82"/>
                      <a:pt x="16" y="81"/>
                      <a:pt x="18" y="81"/>
                    </a:cubicBezTo>
                    <a:cubicBezTo>
                      <a:pt x="48" y="81"/>
                      <a:pt x="48" y="81"/>
                      <a:pt x="48" y="81"/>
                    </a:cubicBezTo>
                    <a:cubicBezTo>
                      <a:pt x="50" y="81"/>
                      <a:pt x="52" y="82"/>
                      <a:pt x="52" y="84"/>
                    </a:cubicBezTo>
                    <a:cubicBezTo>
                      <a:pt x="52" y="86"/>
                      <a:pt x="50" y="88"/>
                      <a:pt x="48" y="88"/>
                    </a:cubicBezTo>
                    <a:close/>
                    <a:moveTo>
                      <a:pt x="48" y="70"/>
                    </a:moveTo>
                    <a:cubicBezTo>
                      <a:pt x="18" y="70"/>
                      <a:pt x="18" y="70"/>
                      <a:pt x="18" y="70"/>
                    </a:cubicBezTo>
                    <a:cubicBezTo>
                      <a:pt x="16" y="70"/>
                      <a:pt x="14" y="68"/>
                      <a:pt x="14" y="66"/>
                    </a:cubicBezTo>
                    <a:cubicBezTo>
                      <a:pt x="14" y="64"/>
                      <a:pt x="16" y="63"/>
                      <a:pt x="18" y="63"/>
                    </a:cubicBezTo>
                    <a:cubicBezTo>
                      <a:pt x="48" y="63"/>
                      <a:pt x="48" y="63"/>
                      <a:pt x="48" y="63"/>
                    </a:cubicBezTo>
                    <a:cubicBezTo>
                      <a:pt x="50" y="63"/>
                      <a:pt x="52" y="64"/>
                      <a:pt x="52" y="66"/>
                    </a:cubicBezTo>
                    <a:cubicBezTo>
                      <a:pt x="52" y="68"/>
                      <a:pt x="50" y="70"/>
                      <a:pt x="48" y="70"/>
                    </a:cubicBezTo>
                    <a:close/>
                    <a:moveTo>
                      <a:pt x="128" y="88"/>
                    </a:moveTo>
                    <a:cubicBezTo>
                      <a:pt x="83" y="88"/>
                      <a:pt x="83" y="88"/>
                      <a:pt x="83" y="88"/>
                    </a:cubicBezTo>
                    <a:cubicBezTo>
                      <a:pt x="79" y="88"/>
                      <a:pt x="76" y="91"/>
                      <a:pt x="76" y="94"/>
                    </a:cubicBezTo>
                    <a:cubicBezTo>
                      <a:pt x="76" y="174"/>
                      <a:pt x="76" y="174"/>
                      <a:pt x="76" y="174"/>
                    </a:cubicBezTo>
                    <a:cubicBezTo>
                      <a:pt x="76" y="177"/>
                      <a:pt x="79" y="180"/>
                      <a:pt x="83" y="180"/>
                    </a:cubicBezTo>
                    <a:cubicBezTo>
                      <a:pt x="111" y="180"/>
                      <a:pt x="111" y="180"/>
                      <a:pt x="111" y="180"/>
                    </a:cubicBezTo>
                    <a:cubicBezTo>
                      <a:pt x="111" y="163"/>
                      <a:pt x="111" y="163"/>
                      <a:pt x="111" y="163"/>
                    </a:cubicBezTo>
                    <a:cubicBezTo>
                      <a:pt x="111" y="162"/>
                      <a:pt x="112" y="160"/>
                      <a:pt x="114" y="160"/>
                    </a:cubicBezTo>
                    <a:cubicBezTo>
                      <a:pt x="122" y="160"/>
                      <a:pt x="122" y="160"/>
                      <a:pt x="122" y="160"/>
                    </a:cubicBezTo>
                    <a:cubicBezTo>
                      <a:pt x="124" y="160"/>
                      <a:pt x="125" y="162"/>
                      <a:pt x="125" y="163"/>
                    </a:cubicBezTo>
                    <a:cubicBezTo>
                      <a:pt x="125" y="180"/>
                      <a:pt x="125" y="180"/>
                      <a:pt x="125" y="180"/>
                    </a:cubicBezTo>
                    <a:cubicBezTo>
                      <a:pt x="128" y="180"/>
                      <a:pt x="128" y="180"/>
                      <a:pt x="128" y="180"/>
                    </a:cubicBezTo>
                    <a:cubicBezTo>
                      <a:pt x="131" y="180"/>
                      <a:pt x="134" y="177"/>
                      <a:pt x="134" y="174"/>
                    </a:cubicBezTo>
                    <a:cubicBezTo>
                      <a:pt x="134" y="94"/>
                      <a:pt x="134" y="94"/>
                      <a:pt x="134" y="94"/>
                    </a:cubicBezTo>
                    <a:cubicBezTo>
                      <a:pt x="134" y="91"/>
                      <a:pt x="131" y="88"/>
                      <a:pt x="128" y="88"/>
                    </a:cubicBezTo>
                    <a:close/>
                    <a:moveTo>
                      <a:pt x="101" y="166"/>
                    </a:moveTo>
                    <a:cubicBezTo>
                      <a:pt x="101" y="167"/>
                      <a:pt x="100" y="168"/>
                      <a:pt x="98" y="168"/>
                    </a:cubicBezTo>
                    <a:cubicBezTo>
                      <a:pt x="90" y="168"/>
                      <a:pt x="90" y="168"/>
                      <a:pt x="90" y="168"/>
                    </a:cubicBezTo>
                    <a:cubicBezTo>
                      <a:pt x="88" y="168"/>
                      <a:pt x="87" y="167"/>
                      <a:pt x="87" y="166"/>
                    </a:cubicBezTo>
                    <a:cubicBezTo>
                      <a:pt x="87" y="162"/>
                      <a:pt x="87" y="162"/>
                      <a:pt x="87" y="162"/>
                    </a:cubicBezTo>
                    <a:cubicBezTo>
                      <a:pt x="87" y="161"/>
                      <a:pt x="88" y="160"/>
                      <a:pt x="90" y="160"/>
                    </a:cubicBezTo>
                    <a:cubicBezTo>
                      <a:pt x="98" y="160"/>
                      <a:pt x="98" y="160"/>
                      <a:pt x="98" y="160"/>
                    </a:cubicBezTo>
                    <a:cubicBezTo>
                      <a:pt x="100" y="160"/>
                      <a:pt x="101" y="161"/>
                      <a:pt x="101" y="162"/>
                    </a:cubicBezTo>
                    <a:lnTo>
                      <a:pt x="101" y="166"/>
                    </a:lnTo>
                    <a:close/>
                    <a:moveTo>
                      <a:pt x="101" y="150"/>
                    </a:moveTo>
                    <a:cubicBezTo>
                      <a:pt x="101" y="152"/>
                      <a:pt x="100" y="153"/>
                      <a:pt x="98" y="153"/>
                    </a:cubicBezTo>
                    <a:cubicBezTo>
                      <a:pt x="90" y="153"/>
                      <a:pt x="90" y="153"/>
                      <a:pt x="90" y="153"/>
                    </a:cubicBezTo>
                    <a:cubicBezTo>
                      <a:pt x="88" y="153"/>
                      <a:pt x="87" y="152"/>
                      <a:pt x="87" y="150"/>
                    </a:cubicBezTo>
                    <a:cubicBezTo>
                      <a:pt x="87" y="147"/>
                      <a:pt x="87" y="147"/>
                      <a:pt x="87" y="147"/>
                    </a:cubicBezTo>
                    <a:cubicBezTo>
                      <a:pt x="87" y="146"/>
                      <a:pt x="88" y="144"/>
                      <a:pt x="90" y="144"/>
                    </a:cubicBezTo>
                    <a:cubicBezTo>
                      <a:pt x="98" y="144"/>
                      <a:pt x="98" y="144"/>
                      <a:pt x="98" y="144"/>
                    </a:cubicBezTo>
                    <a:cubicBezTo>
                      <a:pt x="100" y="144"/>
                      <a:pt x="101" y="146"/>
                      <a:pt x="101" y="147"/>
                    </a:cubicBezTo>
                    <a:lnTo>
                      <a:pt x="101" y="150"/>
                    </a:lnTo>
                    <a:close/>
                    <a:moveTo>
                      <a:pt x="101" y="135"/>
                    </a:moveTo>
                    <a:cubicBezTo>
                      <a:pt x="101" y="137"/>
                      <a:pt x="100" y="138"/>
                      <a:pt x="98" y="138"/>
                    </a:cubicBezTo>
                    <a:cubicBezTo>
                      <a:pt x="90" y="138"/>
                      <a:pt x="90" y="138"/>
                      <a:pt x="90" y="138"/>
                    </a:cubicBezTo>
                    <a:cubicBezTo>
                      <a:pt x="88" y="138"/>
                      <a:pt x="87" y="137"/>
                      <a:pt x="87" y="135"/>
                    </a:cubicBezTo>
                    <a:cubicBezTo>
                      <a:pt x="87" y="132"/>
                      <a:pt x="87" y="132"/>
                      <a:pt x="87" y="132"/>
                    </a:cubicBezTo>
                    <a:cubicBezTo>
                      <a:pt x="87" y="130"/>
                      <a:pt x="88" y="129"/>
                      <a:pt x="90" y="129"/>
                    </a:cubicBezTo>
                    <a:cubicBezTo>
                      <a:pt x="98" y="129"/>
                      <a:pt x="98" y="129"/>
                      <a:pt x="98" y="129"/>
                    </a:cubicBezTo>
                    <a:cubicBezTo>
                      <a:pt x="100" y="129"/>
                      <a:pt x="101" y="130"/>
                      <a:pt x="101" y="132"/>
                    </a:cubicBezTo>
                    <a:lnTo>
                      <a:pt x="101" y="135"/>
                    </a:lnTo>
                    <a:close/>
                    <a:moveTo>
                      <a:pt x="101" y="120"/>
                    </a:moveTo>
                    <a:cubicBezTo>
                      <a:pt x="101" y="121"/>
                      <a:pt x="100" y="122"/>
                      <a:pt x="98" y="122"/>
                    </a:cubicBezTo>
                    <a:cubicBezTo>
                      <a:pt x="90" y="122"/>
                      <a:pt x="90" y="122"/>
                      <a:pt x="90" y="122"/>
                    </a:cubicBezTo>
                    <a:cubicBezTo>
                      <a:pt x="88" y="122"/>
                      <a:pt x="87" y="121"/>
                      <a:pt x="87" y="120"/>
                    </a:cubicBezTo>
                    <a:cubicBezTo>
                      <a:pt x="87" y="116"/>
                      <a:pt x="87" y="116"/>
                      <a:pt x="87" y="116"/>
                    </a:cubicBezTo>
                    <a:cubicBezTo>
                      <a:pt x="87" y="115"/>
                      <a:pt x="88" y="114"/>
                      <a:pt x="90" y="114"/>
                    </a:cubicBezTo>
                    <a:cubicBezTo>
                      <a:pt x="98" y="114"/>
                      <a:pt x="98" y="114"/>
                      <a:pt x="98" y="114"/>
                    </a:cubicBezTo>
                    <a:cubicBezTo>
                      <a:pt x="100" y="114"/>
                      <a:pt x="101" y="115"/>
                      <a:pt x="101" y="116"/>
                    </a:cubicBezTo>
                    <a:lnTo>
                      <a:pt x="101" y="120"/>
                    </a:lnTo>
                    <a:close/>
                    <a:moveTo>
                      <a:pt x="101" y="105"/>
                    </a:moveTo>
                    <a:cubicBezTo>
                      <a:pt x="101" y="106"/>
                      <a:pt x="100" y="107"/>
                      <a:pt x="98" y="107"/>
                    </a:cubicBezTo>
                    <a:cubicBezTo>
                      <a:pt x="90" y="107"/>
                      <a:pt x="90" y="107"/>
                      <a:pt x="90" y="107"/>
                    </a:cubicBezTo>
                    <a:cubicBezTo>
                      <a:pt x="88" y="107"/>
                      <a:pt x="87" y="106"/>
                      <a:pt x="87" y="105"/>
                    </a:cubicBezTo>
                    <a:cubicBezTo>
                      <a:pt x="87" y="101"/>
                      <a:pt x="87" y="101"/>
                      <a:pt x="87" y="101"/>
                    </a:cubicBezTo>
                    <a:cubicBezTo>
                      <a:pt x="87" y="100"/>
                      <a:pt x="88" y="99"/>
                      <a:pt x="90" y="99"/>
                    </a:cubicBezTo>
                    <a:cubicBezTo>
                      <a:pt x="98" y="99"/>
                      <a:pt x="98" y="99"/>
                      <a:pt x="98" y="99"/>
                    </a:cubicBezTo>
                    <a:cubicBezTo>
                      <a:pt x="100" y="99"/>
                      <a:pt x="101" y="100"/>
                      <a:pt x="101" y="101"/>
                    </a:cubicBezTo>
                    <a:lnTo>
                      <a:pt x="101" y="105"/>
                    </a:lnTo>
                    <a:close/>
                    <a:moveTo>
                      <a:pt x="124" y="150"/>
                    </a:moveTo>
                    <a:cubicBezTo>
                      <a:pt x="124" y="152"/>
                      <a:pt x="122" y="153"/>
                      <a:pt x="121" y="153"/>
                    </a:cubicBezTo>
                    <a:cubicBezTo>
                      <a:pt x="112" y="153"/>
                      <a:pt x="112" y="153"/>
                      <a:pt x="112" y="153"/>
                    </a:cubicBezTo>
                    <a:cubicBezTo>
                      <a:pt x="111" y="153"/>
                      <a:pt x="110" y="152"/>
                      <a:pt x="110" y="150"/>
                    </a:cubicBezTo>
                    <a:cubicBezTo>
                      <a:pt x="110" y="147"/>
                      <a:pt x="110" y="147"/>
                      <a:pt x="110" y="147"/>
                    </a:cubicBezTo>
                    <a:cubicBezTo>
                      <a:pt x="110" y="146"/>
                      <a:pt x="111" y="144"/>
                      <a:pt x="112" y="144"/>
                    </a:cubicBezTo>
                    <a:cubicBezTo>
                      <a:pt x="121" y="144"/>
                      <a:pt x="121" y="144"/>
                      <a:pt x="121" y="144"/>
                    </a:cubicBezTo>
                    <a:cubicBezTo>
                      <a:pt x="122" y="144"/>
                      <a:pt x="124" y="146"/>
                      <a:pt x="124" y="147"/>
                    </a:cubicBezTo>
                    <a:lnTo>
                      <a:pt x="124" y="150"/>
                    </a:lnTo>
                    <a:close/>
                    <a:moveTo>
                      <a:pt x="124" y="135"/>
                    </a:moveTo>
                    <a:cubicBezTo>
                      <a:pt x="124" y="137"/>
                      <a:pt x="122" y="138"/>
                      <a:pt x="121" y="138"/>
                    </a:cubicBezTo>
                    <a:cubicBezTo>
                      <a:pt x="112" y="138"/>
                      <a:pt x="112" y="138"/>
                      <a:pt x="112" y="138"/>
                    </a:cubicBezTo>
                    <a:cubicBezTo>
                      <a:pt x="111" y="138"/>
                      <a:pt x="110" y="137"/>
                      <a:pt x="110" y="135"/>
                    </a:cubicBezTo>
                    <a:cubicBezTo>
                      <a:pt x="110" y="132"/>
                      <a:pt x="110" y="132"/>
                      <a:pt x="110" y="132"/>
                    </a:cubicBezTo>
                    <a:cubicBezTo>
                      <a:pt x="110" y="130"/>
                      <a:pt x="111" y="129"/>
                      <a:pt x="112" y="129"/>
                    </a:cubicBezTo>
                    <a:cubicBezTo>
                      <a:pt x="121" y="129"/>
                      <a:pt x="121" y="129"/>
                      <a:pt x="121" y="129"/>
                    </a:cubicBezTo>
                    <a:cubicBezTo>
                      <a:pt x="122" y="129"/>
                      <a:pt x="124" y="130"/>
                      <a:pt x="124" y="132"/>
                    </a:cubicBezTo>
                    <a:lnTo>
                      <a:pt x="124" y="135"/>
                    </a:lnTo>
                    <a:close/>
                    <a:moveTo>
                      <a:pt x="124" y="120"/>
                    </a:moveTo>
                    <a:cubicBezTo>
                      <a:pt x="124" y="121"/>
                      <a:pt x="122" y="122"/>
                      <a:pt x="121" y="122"/>
                    </a:cubicBezTo>
                    <a:cubicBezTo>
                      <a:pt x="112" y="122"/>
                      <a:pt x="112" y="122"/>
                      <a:pt x="112" y="122"/>
                    </a:cubicBezTo>
                    <a:cubicBezTo>
                      <a:pt x="111" y="122"/>
                      <a:pt x="110" y="121"/>
                      <a:pt x="110" y="120"/>
                    </a:cubicBezTo>
                    <a:cubicBezTo>
                      <a:pt x="110" y="116"/>
                      <a:pt x="110" y="116"/>
                      <a:pt x="110" y="116"/>
                    </a:cubicBezTo>
                    <a:cubicBezTo>
                      <a:pt x="110" y="115"/>
                      <a:pt x="111" y="114"/>
                      <a:pt x="112" y="114"/>
                    </a:cubicBezTo>
                    <a:cubicBezTo>
                      <a:pt x="121" y="114"/>
                      <a:pt x="121" y="114"/>
                      <a:pt x="121" y="114"/>
                    </a:cubicBezTo>
                    <a:cubicBezTo>
                      <a:pt x="122" y="114"/>
                      <a:pt x="124" y="115"/>
                      <a:pt x="124" y="116"/>
                    </a:cubicBezTo>
                    <a:lnTo>
                      <a:pt x="124" y="120"/>
                    </a:lnTo>
                    <a:close/>
                    <a:moveTo>
                      <a:pt x="124" y="105"/>
                    </a:moveTo>
                    <a:cubicBezTo>
                      <a:pt x="124" y="106"/>
                      <a:pt x="122" y="107"/>
                      <a:pt x="121" y="107"/>
                    </a:cubicBezTo>
                    <a:cubicBezTo>
                      <a:pt x="112" y="107"/>
                      <a:pt x="112" y="107"/>
                      <a:pt x="112" y="107"/>
                    </a:cubicBezTo>
                    <a:cubicBezTo>
                      <a:pt x="111" y="107"/>
                      <a:pt x="110" y="106"/>
                      <a:pt x="110" y="105"/>
                    </a:cubicBezTo>
                    <a:cubicBezTo>
                      <a:pt x="110" y="101"/>
                      <a:pt x="110" y="101"/>
                      <a:pt x="110" y="101"/>
                    </a:cubicBezTo>
                    <a:cubicBezTo>
                      <a:pt x="110" y="100"/>
                      <a:pt x="111" y="99"/>
                      <a:pt x="112" y="99"/>
                    </a:cubicBezTo>
                    <a:cubicBezTo>
                      <a:pt x="121" y="99"/>
                      <a:pt x="121" y="99"/>
                      <a:pt x="121" y="99"/>
                    </a:cubicBezTo>
                    <a:cubicBezTo>
                      <a:pt x="122" y="99"/>
                      <a:pt x="124" y="100"/>
                      <a:pt x="124" y="101"/>
                    </a:cubicBezTo>
                    <a:lnTo>
                      <a:pt x="124" y="105"/>
                    </a:lnTo>
                    <a:close/>
                  </a:path>
                </a:pathLst>
              </a:custGeom>
              <a:solidFill>
                <a:srgbClr val="7CBF33"/>
              </a:solidFill>
              <a:ln>
                <a:noFill/>
              </a:ln>
            </p:spPr>
            <p:txBody>
              <a:bodyPr vert="horz" wrap="square" lIns="68574" tIns="34287" rIns="68574" bIns="34287" numCol="1" anchor="t" anchorCtr="0" compatLnSpc="1">
                <a:prstTxWarp prst="textNoShape">
                  <a:avLst/>
                </a:prstTxWarp>
              </a:bodyPr>
              <a:lstStyle/>
              <a:p>
                <a:endParaRPr lang="zh-CN" altLang="en-US">
                  <a:solidFill>
                    <a:schemeClr val="bg1"/>
                  </a:solidFill>
                  <a:latin typeface="FrutigerNext LT Medium" pitchFamily="34" charset="0"/>
                  <a:cs typeface="Arial" pitchFamily="34" charset="0"/>
                </a:endParaRPr>
              </a:p>
            </p:txBody>
          </p:sp>
        </p:grpSp>
      </p:grpSp>
      <p:grpSp>
        <p:nvGrpSpPr>
          <p:cNvPr id="48" name="组合 113"/>
          <p:cNvGrpSpPr/>
          <p:nvPr/>
        </p:nvGrpSpPr>
        <p:grpSpPr>
          <a:xfrm>
            <a:off x="1618311" y="2613618"/>
            <a:ext cx="5895403" cy="323972"/>
            <a:chOff x="2157934" y="2349944"/>
            <a:chExt cx="7861220" cy="432000"/>
          </a:xfrm>
        </p:grpSpPr>
        <p:sp>
          <p:nvSpPr>
            <p:cNvPr id="49" name="上箭头 48"/>
            <p:cNvSpPr/>
            <p:nvPr/>
          </p:nvSpPr>
          <p:spPr bwMode="auto">
            <a:xfrm>
              <a:off x="2157934" y="2349944"/>
              <a:ext cx="540000" cy="432000"/>
            </a:xfrm>
            <a:prstGeom prst="upArrow">
              <a:avLst/>
            </a:prstGeom>
            <a:solidFill>
              <a:schemeClr val="bg1">
                <a:lumMod val="65000"/>
              </a:schemeClr>
            </a:solidFill>
            <a:ln w="9525" cap="flat" cmpd="sng" algn="ctr">
              <a:no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1350" b="1">
                <a:solidFill>
                  <a:schemeClr val="bg1"/>
                </a:solidFill>
                <a:latin typeface="FrutigerNext LT Medium" pitchFamily="34" charset="0"/>
              </a:endParaRPr>
            </a:p>
          </p:txBody>
        </p:sp>
        <p:sp>
          <p:nvSpPr>
            <p:cNvPr id="50" name="上箭头 49"/>
            <p:cNvSpPr/>
            <p:nvPr/>
          </p:nvSpPr>
          <p:spPr bwMode="auto">
            <a:xfrm>
              <a:off x="5818544" y="2349944"/>
              <a:ext cx="540000" cy="432000"/>
            </a:xfrm>
            <a:prstGeom prst="upArrow">
              <a:avLst/>
            </a:prstGeom>
            <a:solidFill>
              <a:schemeClr val="bg1">
                <a:lumMod val="65000"/>
              </a:schemeClr>
            </a:solidFill>
            <a:ln w="9525" cap="flat" cmpd="sng" algn="ctr">
              <a:no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1350" b="1">
                <a:solidFill>
                  <a:schemeClr val="bg1"/>
                </a:solidFill>
                <a:latin typeface="FrutigerNext LT Medium" pitchFamily="34" charset="0"/>
              </a:endParaRPr>
            </a:p>
          </p:txBody>
        </p:sp>
        <p:sp>
          <p:nvSpPr>
            <p:cNvPr id="51" name="上箭头 50"/>
            <p:cNvSpPr/>
            <p:nvPr/>
          </p:nvSpPr>
          <p:spPr bwMode="auto">
            <a:xfrm>
              <a:off x="9479154" y="2349944"/>
              <a:ext cx="540000" cy="432000"/>
            </a:xfrm>
            <a:prstGeom prst="upArrow">
              <a:avLst/>
            </a:prstGeom>
            <a:solidFill>
              <a:schemeClr val="bg1">
                <a:lumMod val="65000"/>
              </a:schemeClr>
            </a:solidFill>
            <a:ln w="9525" cap="flat" cmpd="sng" algn="ctr">
              <a:no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1350" b="1">
                <a:solidFill>
                  <a:schemeClr val="bg1"/>
                </a:solidFill>
                <a:latin typeface="FrutigerNext LT Medium" pitchFamily="34" charset="0"/>
              </a:endParaRPr>
            </a:p>
          </p:txBody>
        </p:sp>
      </p:grpSp>
      <p:sp>
        <p:nvSpPr>
          <p:cNvPr id="52" name="标题 1"/>
          <p:cNvSpPr txBox="1">
            <a:spLocks/>
          </p:cNvSpPr>
          <p:nvPr/>
        </p:nvSpPr>
        <p:spPr>
          <a:xfrm>
            <a:off x="447254" y="1205068"/>
            <a:ext cx="8769653" cy="480131"/>
          </a:xfrm>
          <a:prstGeom prst="rect">
            <a:avLst/>
          </a:prstGeom>
          <a:noFill/>
          <a:ln w="9525" algn="ctr">
            <a:noFill/>
            <a:miter lim="800000"/>
            <a:headEnd/>
            <a:tailEnd/>
          </a:ln>
          <a:effectLst/>
        </p:spPr>
        <p:txBody>
          <a:bodyPr vert="horz" wrap="square" lIns="0" tIns="0" rIns="0" bIns="0" numCol="1" anchor="ctr" anchorCtr="0" compatLnSpc="1">
            <a:prstTxWarp prst="textNoShape">
              <a:avLst/>
            </a:prstTxWarp>
            <a:spAutoFit/>
          </a:bodyPr>
          <a:lstStyle>
            <a:lvl1pPr algn="l" rtl="0" eaLnBrk="1" fontAlgn="base" hangingPunct="1">
              <a:spcBef>
                <a:spcPct val="0"/>
              </a:spcBef>
              <a:spcAft>
                <a:spcPct val="0"/>
              </a:spcAft>
              <a:defRPr sz="3200" b="1">
                <a:solidFill>
                  <a:srgbClr val="990000"/>
                </a:solidFill>
                <a:latin typeface="+mj-lt"/>
                <a:ea typeface="+mj-ea"/>
                <a:cs typeface="+mj-cs"/>
              </a:defRPr>
            </a:lvl1pPr>
            <a:lvl2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SimSun" pitchFamily="2" charset="-122"/>
              </a:defRPr>
            </a:lvl9pPr>
          </a:lstStyle>
          <a:p>
            <a:pPr defTabSz="914461" fontAlgn="auto">
              <a:lnSpc>
                <a:spcPct val="130000"/>
              </a:lnSpc>
              <a:spcAft>
                <a:spcPts val="0"/>
              </a:spcAft>
            </a:pPr>
            <a:r>
              <a:rPr lang="en-US" altLang="zh-CN" sz="2400" dirty="0">
                <a:solidFill>
                  <a:schemeClr val="bg1"/>
                </a:solidFill>
                <a:latin typeface="FrutigerNext LT Medium" panose="020B0603040504020204" pitchFamily="34" charset="0"/>
                <a:ea typeface="微软雅黑" pitchFamily="34" charset="-122"/>
              </a:rPr>
              <a:t>Provide </a:t>
            </a:r>
            <a:r>
              <a:rPr lang="en-US" altLang="zh-CN" sz="2400" dirty="0">
                <a:solidFill>
                  <a:schemeClr val="bg1"/>
                </a:solidFill>
                <a:latin typeface="FrutigerNext LT Medium" panose="020B0603040504020204" pitchFamily="34" charset="0"/>
                <a:ea typeface="微软雅黑" pitchFamily="34" charset="-122"/>
              </a:rPr>
              <a:t>ICT Solutions and Services for </a:t>
            </a:r>
            <a:r>
              <a:rPr lang="en-US" altLang="zh-CN" sz="2400" dirty="0">
                <a:solidFill>
                  <a:schemeClr val="bg1"/>
                </a:solidFill>
                <a:latin typeface="FrutigerNext LT Medium" panose="020B0603040504020204" pitchFamily="34" charset="0"/>
                <a:ea typeface="微软雅黑" pitchFamily="34" charset="-122"/>
              </a:rPr>
              <a:t>Three </a:t>
            </a:r>
            <a:r>
              <a:rPr lang="en-US" altLang="zh-CN" sz="2400" dirty="0">
                <a:solidFill>
                  <a:schemeClr val="bg1"/>
                </a:solidFill>
                <a:latin typeface="FrutigerNext LT Medium" panose="020B0603040504020204" pitchFamily="34" charset="0"/>
                <a:ea typeface="微软雅黑" pitchFamily="34" charset="-122"/>
              </a:rPr>
              <a:t>Customer </a:t>
            </a:r>
            <a:r>
              <a:rPr lang="en-US" altLang="zh-CN" sz="2400" dirty="0">
                <a:solidFill>
                  <a:schemeClr val="bg1"/>
                </a:solidFill>
                <a:latin typeface="FrutigerNext LT Medium" panose="020B0603040504020204" pitchFamily="34" charset="0"/>
                <a:ea typeface="微软雅黑" pitchFamily="34" charset="-122"/>
              </a:rPr>
              <a:t>Groups</a:t>
            </a:r>
            <a:endParaRPr lang="zh-CN" altLang="en-US" sz="2400" dirty="0">
              <a:solidFill>
                <a:schemeClr val="bg1"/>
              </a:solidFill>
              <a:latin typeface="FrutigerNext LT Medium" panose="020B0603040504020204" pitchFamily="34" charset="0"/>
              <a:ea typeface="微软雅黑" pitchFamily="34" charset="-122"/>
            </a:endParaRPr>
          </a:p>
        </p:txBody>
      </p:sp>
      <p:sp>
        <p:nvSpPr>
          <p:cNvPr id="53" name="矩形 27"/>
          <p:cNvSpPr>
            <a:spLocks noChangeArrowheads="1"/>
          </p:cNvSpPr>
          <p:nvPr/>
        </p:nvSpPr>
        <p:spPr bwMode="auto">
          <a:xfrm>
            <a:off x="512771" y="5450027"/>
            <a:ext cx="8099119" cy="180299"/>
          </a:xfrm>
          <a:prstGeom prst="roundRect">
            <a:avLst/>
          </a:prstGeom>
          <a:solidFill>
            <a:schemeClr val="accent3">
              <a:lumMod val="95000"/>
            </a:schemeClr>
          </a:solidFill>
          <a:ln w="9525">
            <a:noFill/>
            <a:miter lim="800000"/>
            <a:headEnd/>
            <a:tailEnd/>
          </a:ln>
        </p:spPr>
        <p:txBody>
          <a:bodyPr wrap="square" lIns="269977" tIns="0" rIns="0" bIns="0" anchor="ctr" anchorCtr="0">
            <a:noAutofit/>
          </a:bodyPr>
          <a:lstStyle/>
          <a:p>
            <a:pPr algn="ctr">
              <a:buFont typeface="Wingdings" pitchFamily="2" charset="2"/>
              <a:buNone/>
            </a:pPr>
            <a:r>
              <a:rPr lang="en-US" altLang="zh-CN" sz="1050" dirty="0">
                <a:solidFill>
                  <a:schemeClr val="bg1"/>
                </a:solidFill>
                <a:latin typeface="FrutigerNext LT Medium" pitchFamily="34" charset="0"/>
                <a:ea typeface="华文细黑"/>
                <a:cs typeface="Arial" pitchFamily="34" charset="0"/>
              </a:rPr>
              <a:t>Professional service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标题 41"/>
          <p:cNvSpPr>
            <a:spLocks noGrp="1"/>
          </p:cNvSpPr>
          <p:nvPr>
            <p:ph type="title"/>
          </p:nvPr>
        </p:nvSpPr>
        <p:spPr>
          <a:xfrm>
            <a:off x="359475" y="1197361"/>
            <a:ext cx="7829320" cy="539953"/>
          </a:xfrm>
        </p:spPr>
        <p:txBody>
          <a:bodyPr>
            <a:normAutofit/>
          </a:bodyPr>
          <a:lstStyle/>
          <a:p>
            <a:pPr lvl="0"/>
            <a:r>
              <a:rPr lang="en-US" altLang="zh-CN" sz="2700" dirty="0"/>
              <a:t>Build a Better Connected World</a:t>
            </a:r>
            <a:endParaRPr lang="zh-CN" altLang="en-US" sz="2700" dirty="0"/>
          </a:p>
        </p:txBody>
      </p:sp>
      <p:grpSp>
        <p:nvGrpSpPr>
          <p:cNvPr id="5" name="组合 245"/>
          <p:cNvGrpSpPr/>
          <p:nvPr/>
        </p:nvGrpSpPr>
        <p:grpSpPr>
          <a:xfrm>
            <a:off x="469066" y="2832547"/>
            <a:ext cx="377638" cy="617811"/>
            <a:chOff x="15730534" y="3268663"/>
            <a:chExt cx="765175" cy="1123950"/>
          </a:xfrm>
          <a:solidFill>
            <a:srgbClr val="00B0F0"/>
          </a:solidFill>
        </p:grpSpPr>
        <p:sp>
          <p:nvSpPr>
            <p:cNvPr id="11" name="Freeform 57"/>
            <p:cNvSpPr>
              <a:spLocks/>
            </p:cNvSpPr>
            <p:nvPr/>
          </p:nvSpPr>
          <p:spPr bwMode="auto">
            <a:xfrm>
              <a:off x="15786100" y="3268663"/>
              <a:ext cx="252413" cy="26193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2" name="Freeform 58"/>
            <p:cNvSpPr>
              <a:spLocks/>
            </p:cNvSpPr>
            <p:nvPr/>
          </p:nvSpPr>
          <p:spPr bwMode="auto">
            <a:xfrm>
              <a:off x="15886113" y="3368675"/>
              <a:ext cx="144463"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3" name="Freeform 59"/>
            <p:cNvSpPr>
              <a:spLocks/>
            </p:cNvSpPr>
            <p:nvPr/>
          </p:nvSpPr>
          <p:spPr bwMode="auto">
            <a:xfrm>
              <a:off x="16213138" y="3268663"/>
              <a:ext cx="252413" cy="26193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4" name="Freeform 60"/>
            <p:cNvSpPr>
              <a:spLocks/>
            </p:cNvSpPr>
            <p:nvPr/>
          </p:nvSpPr>
          <p:spPr bwMode="auto">
            <a:xfrm>
              <a:off x="16221075" y="3368675"/>
              <a:ext cx="144463"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5" name="Freeform 61"/>
            <p:cNvSpPr>
              <a:spLocks noEditPoints="1"/>
            </p:cNvSpPr>
            <p:nvPr/>
          </p:nvSpPr>
          <p:spPr bwMode="auto">
            <a:xfrm>
              <a:off x="15730534" y="3460750"/>
              <a:ext cx="765175" cy="931863"/>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6" name="组合 245"/>
          <p:cNvGrpSpPr/>
          <p:nvPr/>
        </p:nvGrpSpPr>
        <p:grpSpPr>
          <a:xfrm>
            <a:off x="846703" y="3750569"/>
            <a:ext cx="428966" cy="722401"/>
            <a:chOff x="15730532" y="3268663"/>
            <a:chExt cx="765175" cy="1123950"/>
          </a:xfrm>
          <a:solidFill>
            <a:srgbClr val="00B0F0"/>
          </a:solidFill>
        </p:grpSpPr>
        <p:sp>
          <p:nvSpPr>
            <p:cNvPr id="17" name="Freeform 57"/>
            <p:cNvSpPr>
              <a:spLocks/>
            </p:cNvSpPr>
            <p:nvPr/>
          </p:nvSpPr>
          <p:spPr bwMode="auto">
            <a:xfrm>
              <a:off x="15786100" y="3268663"/>
              <a:ext cx="252413" cy="26193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8" name="Freeform 58"/>
            <p:cNvSpPr>
              <a:spLocks/>
            </p:cNvSpPr>
            <p:nvPr/>
          </p:nvSpPr>
          <p:spPr bwMode="auto">
            <a:xfrm>
              <a:off x="15886113" y="3368675"/>
              <a:ext cx="144463"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9" name="Freeform 59"/>
            <p:cNvSpPr>
              <a:spLocks/>
            </p:cNvSpPr>
            <p:nvPr/>
          </p:nvSpPr>
          <p:spPr bwMode="auto">
            <a:xfrm>
              <a:off x="16213138" y="3268663"/>
              <a:ext cx="252413" cy="26193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20" name="Freeform 60"/>
            <p:cNvSpPr>
              <a:spLocks/>
            </p:cNvSpPr>
            <p:nvPr/>
          </p:nvSpPr>
          <p:spPr bwMode="auto">
            <a:xfrm>
              <a:off x="16221075" y="3368675"/>
              <a:ext cx="144463"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21" name="Freeform 61"/>
            <p:cNvSpPr>
              <a:spLocks noEditPoints="1"/>
            </p:cNvSpPr>
            <p:nvPr/>
          </p:nvSpPr>
          <p:spPr bwMode="auto">
            <a:xfrm>
              <a:off x="15730532" y="3460750"/>
              <a:ext cx="765175" cy="931863"/>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7" name="组合 21"/>
          <p:cNvGrpSpPr>
            <a:grpSpLocks noChangeAspect="1"/>
          </p:cNvGrpSpPr>
          <p:nvPr/>
        </p:nvGrpSpPr>
        <p:grpSpPr>
          <a:xfrm>
            <a:off x="900430" y="2725045"/>
            <a:ext cx="179705" cy="410533"/>
            <a:chOff x="4741002" y="2588471"/>
            <a:chExt cx="1036858" cy="2451473"/>
          </a:xfrm>
          <a:solidFill>
            <a:srgbClr val="FFFFFF"/>
          </a:solidFill>
        </p:grpSpPr>
        <p:sp>
          <p:nvSpPr>
            <p:cNvPr id="23" name="椭圆 22"/>
            <p:cNvSpPr/>
            <p:nvPr/>
          </p:nvSpPr>
          <p:spPr>
            <a:xfrm>
              <a:off x="5049358" y="2588471"/>
              <a:ext cx="420148" cy="4201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sp>
          <p:nvSpPr>
            <p:cNvPr id="24" name="任意多边形 23"/>
            <p:cNvSpPr/>
            <p:nvPr/>
          </p:nvSpPr>
          <p:spPr>
            <a:xfrm>
              <a:off x="4741002" y="3035080"/>
              <a:ext cx="1036858" cy="2004864"/>
            </a:xfrm>
            <a:custGeom>
              <a:avLst/>
              <a:gdLst>
                <a:gd name="connsiteX0" fmla="*/ 250660 w 1503929"/>
                <a:gd name="connsiteY0" fmla="*/ 0 h 2601661"/>
                <a:gd name="connsiteX1" fmla="*/ 1253269 w 1503929"/>
                <a:gd name="connsiteY1" fmla="*/ 0 h 2601661"/>
                <a:gd name="connsiteX2" fmla="*/ 1503929 w 1503929"/>
                <a:gd name="connsiteY2" fmla="*/ 250660 h 2601661"/>
                <a:gd name="connsiteX3" fmla="*/ 1503929 w 1503929"/>
                <a:gd name="connsiteY3" fmla="*/ 969466 h 2601661"/>
                <a:gd name="connsiteX4" fmla="*/ 1337830 w 1503929"/>
                <a:gd name="connsiteY4" fmla="*/ 1273835 h 2601661"/>
                <a:gd name="connsiteX5" fmla="*/ 1201589 w 1503929"/>
                <a:gd name="connsiteY5" fmla="*/ 1098640 h 2601661"/>
                <a:gd name="connsiteX6" fmla="*/ 1198671 w 1503929"/>
                <a:gd name="connsiteY6" fmla="*/ 1063799 h 2601661"/>
                <a:gd name="connsiteX7" fmla="*/ 1198671 w 1503929"/>
                <a:gd name="connsiteY7" fmla="*/ 542915 h 2601661"/>
                <a:gd name="connsiteX8" fmla="*/ 1151556 w 1503929"/>
                <a:gd name="connsiteY8" fmla="*/ 495800 h 2601661"/>
                <a:gd name="connsiteX9" fmla="*/ 1104441 w 1503929"/>
                <a:gd name="connsiteY9" fmla="*/ 542915 h 2601661"/>
                <a:gd name="connsiteX10" fmla="*/ 1104442 w 1503929"/>
                <a:gd name="connsiteY10" fmla="*/ 2503652 h 2601661"/>
                <a:gd name="connsiteX11" fmla="*/ 1081278 w 1503929"/>
                <a:gd name="connsiteY11" fmla="*/ 2541055 h 2601661"/>
                <a:gd name="connsiteX12" fmla="*/ 959769 w 1503929"/>
                <a:gd name="connsiteY12" fmla="*/ 2601660 h 2601661"/>
                <a:gd name="connsiteX13" fmla="*/ 801427 w 1503929"/>
                <a:gd name="connsiteY13" fmla="*/ 2481581 h 2601661"/>
                <a:gd name="connsiteX14" fmla="*/ 800216 w 1503929"/>
                <a:gd name="connsiteY14" fmla="*/ 2475803 h 2601661"/>
                <a:gd name="connsiteX15" fmla="*/ 800216 w 1503929"/>
                <a:gd name="connsiteY15" fmla="*/ 1640961 h 2601661"/>
                <a:gd name="connsiteX16" fmla="*/ 753101 w 1503929"/>
                <a:gd name="connsiteY16" fmla="*/ 1593846 h 2601661"/>
                <a:gd name="connsiteX17" fmla="*/ 705986 w 1503929"/>
                <a:gd name="connsiteY17" fmla="*/ 1640961 h 2601661"/>
                <a:gd name="connsiteX18" fmla="*/ 705987 w 1503929"/>
                <a:gd name="connsiteY18" fmla="*/ 2475796 h 2601661"/>
                <a:gd name="connsiteX19" fmla="*/ 704774 w 1503929"/>
                <a:gd name="connsiteY19" fmla="*/ 2481582 h 2601661"/>
                <a:gd name="connsiteX20" fmla="*/ 546433 w 1503929"/>
                <a:gd name="connsiteY20" fmla="*/ 2601661 h 2601661"/>
                <a:gd name="connsiteX21" fmla="*/ 424923 w 1503929"/>
                <a:gd name="connsiteY21" fmla="*/ 2541056 h 2601661"/>
                <a:gd name="connsiteX22" fmla="*/ 401759 w 1503929"/>
                <a:gd name="connsiteY22" fmla="*/ 2503653 h 2601661"/>
                <a:gd name="connsiteX23" fmla="*/ 401759 w 1503929"/>
                <a:gd name="connsiteY23" fmla="*/ 542915 h 2601661"/>
                <a:gd name="connsiteX24" fmla="*/ 354644 w 1503929"/>
                <a:gd name="connsiteY24" fmla="*/ 495800 h 2601661"/>
                <a:gd name="connsiteX25" fmla="*/ 307529 w 1503929"/>
                <a:gd name="connsiteY25" fmla="*/ 542915 h 2601661"/>
                <a:gd name="connsiteX26" fmla="*/ 307529 w 1503929"/>
                <a:gd name="connsiteY26" fmla="*/ 1021717 h 2601661"/>
                <a:gd name="connsiteX27" fmla="*/ 299315 w 1503929"/>
                <a:gd name="connsiteY27" fmla="*/ 1098640 h 2601661"/>
                <a:gd name="connsiteX28" fmla="*/ 147010 w 1503929"/>
                <a:gd name="connsiteY28" fmla="*/ 1273835 h 2601661"/>
                <a:gd name="connsiteX29" fmla="*/ 10769 w 1503929"/>
                <a:gd name="connsiteY29" fmla="*/ 1098640 h 2601661"/>
                <a:gd name="connsiteX30" fmla="*/ 0 w 1503929"/>
                <a:gd name="connsiteY30" fmla="*/ 970063 h 2601661"/>
                <a:gd name="connsiteX31" fmla="*/ 0 w 1503929"/>
                <a:gd name="connsiteY31" fmla="*/ 250660 h 2601661"/>
                <a:gd name="connsiteX32" fmla="*/ 250660 w 1503929"/>
                <a:gd name="connsiteY32" fmla="*/ 0 h 260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03929" h="2601661">
                  <a:moveTo>
                    <a:pt x="250660" y="0"/>
                  </a:moveTo>
                  <a:lnTo>
                    <a:pt x="1253269" y="0"/>
                  </a:lnTo>
                  <a:cubicBezTo>
                    <a:pt x="1391705" y="0"/>
                    <a:pt x="1503929" y="112224"/>
                    <a:pt x="1503929" y="250660"/>
                  </a:cubicBezTo>
                  <a:lnTo>
                    <a:pt x="1503929" y="969466"/>
                  </a:lnTo>
                  <a:cubicBezTo>
                    <a:pt x="1503929" y="1162927"/>
                    <a:pt x="1424293" y="1273835"/>
                    <a:pt x="1337830" y="1273835"/>
                  </a:cubicBezTo>
                  <a:cubicBezTo>
                    <a:pt x="1272982" y="1273835"/>
                    <a:pt x="1222685" y="1211449"/>
                    <a:pt x="1201589" y="1098640"/>
                  </a:cubicBezTo>
                  <a:lnTo>
                    <a:pt x="1198671" y="1063799"/>
                  </a:lnTo>
                  <a:lnTo>
                    <a:pt x="1198671" y="542915"/>
                  </a:lnTo>
                  <a:cubicBezTo>
                    <a:pt x="1198671" y="516894"/>
                    <a:pt x="1177577" y="495800"/>
                    <a:pt x="1151556" y="495800"/>
                  </a:cubicBezTo>
                  <a:cubicBezTo>
                    <a:pt x="1125535" y="495800"/>
                    <a:pt x="1104441" y="516894"/>
                    <a:pt x="1104441" y="542915"/>
                  </a:cubicBezTo>
                  <a:lnTo>
                    <a:pt x="1104442" y="2503652"/>
                  </a:lnTo>
                  <a:lnTo>
                    <a:pt x="1081278" y="2541055"/>
                  </a:lnTo>
                  <a:cubicBezTo>
                    <a:pt x="1050178" y="2576635"/>
                    <a:pt x="1007216" y="2601660"/>
                    <a:pt x="959769" y="2601660"/>
                  </a:cubicBezTo>
                  <a:cubicBezTo>
                    <a:pt x="888598" y="2601660"/>
                    <a:pt x="827518" y="2545352"/>
                    <a:pt x="801427" y="2481581"/>
                  </a:cubicBezTo>
                  <a:lnTo>
                    <a:pt x="800216" y="2475803"/>
                  </a:lnTo>
                  <a:lnTo>
                    <a:pt x="800216" y="1640961"/>
                  </a:lnTo>
                  <a:cubicBezTo>
                    <a:pt x="800216" y="1614940"/>
                    <a:pt x="779122" y="1593846"/>
                    <a:pt x="753101" y="1593846"/>
                  </a:cubicBezTo>
                  <a:cubicBezTo>
                    <a:pt x="727080" y="1593846"/>
                    <a:pt x="705986" y="1614940"/>
                    <a:pt x="705986" y="1640961"/>
                  </a:cubicBezTo>
                  <a:lnTo>
                    <a:pt x="705987" y="2475796"/>
                  </a:lnTo>
                  <a:lnTo>
                    <a:pt x="704774" y="2481582"/>
                  </a:lnTo>
                  <a:cubicBezTo>
                    <a:pt x="678683" y="2545353"/>
                    <a:pt x="617604" y="2601661"/>
                    <a:pt x="546433" y="2601661"/>
                  </a:cubicBezTo>
                  <a:cubicBezTo>
                    <a:pt x="498985" y="2601661"/>
                    <a:pt x="456023" y="2576636"/>
                    <a:pt x="424923" y="2541056"/>
                  </a:cubicBezTo>
                  <a:lnTo>
                    <a:pt x="401759" y="2503653"/>
                  </a:lnTo>
                  <a:lnTo>
                    <a:pt x="401759" y="542915"/>
                  </a:lnTo>
                  <a:cubicBezTo>
                    <a:pt x="401759" y="516894"/>
                    <a:pt x="380665" y="495800"/>
                    <a:pt x="354644" y="495800"/>
                  </a:cubicBezTo>
                  <a:cubicBezTo>
                    <a:pt x="328623" y="495800"/>
                    <a:pt x="307529" y="516894"/>
                    <a:pt x="307529" y="542915"/>
                  </a:cubicBezTo>
                  <a:lnTo>
                    <a:pt x="307529" y="1021717"/>
                  </a:lnTo>
                  <a:lnTo>
                    <a:pt x="299315" y="1098640"/>
                  </a:lnTo>
                  <a:cubicBezTo>
                    <a:pt x="272864" y="1211449"/>
                    <a:pt x="211857" y="1273835"/>
                    <a:pt x="147010" y="1273835"/>
                  </a:cubicBezTo>
                  <a:cubicBezTo>
                    <a:pt x="82162" y="1273835"/>
                    <a:pt x="31865" y="1211449"/>
                    <a:pt x="10769" y="1098640"/>
                  </a:cubicBezTo>
                  <a:lnTo>
                    <a:pt x="0" y="970063"/>
                  </a:lnTo>
                  <a:lnTo>
                    <a:pt x="0" y="250660"/>
                  </a:lnTo>
                  <a:cubicBezTo>
                    <a:pt x="0" y="112224"/>
                    <a:pt x="112224" y="0"/>
                    <a:pt x="250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grpSp>
      <p:grpSp>
        <p:nvGrpSpPr>
          <p:cNvPr id="8" name="组合 24"/>
          <p:cNvGrpSpPr>
            <a:grpSpLocks noChangeAspect="1"/>
          </p:cNvGrpSpPr>
          <p:nvPr/>
        </p:nvGrpSpPr>
        <p:grpSpPr>
          <a:xfrm>
            <a:off x="469066" y="3912573"/>
            <a:ext cx="179705" cy="410533"/>
            <a:chOff x="4741002" y="2588471"/>
            <a:chExt cx="1036858" cy="2451473"/>
          </a:xfrm>
          <a:solidFill>
            <a:srgbClr val="FFFFFF"/>
          </a:solidFill>
        </p:grpSpPr>
        <p:sp>
          <p:nvSpPr>
            <p:cNvPr id="26" name="椭圆 25"/>
            <p:cNvSpPr/>
            <p:nvPr/>
          </p:nvSpPr>
          <p:spPr>
            <a:xfrm>
              <a:off x="5049358" y="2588471"/>
              <a:ext cx="420148" cy="4201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sp>
          <p:nvSpPr>
            <p:cNvPr id="27" name="任意多边形 26"/>
            <p:cNvSpPr/>
            <p:nvPr/>
          </p:nvSpPr>
          <p:spPr>
            <a:xfrm>
              <a:off x="4741002" y="3035080"/>
              <a:ext cx="1036858" cy="2004864"/>
            </a:xfrm>
            <a:custGeom>
              <a:avLst/>
              <a:gdLst>
                <a:gd name="connsiteX0" fmla="*/ 250660 w 1503929"/>
                <a:gd name="connsiteY0" fmla="*/ 0 h 2601661"/>
                <a:gd name="connsiteX1" fmla="*/ 1253269 w 1503929"/>
                <a:gd name="connsiteY1" fmla="*/ 0 h 2601661"/>
                <a:gd name="connsiteX2" fmla="*/ 1503929 w 1503929"/>
                <a:gd name="connsiteY2" fmla="*/ 250660 h 2601661"/>
                <a:gd name="connsiteX3" fmla="*/ 1503929 w 1503929"/>
                <a:gd name="connsiteY3" fmla="*/ 969466 h 2601661"/>
                <a:gd name="connsiteX4" fmla="*/ 1337830 w 1503929"/>
                <a:gd name="connsiteY4" fmla="*/ 1273835 h 2601661"/>
                <a:gd name="connsiteX5" fmla="*/ 1201589 w 1503929"/>
                <a:gd name="connsiteY5" fmla="*/ 1098640 h 2601661"/>
                <a:gd name="connsiteX6" fmla="*/ 1198671 w 1503929"/>
                <a:gd name="connsiteY6" fmla="*/ 1063799 h 2601661"/>
                <a:gd name="connsiteX7" fmla="*/ 1198671 w 1503929"/>
                <a:gd name="connsiteY7" fmla="*/ 542915 h 2601661"/>
                <a:gd name="connsiteX8" fmla="*/ 1151556 w 1503929"/>
                <a:gd name="connsiteY8" fmla="*/ 495800 h 2601661"/>
                <a:gd name="connsiteX9" fmla="*/ 1104441 w 1503929"/>
                <a:gd name="connsiteY9" fmla="*/ 542915 h 2601661"/>
                <a:gd name="connsiteX10" fmla="*/ 1104442 w 1503929"/>
                <a:gd name="connsiteY10" fmla="*/ 2503652 h 2601661"/>
                <a:gd name="connsiteX11" fmla="*/ 1081278 w 1503929"/>
                <a:gd name="connsiteY11" fmla="*/ 2541055 h 2601661"/>
                <a:gd name="connsiteX12" fmla="*/ 959769 w 1503929"/>
                <a:gd name="connsiteY12" fmla="*/ 2601660 h 2601661"/>
                <a:gd name="connsiteX13" fmla="*/ 801427 w 1503929"/>
                <a:gd name="connsiteY13" fmla="*/ 2481581 h 2601661"/>
                <a:gd name="connsiteX14" fmla="*/ 800216 w 1503929"/>
                <a:gd name="connsiteY14" fmla="*/ 2475803 h 2601661"/>
                <a:gd name="connsiteX15" fmla="*/ 800216 w 1503929"/>
                <a:gd name="connsiteY15" fmla="*/ 1640961 h 2601661"/>
                <a:gd name="connsiteX16" fmla="*/ 753101 w 1503929"/>
                <a:gd name="connsiteY16" fmla="*/ 1593846 h 2601661"/>
                <a:gd name="connsiteX17" fmla="*/ 705986 w 1503929"/>
                <a:gd name="connsiteY17" fmla="*/ 1640961 h 2601661"/>
                <a:gd name="connsiteX18" fmla="*/ 705987 w 1503929"/>
                <a:gd name="connsiteY18" fmla="*/ 2475796 h 2601661"/>
                <a:gd name="connsiteX19" fmla="*/ 704774 w 1503929"/>
                <a:gd name="connsiteY19" fmla="*/ 2481582 h 2601661"/>
                <a:gd name="connsiteX20" fmla="*/ 546433 w 1503929"/>
                <a:gd name="connsiteY20" fmla="*/ 2601661 h 2601661"/>
                <a:gd name="connsiteX21" fmla="*/ 424923 w 1503929"/>
                <a:gd name="connsiteY21" fmla="*/ 2541056 h 2601661"/>
                <a:gd name="connsiteX22" fmla="*/ 401759 w 1503929"/>
                <a:gd name="connsiteY22" fmla="*/ 2503653 h 2601661"/>
                <a:gd name="connsiteX23" fmla="*/ 401759 w 1503929"/>
                <a:gd name="connsiteY23" fmla="*/ 542915 h 2601661"/>
                <a:gd name="connsiteX24" fmla="*/ 354644 w 1503929"/>
                <a:gd name="connsiteY24" fmla="*/ 495800 h 2601661"/>
                <a:gd name="connsiteX25" fmla="*/ 307529 w 1503929"/>
                <a:gd name="connsiteY25" fmla="*/ 542915 h 2601661"/>
                <a:gd name="connsiteX26" fmla="*/ 307529 w 1503929"/>
                <a:gd name="connsiteY26" fmla="*/ 1021717 h 2601661"/>
                <a:gd name="connsiteX27" fmla="*/ 299315 w 1503929"/>
                <a:gd name="connsiteY27" fmla="*/ 1098640 h 2601661"/>
                <a:gd name="connsiteX28" fmla="*/ 147010 w 1503929"/>
                <a:gd name="connsiteY28" fmla="*/ 1273835 h 2601661"/>
                <a:gd name="connsiteX29" fmla="*/ 10769 w 1503929"/>
                <a:gd name="connsiteY29" fmla="*/ 1098640 h 2601661"/>
                <a:gd name="connsiteX30" fmla="*/ 0 w 1503929"/>
                <a:gd name="connsiteY30" fmla="*/ 970063 h 2601661"/>
                <a:gd name="connsiteX31" fmla="*/ 0 w 1503929"/>
                <a:gd name="connsiteY31" fmla="*/ 250660 h 2601661"/>
                <a:gd name="connsiteX32" fmla="*/ 250660 w 1503929"/>
                <a:gd name="connsiteY32" fmla="*/ 0 h 260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03929" h="2601661">
                  <a:moveTo>
                    <a:pt x="250660" y="0"/>
                  </a:moveTo>
                  <a:lnTo>
                    <a:pt x="1253269" y="0"/>
                  </a:lnTo>
                  <a:cubicBezTo>
                    <a:pt x="1391705" y="0"/>
                    <a:pt x="1503929" y="112224"/>
                    <a:pt x="1503929" y="250660"/>
                  </a:cubicBezTo>
                  <a:lnTo>
                    <a:pt x="1503929" y="969466"/>
                  </a:lnTo>
                  <a:cubicBezTo>
                    <a:pt x="1503929" y="1162927"/>
                    <a:pt x="1424293" y="1273835"/>
                    <a:pt x="1337830" y="1273835"/>
                  </a:cubicBezTo>
                  <a:cubicBezTo>
                    <a:pt x="1272982" y="1273835"/>
                    <a:pt x="1222685" y="1211449"/>
                    <a:pt x="1201589" y="1098640"/>
                  </a:cubicBezTo>
                  <a:lnTo>
                    <a:pt x="1198671" y="1063799"/>
                  </a:lnTo>
                  <a:lnTo>
                    <a:pt x="1198671" y="542915"/>
                  </a:lnTo>
                  <a:cubicBezTo>
                    <a:pt x="1198671" y="516894"/>
                    <a:pt x="1177577" y="495800"/>
                    <a:pt x="1151556" y="495800"/>
                  </a:cubicBezTo>
                  <a:cubicBezTo>
                    <a:pt x="1125535" y="495800"/>
                    <a:pt x="1104441" y="516894"/>
                    <a:pt x="1104441" y="542915"/>
                  </a:cubicBezTo>
                  <a:lnTo>
                    <a:pt x="1104442" y="2503652"/>
                  </a:lnTo>
                  <a:lnTo>
                    <a:pt x="1081278" y="2541055"/>
                  </a:lnTo>
                  <a:cubicBezTo>
                    <a:pt x="1050178" y="2576635"/>
                    <a:pt x="1007216" y="2601660"/>
                    <a:pt x="959769" y="2601660"/>
                  </a:cubicBezTo>
                  <a:cubicBezTo>
                    <a:pt x="888598" y="2601660"/>
                    <a:pt x="827518" y="2545352"/>
                    <a:pt x="801427" y="2481581"/>
                  </a:cubicBezTo>
                  <a:lnTo>
                    <a:pt x="800216" y="2475803"/>
                  </a:lnTo>
                  <a:lnTo>
                    <a:pt x="800216" y="1640961"/>
                  </a:lnTo>
                  <a:cubicBezTo>
                    <a:pt x="800216" y="1614940"/>
                    <a:pt x="779122" y="1593846"/>
                    <a:pt x="753101" y="1593846"/>
                  </a:cubicBezTo>
                  <a:cubicBezTo>
                    <a:pt x="727080" y="1593846"/>
                    <a:pt x="705986" y="1614940"/>
                    <a:pt x="705986" y="1640961"/>
                  </a:cubicBezTo>
                  <a:lnTo>
                    <a:pt x="705987" y="2475796"/>
                  </a:lnTo>
                  <a:lnTo>
                    <a:pt x="704774" y="2481582"/>
                  </a:lnTo>
                  <a:cubicBezTo>
                    <a:pt x="678683" y="2545353"/>
                    <a:pt x="617604" y="2601661"/>
                    <a:pt x="546433" y="2601661"/>
                  </a:cubicBezTo>
                  <a:cubicBezTo>
                    <a:pt x="498985" y="2601661"/>
                    <a:pt x="456023" y="2576636"/>
                    <a:pt x="424923" y="2541056"/>
                  </a:cubicBezTo>
                  <a:lnTo>
                    <a:pt x="401759" y="2503653"/>
                  </a:lnTo>
                  <a:lnTo>
                    <a:pt x="401759" y="542915"/>
                  </a:lnTo>
                  <a:cubicBezTo>
                    <a:pt x="401759" y="516894"/>
                    <a:pt x="380665" y="495800"/>
                    <a:pt x="354644" y="495800"/>
                  </a:cubicBezTo>
                  <a:cubicBezTo>
                    <a:pt x="328623" y="495800"/>
                    <a:pt x="307529" y="516894"/>
                    <a:pt x="307529" y="542915"/>
                  </a:cubicBezTo>
                  <a:lnTo>
                    <a:pt x="307529" y="1021717"/>
                  </a:lnTo>
                  <a:lnTo>
                    <a:pt x="299315" y="1098640"/>
                  </a:lnTo>
                  <a:cubicBezTo>
                    <a:pt x="272864" y="1211449"/>
                    <a:pt x="211857" y="1273835"/>
                    <a:pt x="147010" y="1273835"/>
                  </a:cubicBezTo>
                  <a:cubicBezTo>
                    <a:pt x="82162" y="1273835"/>
                    <a:pt x="31865" y="1211449"/>
                    <a:pt x="10769" y="1098640"/>
                  </a:cubicBezTo>
                  <a:lnTo>
                    <a:pt x="0" y="970063"/>
                  </a:lnTo>
                  <a:lnTo>
                    <a:pt x="0" y="250660"/>
                  </a:lnTo>
                  <a:cubicBezTo>
                    <a:pt x="0" y="112224"/>
                    <a:pt x="112224" y="0"/>
                    <a:pt x="250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grpSp>
      <p:grpSp>
        <p:nvGrpSpPr>
          <p:cNvPr id="9" name="组合 27"/>
          <p:cNvGrpSpPr>
            <a:grpSpLocks noChangeAspect="1"/>
          </p:cNvGrpSpPr>
          <p:nvPr/>
        </p:nvGrpSpPr>
        <p:grpSpPr>
          <a:xfrm>
            <a:off x="295868" y="3521793"/>
            <a:ext cx="179705" cy="410533"/>
            <a:chOff x="4741002" y="2588471"/>
            <a:chExt cx="1036858" cy="2451473"/>
          </a:xfrm>
          <a:solidFill>
            <a:srgbClr val="FFFFFF"/>
          </a:solidFill>
        </p:grpSpPr>
        <p:sp>
          <p:nvSpPr>
            <p:cNvPr id="29" name="椭圆 28"/>
            <p:cNvSpPr/>
            <p:nvPr/>
          </p:nvSpPr>
          <p:spPr>
            <a:xfrm>
              <a:off x="5049358" y="2588471"/>
              <a:ext cx="420148" cy="4201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sp>
          <p:nvSpPr>
            <p:cNvPr id="30" name="任意多边形 29"/>
            <p:cNvSpPr/>
            <p:nvPr/>
          </p:nvSpPr>
          <p:spPr>
            <a:xfrm>
              <a:off x="4741002" y="3035080"/>
              <a:ext cx="1036858" cy="2004864"/>
            </a:xfrm>
            <a:custGeom>
              <a:avLst/>
              <a:gdLst>
                <a:gd name="connsiteX0" fmla="*/ 250660 w 1503929"/>
                <a:gd name="connsiteY0" fmla="*/ 0 h 2601661"/>
                <a:gd name="connsiteX1" fmla="*/ 1253269 w 1503929"/>
                <a:gd name="connsiteY1" fmla="*/ 0 h 2601661"/>
                <a:gd name="connsiteX2" fmla="*/ 1503929 w 1503929"/>
                <a:gd name="connsiteY2" fmla="*/ 250660 h 2601661"/>
                <a:gd name="connsiteX3" fmla="*/ 1503929 w 1503929"/>
                <a:gd name="connsiteY3" fmla="*/ 969466 h 2601661"/>
                <a:gd name="connsiteX4" fmla="*/ 1337830 w 1503929"/>
                <a:gd name="connsiteY4" fmla="*/ 1273835 h 2601661"/>
                <a:gd name="connsiteX5" fmla="*/ 1201589 w 1503929"/>
                <a:gd name="connsiteY5" fmla="*/ 1098640 h 2601661"/>
                <a:gd name="connsiteX6" fmla="*/ 1198671 w 1503929"/>
                <a:gd name="connsiteY6" fmla="*/ 1063799 h 2601661"/>
                <a:gd name="connsiteX7" fmla="*/ 1198671 w 1503929"/>
                <a:gd name="connsiteY7" fmla="*/ 542915 h 2601661"/>
                <a:gd name="connsiteX8" fmla="*/ 1151556 w 1503929"/>
                <a:gd name="connsiteY8" fmla="*/ 495800 h 2601661"/>
                <a:gd name="connsiteX9" fmla="*/ 1104441 w 1503929"/>
                <a:gd name="connsiteY9" fmla="*/ 542915 h 2601661"/>
                <a:gd name="connsiteX10" fmla="*/ 1104442 w 1503929"/>
                <a:gd name="connsiteY10" fmla="*/ 2503652 h 2601661"/>
                <a:gd name="connsiteX11" fmla="*/ 1081278 w 1503929"/>
                <a:gd name="connsiteY11" fmla="*/ 2541055 h 2601661"/>
                <a:gd name="connsiteX12" fmla="*/ 959769 w 1503929"/>
                <a:gd name="connsiteY12" fmla="*/ 2601660 h 2601661"/>
                <a:gd name="connsiteX13" fmla="*/ 801427 w 1503929"/>
                <a:gd name="connsiteY13" fmla="*/ 2481581 h 2601661"/>
                <a:gd name="connsiteX14" fmla="*/ 800216 w 1503929"/>
                <a:gd name="connsiteY14" fmla="*/ 2475803 h 2601661"/>
                <a:gd name="connsiteX15" fmla="*/ 800216 w 1503929"/>
                <a:gd name="connsiteY15" fmla="*/ 1640961 h 2601661"/>
                <a:gd name="connsiteX16" fmla="*/ 753101 w 1503929"/>
                <a:gd name="connsiteY16" fmla="*/ 1593846 h 2601661"/>
                <a:gd name="connsiteX17" fmla="*/ 705986 w 1503929"/>
                <a:gd name="connsiteY17" fmla="*/ 1640961 h 2601661"/>
                <a:gd name="connsiteX18" fmla="*/ 705987 w 1503929"/>
                <a:gd name="connsiteY18" fmla="*/ 2475796 h 2601661"/>
                <a:gd name="connsiteX19" fmla="*/ 704774 w 1503929"/>
                <a:gd name="connsiteY19" fmla="*/ 2481582 h 2601661"/>
                <a:gd name="connsiteX20" fmla="*/ 546433 w 1503929"/>
                <a:gd name="connsiteY20" fmla="*/ 2601661 h 2601661"/>
                <a:gd name="connsiteX21" fmla="*/ 424923 w 1503929"/>
                <a:gd name="connsiteY21" fmla="*/ 2541056 h 2601661"/>
                <a:gd name="connsiteX22" fmla="*/ 401759 w 1503929"/>
                <a:gd name="connsiteY22" fmla="*/ 2503653 h 2601661"/>
                <a:gd name="connsiteX23" fmla="*/ 401759 w 1503929"/>
                <a:gd name="connsiteY23" fmla="*/ 542915 h 2601661"/>
                <a:gd name="connsiteX24" fmla="*/ 354644 w 1503929"/>
                <a:gd name="connsiteY24" fmla="*/ 495800 h 2601661"/>
                <a:gd name="connsiteX25" fmla="*/ 307529 w 1503929"/>
                <a:gd name="connsiteY25" fmla="*/ 542915 h 2601661"/>
                <a:gd name="connsiteX26" fmla="*/ 307529 w 1503929"/>
                <a:gd name="connsiteY26" fmla="*/ 1021717 h 2601661"/>
                <a:gd name="connsiteX27" fmla="*/ 299315 w 1503929"/>
                <a:gd name="connsiteY27" fmla="*/ 1098640 h 2601661"/>
                <a:gd name="connsiteX28" fmla="*/ 147010 w 1503929"/>
                <a:gd name="connsiteY28" fmla="*/ 1273835 h 2601661"/>
                <a:gd name="connsiteX29" fmla="*/ 10769 w 1503929"/>
                <a:gd name="connsiteY29" fmla="*/ 1098640 h 2601661"/>
                <a:gd name="connsiteX30" fmla="*/ 0 w 1503929"/>
                <a:gd name="connsiteY30" fmla="*/ 970063 h 2601661"/>
                <a:gd name="connsiteX31" fmla="*/ 0 w 1503929"/>
                <a:gd name="connsiteY31" fmla="*/ 250660 h 2601661"/>
                <a:gd name="connsiteX32" fmla="*/ 250660 w 1503929"/>
                <a:gd name="connsiteY32" fmla="*/ 0 h 260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03929" h="2601661">
                  <a:moveTo>
                    <a:pt x="250660" y="0"/>
                  </a:moveTo>
                  <a:lnTo>
                    <a:pt x="1253269" y="0"/>
                  </a:lnTo>
                  <a:cubicBezTo>
                    <a:pt x="1391705" y="0"/>
                    <a:pt x="1503929" y="112224"/>
                    <a:pt x="1503929" y="250660"/>
                  </a:cubicBezTo>
                  <a:lnTo>
                    <a:pt x="1503929" y="969466"/>
                  </a:lnTo>
                  <a:cubicBezTo>
                    <a:pt x="1503929" y="1162927"/>
                    <a:pt x="1424293" y="1273835"/>
                    <a:pt x="1337830" y="1273835"/>
                  </a:cubicBezTo>
                  <a:cubicBezTo>
                    <a:pt x="1272982" y="1273835"/>
                    <a:pt x="1222685" y="1211449"/>
                    <a:pt x="1201589" y="1098640"/>
                  </a:cubicBezTo>
                  <a:lnTo>
                    <a:pt x="1198671" y="1063799"/>
                  </a:lnTo>
                  <a:lnTo>
                    <a:pt x="1198671" y="542915"/>
                  </a:lnTo>
                  <a:cubicBezTo>
                    <a:pt x="1198671" y="516894"/>
                    <a:pt x="1177577" y="495800"/>
                    <a:pt x="1151556" y="495800"/>
                  </a:cubicBezTo>
                  <a:cubicBezTo>
                    <a:pt x="1125535" y="495800"/>
                    <a:pt x="1104441" y="516894"/>
                    <a:pt x="1104441" y="542915"/>
                  </a:cubicBezTo>
                  <a:lnTo>
                    <a:pt x="1104442" y="2503652"/>
                  </a:lnTo>
                  <a:lnTo>
                    <a:pt x="1081278" y="2541055"/>
                  </a:lnTo>
                  <a:cubicBezTo>
                    <a:pt x="1050178" y="2576635"/>
                    <a:pt x="1007216" y="2601660"/>
                    <a:pt x="959769" y="2601660"/>
                  </a:cubicBezTo>
                  <a:cubicBezTo>
                    <a:pt x="888598" y="2601660"/>
                    <a:pt x="827518" y="2545352"/>
                    <a:pt x="801427" y="2481581"/>
                  </a:cubicBezTo>
                  <a:lnTo>
                    <a:pt x="800216" y="2475803"/>
                  </a:lnTo>
                  <a:lnTo>
                    <a:pt x="800216" y="1640961"/>
                  </a:lnTo>
                  <a:cubicBezTo>
                    <a:pt x="800216" y="1614940"/>
                    <a:pt x="779122" y="1593846"/>
                    <a:pt x="753101" y="1593846"/>
                  </a:cubicBezTo>
                  <a:cubicBezTo>
                    <a:pt x="727080" y="1593846"/>
                    <a:pt x="705986" y="1614940"/>
                    <a:pt x="705986" y="1640961"/>
                  </a:cubicBezTo>
                  <a:lnTo>
                    <a:pt x="705987" y="2475796"/>
                  </a:lnTo>
                  <a:lnTo>
                    <a:pt x="704774" y="2481582"/>
                  </a:lnTo>
                  <a:cubicBezTo>
                    <a:pt x="678683" y="2545353"/>
                    <a:pt x="617604" y="2601661"/>
                    <a:pt x="546433" y="2601661"/>
                  </a:cubicBezTo>
                  <a:cubicBezTo>
                    <a:pt x="498985" y="2601661"/>
                    <a:pt x="456023" y="2576636"/>
                    <a:pt x="424923" y="2541056"/>
                  </a:cubicBezTo>
                  <a:lnTo>
                    <a:pt x="401759" y="2503653"/>
                  </a:lnTo>
                  <a:lnTo>
                    <a:pt x="401759" y="542915"/>
                  </a:lnTo>
                  <a:cubicBezTo>
                    <a:pt x="401759" y="516894"/>
                    <a:pt x="380665" y="495800"/>
                    <a:pt x="354644" y="495800"/>
                  </a:cubicBezTo>
                  <a:cubicBezTo>
                    <a:pt x="328623" y="495800"/>
                    <a:pt x="307529" y="516894"/>
                    <a:pt x="307529" y="542915"/>
                  </a:cubicBezTo>
                  <a:lnTo>
                    <a:pt x="307529" y="1021717"/>
                  </a:lnTo>
                  <a:lnTo>
                    <a:pt x="299315" y="1098640"/>
                  </a:lnTo>
                  <a:cubicBezTo>
                    <a:pt x="272864" y="1211449"/>
                    <a:pt x="211857" y="1273835"/>
                    <a:pt x="147010" y="1273835"/>
                  </a:cubicBezTo>
                  <a:cubicBezTo>
                    <a:pt x="82162" y="1273835"/>
                    <a:pt x="31865" y="1211449"/>
                    <a:pt x="10769" y="1098640"/>
                  </a:cubicBezTo>
                  <a:lnTo>
                    <a:pt x="0" y="970063"/>
                  </a:lnTo>
                  <a:lnTo>
                    <a:pt x="0" y="250660"/>
                  </a:lnTo>
                  <a:cubicBezTo>
                    <a:pt x="0" y="112224"/>
                    <a:pt x="112224" y="0"/>
                    <a:pt x="250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grpSp>
      <p:grpSp>
        <p:nvGrpSpPr>
          <p:cNvPr id="10" name="组合 30"/>
          <p:cNvGrpSpPr>
            <a:grpSpLocks noChangeAspect="1"/>
          </p:cNvGrpSpPr>
          <p:nvPr/>
        </p:nvGrpSpPr>
        <p:grpSpPr>
          <a:xfrm>
            <a:off x="1278714" y="3912573"/>
            <a:ext cx="179705" cy="410533"/>
            <a:chOff x="4741002" y="2588471"/>
            <a:chExt cx="1036858" cy="2451473"/>
          </a:xfrm>
          <a:solidFill>
            <a:srgbClr val="FFFFFF"/>
          </a:solidFill>
        </p:grpSpPr>
        <p:sp>
          <p:nvSpPr>
            <p:cNvPr id="32" name="椭圆 31"/>
            <p:cNvSpPr/>
            <p:nvPr/>
          </p:nvSpPr>
          <p:spPr>
            <a:xfrm>
              <a:off x="5049358" y="2588471"/>
              <a:ext cx="420148" cy="4201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sp>
          <p:nvSpPr>
            <p:cNvPr id="33" name="任意多边形 32"/>
            <p:cNvSpPr/>
            <p:nvPr/>
          </p:nvSpPr>
          <p:spPr>
            <a:xfrm>
              <a:off x="4741002" y="3035080"/>
              <a:ext cx="1036858" cy="2004864"/>
            </a:xfrm>
            <a:custGeom>
              <a:avLst/>
              <a:gdLst>
                <a:gd name="connsiteX0" fmla="*/ 250660 w 1503929"/>
                <a:gd name="connsiteY0" fmla="*/ 0 h 2601661"/>
                <a:gd name="connsiteX1" fmla="*/ 1253269 w 1503929"/>
                <a:gd name="connsiteY1" fmla="*/ 0 h 2601661"/>
                <a:gd name="connsiteX2" fmla="*/ 1503929 w 1503929"/>
                <a:gd name="connsiteY2" fmla="*/ 250660 h 2601661"/>
                <a:gd name="connsiteX3" fmla="*/ 1503929 w 1503929"/>
                <a:gd name="connsiteY3" fmla="*/ 969466 h 2601661"/>
                <a:gd name="connsiteX4" fmla="*/ 1337830 w 1503929"/>
                <a:gd name="connsiteY4" fmla="*/ 1273835 h 2601661"/>
                <a:gd name="connsiteX5" fmla="*/ 1201589 w 1503929"/>
                <a:gd name="connsiteY5" fmla="*/ 1098640 h 2601661"/>
                <a:gd name="connsiteX6" fmla="*/ 1198671 w 1503929"/>
                <a:gd name="connsiteY6" fmla="*/ 1063799 h 2601661"/>
                <a:gd name="connsiteX7" fmla="*/ 1198671 w 1503929"/>
                <a:gd name="connsiteY7" fmla="*/ 542915 h 2601661"/>
                <a:gd name="connsiteX8" fmla="*/ 1151556 w 1503929"/>
                <a:gd name="connsiteY8" fmla="*/ 495800 h 2601661"/>
                <a:gd name="connsiteX9" fmla="*/ 1104441 w 1503929"/>
                <a:gd name="connsiteY9" fmla="*/ 542915 h 2601661"/>
                <a:gd name="connsiteX10" fmla="*/ 1104442 w 1503929"/>
                <a:gd name="connsiteY10" fmla="*/ 2503652 h 2601661"/>
                <a:gd name="connsiteX11" fmla="*/ 1081278 w 1503929"/>
                <a:gd name="connsiteY11" fmla="*/ 2541055 h 2601661"/>
                <a:gd name="connsiteX12" fmla="*/ 959769 w 1503929"/>
                <a:gd name="connsiteY12" fmla="*/ 2601660 h 2601661"/>
                <a:gd name="connsiteX13" fmla="*/ 801427 w 1503929"/>
                <a:gd name="connsiteY13" fmla="*/ 2481581 h 2601661"/>
                <a:gd name="connsiteX14" fmla="*/ 800216 w 1503929"/>
                <a:gd name="connsiteY14" fmla="*/ 2475803 h 2601661"/>
                <a:gd name="connsiteX15" fmla="*/ 800216 w 1503929"/>
                <a:gd name="connsiteY15" fmla="*/ 1640961 h 2601661"/>
                <a:gd name="connsiteX16" fmla="*/ 753101 w 1503929"/>
                <a:gd name="connsiteY16" fmla="*/ 1593846 h 2601661"/>
                <a:gd name="connsiteX17" fmla="*/ 705986 w 1503929"/>
                <a:gd name="connsiteY17" fmla="*/ 1640961 h 2601661"/>
                <a:gd name="connsiteX18" fmla="*/ 705987 w 1503929"/>
                <a:gd name="connsiteY18" fmla="*/ 2475796 h 2601661"/>
                <a:gd name="connsiteX19" fmla="*/ 704774 w 1503929"/>
                <a:gd name="connsiteY19" fmla="*/ 2481582 h 2601661"/>
                <a:gd name="connsiteX20" fmla="*/ 546433 w 1503929"/>
                <a:gd name="connsiteY20" fmla="*/ 2601661 h 2601661"/>
                <a:gd name="connsiteX21" fmla="*/ 424923 w 1503929"/>
                <a:gd name="connsiteY21" fmla="*/ 2541056 h 2601661"/>
                <a:gd name="connsiteX22" fmla="*/ 401759 w 1503929"/>
                <a:gd name="connsiteY22" fmla="*/ 2503653 h 2601661"/>
                <a:gd name="connsiteX23" fmla="*/ 401759 w 1503929"/>
                <a:gd name="connsiteY23" fmla="*/ 542915 h 2601661"/>
                <a:gd name="connsiteX24" fmla="*/ 354644 w 1503929"/>
                <a:gd name="connsiteY24" fmla="*/ 495800 h 2601661"/>
                <a:gd name="connsiteX25" fmla="*/ 307529 w 1503929"/>
                <a:gd name="connsiteY25" fmla="*/ 542915 h 2601661"/>
                <a:gd name="connsiteX26" fmla="*/ 307529 w 1503929"/>
                <a:gd name="connsiteY26" fmla="*/ 1021717 h 2601661"/>
                <a:gd name="connsiteX27" fmla="*/ 299315 w 1503929"/>
                <a:gd name="connsiteY27" fmla="*/ 1098640 h 2601661"/>
                <a:gd name="connsiteX28" fmla="*/ 147010 w 1503929"/>
                <a:gd name="connsiteY28" fmla="*/ 1273835 h 2601661"/>
                <a:gd name="connsiteX29" fmla="*/ 10769 w 1503929"/>
                <a:gd name="connsiteY29" fmla="*/ 1098640 h 2601661"/>
                <a:gd name="connsiteX30" fmla="*/ 0 w 1503929"/>
                <a:gd name="connsiteY30" fmla="*/ 970063 h 2601661"/>
                <a:gd name="connsiteX31" fmla="*/ 0 w 1503929"/>
                <a:gd name="connsiteY31" fmla="*/ 250660 h 2601661"/>
                <a:gd name="connsiteX32" fmla="*/ 250660 w 1503929"/>
                <a:gd name="connsiteY32" fmla="*/ 0 h 260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03929" h="2601661">
                  <a:moveTo>
                    <a:pt x="250660" y="0"/>
                  </a:moveTo>
                  <a:lnTo>
                    <a:pt x="1253269" y="0"/>
                  </a:lnTo>
                  <a:cubicBezTo>
                    <a:pt x="1391705" y="0"/>
                    <a:pt x="1503929" y="112224"/>
                    <a:pt x="1503929" y="250660"/>
                  </a:cubicBezTo>
                  <a:lnTo>
                    <a:pt x="1503929" y="969466"/>
                  </a:lnTo>
                  <a:cubicBezTo>
                    <a:pt x="1503929" y="1162927"/>
                    <a:pt x="1424293" y="1273835"/>
                    <a:pt x="1337830" y="1273835"/>
                  </a:cubicBezTo>
                  <a:cubicBezTo>
                    <a:pt x="1272982" y="1273835"/>
                    <a:pt x="1222685" y="1211449"/>
                    <a:pt x="1201589" y="1098640"/>
                  </a:cubicBezTo>
                  <a:lnTo>
                    <a:pt x="1198671" y="1063799"/>
                  </a:lnTo>
                  <a:lnTo>
                    <a:pt x="1198671" y="542915"/>
                  </a:lnTo>
                  <a:cubicBezTo>
                    <a:pt x="1198671" y="516894"/>
                    <a:pt x="1177577" y="495800"/>
                    <a:pt x="1151556" y="495800"/>
                  </a:cubicBezTo>
                  <a:cubicBezTo>
                    <a:pt x="1125535" y="495800"/>
                    <a:pt x="1104441" y="516894"/>
                    <a:pt x="1104441" y="542915"/>
                  </a:cubicBezTo>
                  <a:lnTo>
                    <a:pt x="1104442" y="2503652"/>
                  </a:lnTo>
                  <a:lnTo>
                    <a:pt x="1081278" y="2541055"/>
                  </a:lnTo>
                  <a:cubicBezTo>
                    <a:pt x="1050178" y="2576635"/>
                    <a:pt x="1007216" y="2601660"/>
                    <a:pt x="959769" y="2601660"/>
                  </a:cubicBezTo>
                  <a:cubicBezTo>
                    <a:pt x="888598" y="2601660"/>
                    <a:pt x="827518" y="2545352"/>
                    <a:pt x="801427" y="2481581"/>
                  </a:cubicBezTo>
                  <a:lnTo>
                    <a:pt x="800216" y="2475803"/>
                  </a:lnTo>
                  <a:lnTo>
                    <a:pt x="800216" y="1640961"/>
                  </a:lnTo>
                  <a:cubicBezTo>
                    <a:pt x="800216" y="1614940"/>
                    <a:pt x="779122" y="1593846"/>
                    <a:pt x="753101" y="1593846"/>
                  </a:cubicBezTo>
                  <a:cubicBezTo>
                    <a:pt x="727080" y="1593846"/>
                    <a:pt x="705986" y="1614940"/>
                    <a:pt x="705986" y="1640961"/>
                  </a:cubicBezTo>
                  <a:lnTo>
                    <a:pt x="705987" y="2475796"/>
                  </a:lnTo>
                  <a:lnTo>
                    <a:pt x="704774" y="2481582"/>
                  </a:lnTo>
                  <a:cubicBezTo>
                    <a:pt x="678683" y="2545353"/>
                    <a:pt x="617604" y="2601661"/>
                    <a:pt x="546433" y="2601661"/>
                  </a:cubicBezTo>
                  <a:cubicBezTo>
                    <a:pt x="498985" y="2601661"/>
                    <a:pt x="456023" y="2576636"/>
                    <a:pt x="424923" y="2541056"/>
                  </a:cubicBezTo>
                  <a:lnTo>
                    <a:pt x="401759" y="2503653"/>
                  </a:lnTo>
                  <a:lnTo>
                    <a:pt x="401759" y="542915"/>
                  </a:lnTo>
                  <a:cubicBezTo>
                    <a:pt x="401759" y="516894"/>
                    <a:pt x="380665" y="495800"/>
                    <a:pt x="354644" y="495800"/>
                  </a:cubicBezTo>
                  <a:cubicBezTo>
                    <a:pt x="328623" y="495800"/>
                    <a:pt x="307529" y="516894"/>
                    <a:pt x="307529" y="542915"/>
                  </a:cubicBezTo>
                  <a:lnTo>
                    <a:pt x="307529" y="1021717"/>
                  </a:lnTo>
                  <a:lnTo>
                    <a:pt x="299315" y="1098640"/>
                  </a:lnTo>
                  <a:cubicBezTo>
                    <a:pt x="272864" y="1211449"/>
                    <a:pt x="211857" y="1273835"/>
                    <a:pt x="147010" y="1273835"/>
                  </a:cubicBezTo>
                  <a:cubicBezTo>
                    <a:pt x="82162" y="1273835"/>
                    <a:pt x="31865" y="1211449"/>
                    <a:pt x="10769" y="1098640"/>
                  </a:cubicBezTo>
                  <a:lnTo>
                    <a:pt x="0" y="970063"/>
                  </a:lnTo>
                  <a:lnTo>
                    <a:pt x="0" y="250660"/>
                  </a:lnTo>
                  <a:cubicBezTo>
                    <a:pt x="0" y="112224"/>
                    <a:pt x="112224" y="0"/>
                    <a:pt x="250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grpSp>
      <p:grpSp>
        <p:nvGrpSpPr>
          <p:cNvPr id="98" name="组合 245"/>
          <p:cNvGrpSpPr/>
          <p:nvPr/>
        </p:nvGrpSpPr>
        <p:grpSpPr>
          <a:xfrm>
            <a:off x="1170711" y="2508539"/>
            <a:ext cx="319225" cy="492767"/>
            <a:chOff x="15730538" y="3268663"/>
            <a:chExt cx="765175" cy="1123950"/>
          </a:xfrm>
          <a:solidFill>
            <a:srgbClr val="00B0F0"/>
          </a:solidFill>
        </p:grpSpPr>
        <p:sp>
          <p:nvSpPr>
            <p:cNvPr id="117" name="Freeform 57"/>
            <p:cNvSpPr>
              <a:spLocks/>
            </p:cNvSpPr>
            <p:nvPr/>
          </p:nvSpPr>
          <p:spPr bwMode="auto">
            <a:xfrm>
              <a:off x="15786100" y="3268663"/>
              <a:ext cx="252413" cy="26193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18" name="Freeform 58"/>
            <p:cNvSpPr>
              <a:spLocks/>
            </p:cNvSpPr>
            <p:nvPr/>
          </p:nvSpPr>
          <p:spPr bwMode="auto">
            <a:xfrm>
              <a:off x="15886113" y="3368675"/>
              <a:ext cx="144463"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19" name="Freeform 59"/>
            <p:cNvSpPr>
              <a:spLocks/>
            </p:cNvSpPr>
            <p:nvPr/>
          </p:nvSpPr>
          <p:spPr bwMode="auto">
            <a:xfrm>
              <a:off x="16213138" y="3268663"/>
              <a:ext cx="252413" cy="26193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20" name="Freeform 60"/>
            <p:cNvSpPr>
              <a:spLocks/>
            </p:cNvSpPr>
            <p:nvPr/>
          </p:nvSpPr>
          <p:spPr bwMode="auto">
            <a:xfrm>
              <a:off x="16221075" y="3368675"/>
              <a:ext cx="144463"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21" name="Freeform 61"/>
            <p:cNvSpPr>
              <a:spLocks noEditPoints="1"/>
            </p:cNvSpPr>
            <p:nvPr/>
          </p:nvSpPr>
          <p:spPr bwMode="auto">
            <a:xfrm>
              <a:off x="15730538" y="3460750"/>
              <a:ext cx="765175" cy="931863"/>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99" name="组合 121"/>
          <p:cNvGrpSpPr>
            <a:grpSpLocks noChangeAspect="1"/>
          </p:cNvGrpSpPr>
          <p:nvPr/>
        </p:nvGrpSpPr>
        <p:grpSpPr>
          <a:xfrm>
            <a:off x="1278714" y="3102554"/>
            <a:ext cx="179705" cy="410533"/>
            <a:chOff x="4741002" y="2588471"/>
            <a:chExt cx="1036858" cy="2451473"/>
          </a:xfrm>
          <a:solidFill>
            <a:srgbClr val="FFFFFF"/>
          </a:solidFill>
        </p:grpSpPr>
        <p:sp>
          <p:nvSpPr>
            <p:cNvPr id="123" name="椭圆 122"/>
            <p:cNvSpPr/>
            <p:nvPr/>
          </p:nvSpPr>
          <p:spPr>
            <a:xfrm>
              <a:off x="5049358" y="2588471"/>
              <a:ext cx="420148" cy="4201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sp>
          <p:nvSpPr>
            <p:cNvPr id="124" name="任意多边形 123"/>
            <p:cNvSpPr/>
            <p:nvPr/>
          </p:nvSpPr>
          <p:spPr>
            <a:xfrm>
              <a:off x="4741002" y="3035080"/>
              <a:ext cx="1036858" cy="2004864"/>
            </a:xfrm>
            <a:custGeom>
              <a:avLst/>
              <a:gdLst>
                <a:gd name="connsiteX0" fmla="*/ 250660 w 1503929"/>
                <a:gd name="connsiteY0" fmla="*/ 0 h 2601661"/>
                <a:gd name="connsiteX1" fmla="*/ 1253269 w 1503929"/>
                <a:gd name="connsiteY1" fmla="*/ 0 h 2601661"/>
                <a:gd name="connsiteX2" fmla="*/ 1503929 w 1503929"/>
                <a:gd name="connsiteY2" fmla="*/ 250660 h 2601661"/>
                <a:gd name="connsiteX3" fmla="*/ 1503929 w 1503929"/>
                <a:gd name="connsiteY3" fmla="*/ 969466 h 2601661"/>
                <a:gd name="connsiteX4" fmla="*/ 1337830 w 1503929"/>
                <a:gd name="connsiteY4" fmla="*/ 1273835 h 2601661"/>
                <a:gd name="connsiteX5" fmla="*/ 1201589 w 1503929"/>
                <a:gd name="connsiteY5" fmla="*/ 1098640 h 2601661"/>
                <a:gd name="connsiteX6" fmla="*/ 1198671 w 1503929"/>
                <a:gd name="connsiteY6" fmla="*/ 1063799 h 2601661"/>
                <a:gd name="connsiteX7" fmla="*/ 1198671 w 1503929"/>
                <a:gd name="connsiteY7" fmla="*/ 542915 h 2601661"/>
                <a:gd name="connsiteX8" fmla="*/ 1151556 w 1503929"/>
                <a:gd name="connsiteY8" fmla="*/ 495800 h 2601661"/>
                <a:gd name="connsiteX9" fmla="*/ 1104441 w 1503929"/>
                <a:gd name="connsiteY9" fmla="*/ 542915 h 2601661"/>
                <a:gd name="connsiteX10" fmla="*/ 1104442 w 1503929"/>
                <a:gd name="connsiteY10" fmla="*/ 2503652 h 2601661"/>
                <a:gd name="connsiteX11" fmla="*/ 1081278 w 1503929"/>
                <a:gd name="connsiteY11" fmla="*/ 2541055 h 2601661"/>
                <a:gd name="connsiteX12" fmla="*/ 959769 w 1503929"/>
                <a:gd name="connsiteY12" fmla="*/ 2601660 h 2601661"/>
                <a:gd name="connsiteX13" fmla="*/ 801427 w 1503929"/>
                <a:gd name="connsiteY13" fmla="*/ 2481581 h 2601661"/>
                <a:gd name="connsiteX14" fmla="*/ 800216 w 1503929"/>
                <a:gd name="connsiteY14" fmla="*/ 2475803 h 2601661"/>
                <a:gd name="connsiteX15" fmla="*/ 800216 w 1503929"/>
                <a:gd name="connsiteY15" fmla="*/ 1640961 h 2601661"/>
                <a:gd name="connsiteX16" fmla="*/ 753101 w 1503929"/>
                <a:gd name="connsiteY16" fmla="*/ 1593846 h 2601661"/>
                <a:gd name="connsiteX17" fmla="*/ 705986 w 1503929"/>
                <a:gd name="connsiteY17" fmla="*/ 1640961 h 2601661"/>
                <a:gd name="connsiteX18" fmla="*/ 705987 w 1503929"/>
                <a:gd name="connsiteY18" fmla="*/ 2475796 h 2601661"/>
                <a:gd name="connsiteX19" fmla="*/ 704774 w 1503929"/>
                <a:gd name="connsiteY19" fmla="*/ 2481582 h 2601661"/>
                <a:gd name="connsiteX20" fmla="*/ 546433 w 1503929"/>
                <a:gd name="connsiteY20" fmla="*/ 2601661 h 2601661"/>
                <a:gd name="connsiteX21" fmla="*/ 424923 w 1503929"/>
                <a:gd name="connsiteY21" fmla="*/ 2541056 h 2601661"/>
                <a:gd name="connsiteX22" fmla="*/ 401759 w 1503929"/>
                <a:gd name="connsiteY22" fmla="*/ 2503653 h 2601661"/>
                <a:gd name="connsiteX23" fmla="*/ 401759 w 1503929"/>
                <a:gd name="connsiteY23" fmla="*/ 542915 h 2601661"/>
                <a:gd name="connsiteX24" fmla="*/ 354644 w 1503929"/>
                <a:gd name="connsiteY24" fmla="*/ 495800 h 2601661"/>
                <a:gd name="connsiteX25" fmla="*/ 307529 w 1503929"/>
                <a:gd name="connsiteY25" fmla="*/ 542915 h 2601661"/>
                <a:gd name="connsiteX26" fmla="*/ 307529 w 1503929"/>
                <a:gd name="connsiteY26" fmla="*/ 1021717 h 2601661"/>
                <a:gd name="connsiteX27" fmla="*/ 299315 w 1503929"/>
                <a:gd name="connsiteY27" fmla="*/ 1098640 h 2601661"/>
                <a:gd name="connsiteX28" fmla="*/ 147010 w 1503929"/>
                <a:gd name="connsiteY28" fmla="*/ 1273835 h 2601661"/>
                <a:gd name="connsiteX29" fmla="*/ 10769 w 1503929"/>
                <a:gd name="connsiteY29" fmla="*/ 1098640 h 2601661"/>
                <a:gd name="connsiteX30" fmla="*/ 0 w 1503929"/>
                <a:gd name="connsiteY30" fmla="*/ 970063 h 2601661"/>
                <a:gd name="connsiteX31" fmla="*/ 0 w 1503929"/>
                <a:gd name="connsiteY31" fmla="*/ 250660 h 2601661"/>
                <a:gd name="connsiteX32" fmla="*/ 250660 w 1503929"/>
                <a:gd name="connsiteY32" fmla="*/ 0 h 260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03929" h="2601661">
                  <a:moveTo>
                    <a:pt x="250660" y="0"/>
                  </a:moveTo>
                  <a:lnTo>
                    <a:pt x="1253269" y="0"/>
                  </a:lnTo>
                  <a:cubicBezTo>
                    <a:pt x="1391705" y="0"/>
                    <a:pt x="1503929" y="112224"/>
                    <a:pt x="1503929" y="250660"/>
                  </a:cubicBezTo>
                  <a:lnTo>
                    <a:pt x="1503929" y="969466"/>
                  </a:lnTo>
                  <a:cubicBezTo>
                    <a:pt x="1503929" y="1162927"/>
                    <a:pt x="1424293" y="1273835"/>
                    <a:pt x="1337830" y="1273835"/>
                  </a:cubicBezTo>
                  <a:cubicBezTo>
                    <a:pt x="1272982" y="1273835"/>
                    <a:pt x="1222685" y="1211449"/>
                    <a:pt x="1201589" y="1098640"/>
                  </a:cubicBezTo>
                  <a:lnTo>
                    <a:pt x="1198671" y="1063799"/>
                  </a:lnTo>
                  <a:lnTo>
                    <a:pt x="1198671" y="542915"/>
                  </a:lnTo>
                  <a:cubicBezTo>
                    <a:pt x="1198671" y="516894"/>
                    <a:pt x="1177577" y="495800"/>
                    <a:pt x="1151556" y="495800"/>
                  </a:cubicBezTo>
                  <a:cubicBezTo>
                    <a:pt x="1125535" y="495800"/>
                    <a:pt x="1104441" y="516894"/>
                    <a:pt x="1104441" y="542915"/>
                  </a:cubicBezTo>
                  <a:lnTo>
                    <a:pt x="1104442" y="2503652"/>
                  </a:lnTo>
                  <a:lnTo>
                    <a:pt x="1081278" y="2541055"/>
                  </a:lnTo>
                  <a:cubicBezTo>
                    <a:pt x="1050178" y="2576635"/>
                    <a:pt x="1007216" y="2601660"/>
                    <a:pt x="959769" y="2601660"/>
                  </a:cubicBezTo>
                  <a:cubicBezTo>
                    <a:pt x="888598" y="2601660"/>
                    <a:pt x="827518" y="2545352"/>
                    <a:pt x="801427" y="2481581"/>
                  </a:cubicBezTo>
                  <a:lnTo>
                    <a:pt x="800216" y="2475803"/>
                  </a:lnTo>
                  <a:lnTo>
                    <a:pt x="800216" y="1640961"/>
                  </a:lnTo>
                  <a:cubicBezTo>
                    <a:pt x="800216" y="1614940"/>
                    <a:pt x="779122" y="1593846"/>
                    <a:pt x="753101" y="1593846"/>
                  </a:cubicBezTo>
                  <a:cubicBezTo>
                    <a:pt x="727080" y="1593846"/>
                    <a:pt x="705986" y="1614940"/>
                    <a:pt x="705986" y="1640961"/>
                  </a:cubicBezTo>
                  <a:lnTo>
                    <a:pt x="705987" y="2475796"/>
                  </a:lnTo>
                  <a:lnTo>
                    <a:pt x="704774" y="2481582"/>
                  </a:lnTo>
                  <a:cubicBezTo>
                    <a:pt x="678683" y="2545353"/>
                    <a:pt x="617604" y="2601661"/>
                    <a:pt x="546433" y="2601661"/>
                  </a:cubicBezTo>
                  <a:cubicBezTo>
                    <a:pt x="498985" y="2601661"/>
                    <a:pt x="456023" y="2576636"/>
                    <a:pt x="424923" y="2541056"/>
                  </a:cubicBezTo>
                  <a:lnTo>
                    <a:pt x="401759" y="2503653"/>
                  </a:lnTo>
                  <a:lnTo>
                    <a:pt x="401759" y="542915"/>
                  </a:lnTo>
                  <a:cubicBezTo>
                    <a:pt x="401759" y="516894"/>
                    <a:pt x="380665" y="495800"/>
                    <a:pt x="354644" y="495800"/>
                  </a:cubicBezTo>
                  <a:cubicBezTo>
                    <a:pt x="328623" y="495800"/>
                    <a:pt x="307529" y="516894"/>
                    <a:pt x="307529" y="542915"/>
                  </a:cubicBezTo>
                  <a:lnTo>
                    <a:pt x="307529" y="1021717"/>
                  </a:lnTo>
                  <a:lnTo>
                    <a:pt x="299315" y="1098640"/>
                  </a:lnTo>
                  <a:cubicBezTo>
                    <a:pt x="272864" y="1211449"/>
                    <a:pt x="211857" y="1273835"/>
                    <a:pt x="147010" y="1273835"/>
                  </a:cubicBezTo>
                  <a:cubicBezTo>
                    <a:pt x="82162" y="1273835"/>
                    <a:pt x="31865" y="1211449"/>
                    <a:pt x="10769" y="1098640"/>
                  </a:cubicBezTo>
                  <a:lnTo>
                    <a:pt x="0" y="970063"/>
                  </a:lnTo>
                  <a:lnTo>
                    <a:pt x="0" y="250660"/>
                  </a:lnTo>
                  <a:cubicBezTo>
                    <a:pt x="0" y="112224"/>
                    <a:pt x="112224" y="0"/>
                    <a:pt x="250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grpSp>
      <p:sp>
        <p:nvSpPr>
          <p:cNvPr id="2" name="文本框 1"/>
          <p:cNvSpPr txBox="1"/>
          <p:nvPr/>
        </p:nvSpPr>
        <p:spPr>
          <a:xfrm>
            <a:off x="41411" y="4811618"/>
            <a:ext cx="2317329" cy="369332"/>
          </a:xfrm>
          <a:prstGeom prst="rect">
            <a:avLst/>
          </a:prstGeom>
          <a:noFill/>
        </p:spPr>
        <p:txBody>
          <a:bodyPr wrap="square" rtlCol="0">
            <a:spAutoFit/>
          </a:bodyPr>
          <a:lstStyle/>
          <a:p>
            <a:pPr algn="ctr"/>
            <a:r>
              <a:rPr lang="en-US" altLang="zh-CN" dirty="0" smtClean="0">
                <a:solidFill>
                  <a:schemeClr val="bg1"/>
                </a:solidFill>
                <a:latin typeface="FrutigerNext LT Medium" panose="020B0603040504020204" pitchFamily="34" charset="0"/>
              </a:rPr>
              <a:t>People connection</a:t>
            </a:r>
            <a:endParaRPr lang="zh-CN" altLang="en-US" dirty="0" smtClean="0">
              <a:solidFill>
                <a:schemeClr val="bg1"/>
              </a:solidFill>
              <a:latin typeface="FrutigerNext LT Medium" panose="020B0603040504020204" pitchFamily="34" charset="0"/>
            </a:endParaRPr>
          </a:p>
        </p:txBody>
      </p:sp>
      <p:sp>
        <p:nvSpPr>
          <p:cNvPr id="125" name="下箭头 124"/>
          <p:cNvSpPr/>
          <p:nvPr/>
        </p:nvSpPr>
        <p:spPr bwMode="auto">
          <a:xfrm rot="16200000">
            <a:off x="1443938" y="3423339"/>
            <a:ext cx="857579" cy="324009"/>
          </a:xfrm>
          <a:prstGeom prst="downArrow">
            <a:avLst/>
          </a:pr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16200000" scaled="1"/>
            <a:tileRect/>
          </a:gradFill>
          <a:ln w="12700" cap="flat" cmpd="sng" algn="ctr">
            <a:noFill/>
            <a:prstDash val="solid"/>
            <a:round/>
            <a:headEnd type="none" w="med" len="med"/>
            <a:tailEnd type="none" w="med" len="med"/>
          </a:ln>
          <a:effectLst/>
          <a:scene3d>
            <a:camera prst="orthographicFront"/>
            <a:lightRig rig="flat" dir="t"/>
          </a:scene3d>
          <a:extLst/>
        </p:spPr>
        <p:txBody>
          <a:bodyPr rtlCol="0" anchor="ctr"/>
          <a:lstStyle/>
          <a:p>
            <a:pPr algn="ctr"/>
            <a:endParaRPr lang="zh-CN" altLang="en-US" dirty="0"/>
          </a:p>
        </p:txBody>
      </p:sp>
      <p:grpSp>
        <p:nvGrpSpPr>
          <p:cNvPr id="122" name="组合 121"/>
          <p:cNvGrpSpPr/>
          <p:nvPr/>
        </p:nvGrpSpPr>
        <p:grpSpPr>
          <a:xfrm>
            <a:off x="2196736" y="2378904"/>
            <a:ext cx="3024074" cy="2346921"/>
            <a:chOff x="4297387" y="1806465"/>
            <a:chExt cx="5953146" cy="3129500"/>
          </a:xfrm>
        </p:grpSpPr>
        <p:grpSp>
          <p:nvGrpSpPr>
            <p:cNvPr id="16" name="组合 111"/>
            <p:cNvGrpSpPr/>
            <p:nvPr/>
          </p:nvGrpSpPr>
          <p:grpSpPr>
            <a:xfrm>
              <a:off x="4297387" y="1806465"/>
              <a:ext cx="5953146" cy="3129500"/>
              <a:chOff x="5246323" y="2284476"/>
              <a:chExt cx="5953146" cy="3129500"/>
            </a:xfrm>
          </p:grpSpPr>
          <p:sp>
            <p:nvSpPr>
              <p:cNvPr id="3" name="椭圆 2"/>
              <p:cNvSpPr/>
              <p:nvPr/>
            </p:nvSpPr>
            <p:spPr bwMode="auto">
              <a:xfrm>
                <a:off x="5803392" y="2804160"/>
                <a:ext cx="5048250" cy="2171700"/>
              </a:xfrm>
              <a:prstGeom prst="ellipse">
                <a:avLst/>
              </a:prstGeom>
              <a:noFill/>
              <a:ln w="9525" cap="flat" cmpd="sng" algn="ctr">
                <a:solidFill>
                  <a:schemeClr val="bg1">
                    <a:lumMod val="65000"/>
                  </a:schemeClr>
                </a:solid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endParaRPr lang="zh-CN" altLang="en-US" sz="1350" b="1" kern="0" dirty="0">
                  <a:solidFill>
                    <a:srgbClr val="FFFFFF"/>
                  </a:solidFill>
                  <a:latin typeface="FrutigerNext LT Medium" panose="020B0603040504020204" pitchFamily="34" charset="0"/>
                </a:endParaRPr>
              </a:p>
            </p:txBody>
          </p:sp>
          <p:grpSp>
            <p:nvGrpSpPr>
              <p:cNvPr id="22" name="组合 215"/>
              <p:cNvGrpSpPr/>
              <p:nvPr/>
            </p:nvGrpSpPr>
            <p:grpSpPr>
              <a:xfrm>
                <a:off x="7746048" y="4784598"/>
                <a:ext cx="713090" cy="629378"/>
                <a:chOff x="-1685925" y="691548"/>
                <a:chExt cx="1685925" cy="1585912"/>
              </a:xfrm>
              <a:solidFill>
                <a:srgbClr val="00B0F0"/>
              </a:solidFill>
            </p:grpSpPr>
            <p:sp>
              <p:nvSpPr>
                <p:cNvPr id="35" name="Freeform 11"/>
                <p:cNvSpPr>
                  <a:spLocks/>
                </p:cNvSpPr>
                <p:nvPr/>
              </p:nvSpPr>
              <p:spPr bwMode="auto">
                <a:xfrm>
                  <a:off x="-314325" y="1356709"/>
                  <a:ext cx="144463" cy="192088"/>
                </a:xfrm>
                <a:custGeom>
                  <a:avLst/>
                  <a:gdLst/>
                  <a:ahLst/>
                  <a:cxnLst>
                    <a:cxn ang="0">
                      <a:pos x="793" y="8"/>
                    </a:cxn>
                    <a:cxn ang="0">
                      <a:pos x="831" y="1"/>
                    </a:cxn>
                    <a:cxn ang="0">
                      <a:pos x="869" y="1"/>
                    </a:cxn>
                    <a:cxn ang="0">
                      <a:pos x="907" y="8"/>
                    </a:cxn>
                    <a:cxn ang="0">
                      <a:pos x="942" y="22"/>
                    </a:cxn>
                    <a:cxn ang="0">
                      <a:pos x="973" y="43"/>
                    </a:cxn>
                    <a:cxn ang="0">
                      <a:pos x="1000" y="70"/>
                    </a:cxn>
                    <a:cxn ang="0">
                      <a:pos x="1022" y="102"/>
                    </a:cxn>
                    <a:cxn ang="0">
                      <a:pos x="1037" y="138"/>
                    </a:cxn>
                    <a:cxn ang="0">
                      <a:pos x="1457" y="1499"/>
                    </a:cxn>
                    <a:cxn ang="0">
                      <a:pos x="1461" y="1538"/>
                    </a:cxn>
                    <a:cxn ang="0">
                      <a:pos x="1457" y="1575"/>
                    </a:cxn>
                    <a:cxn ang="0">
                      <a:pos x="1446" y="1612"/>
                    </a:cxn>
                    <a:cxn ang="0">
                      <a:pos x="1428" y="1646"/>
                    </a:cxn>
                    <a:cxn ang="0">
                      <a:pos x="1405" y="1674"/>
                    </a:cxn>
                    <a:cxn ang="0">
                      <a:pos x="1376" y="1700"/>
                    </a:cxn>
                    <a:cxn ang="0">
                      <a:pos x="1341" y="1718"/>
                    </a:cxn>
                    <a:cxn ang="0">
                      <a:pos x="668" y="1927"/>
                    </a:cxn>
                    <a:cxn ang="0">
                      <a:pos x="628" y="1936"/>
                    </a:cxn>
                    <a:cxn ang="0">
                      <a:pos x="590" y="1936"/>
                    </a:cxn>
                    <a:cxn ang="0">
                      <a:pos x="553" y="1928"/>
                    </a:cxn>
                    <a:cxn ang="0">
                      <a:pos x="518" y="1913"/>
                    </a:cxn>
                    <a:cxn ang="0">
                      <a:pos x="487" y="1893"/>
                    </a:cxn>
                    <a:cxn ang="0">
                      <a:pos x="459" y="1866"/>
                    </a:cxn>
                    <a:cxn ang="0">
                      <a:pos x="438" y="1835"/>
                    </a:cxn>
                    <a:cxn ang="0">
                      <a:pos x="422" y="1797"/>
                    </a:cxn>
                    <a:cxn ang="0">
                      <a:pos x="3" y="436"/>
                    </a:cxn>
                    <a:cxn ang="0">
                      <a:pos x="0" y="398"/>
                    </a:cxn>
                    <a:cxn ang="0">
                      <a:pos x="3" y="360"/>
                    </a:cxn>
                    <a:cxn ang="0">
                      <a:pos x="14" y="324"/>
                    </a:cxn>
                    <a:cxn ang="0">
                      <a:pos x="31" y="291"/>
                    </a:cxn>
                    <a:cxn ang="0">
                      <a:pos x="55" y="261"/>
                    </a:cxn>
                    <a:cxn ang="0">
                      <a:pos x="85" y="237"/>
                    </a:cxn>
                    <a:cxn ang="0">
                      <a:pos x="119" y="218"/>
                    </a:cxn>
                  </a:cxnLst>
                  <a:rect l="0" t="0" r="r" b="b"/>
                  <a:pathLst>
                    <a:path w="1461" h="1937">
                      <a:moveTo>
                        <a:pt x="138" y="211"/>
                      </a:moveTo>
                      <a:lnTo>
                        <a:pt x="793" y="8"/>
                      </a:lnTo>
                      <a:lnTo>
                        <a:pt x="812" y="4"/>
                      </a:lnTo>
                      <a:lnTo>
                        <a:pt x="831" y="1"/>
                      </a:lnTo>
                      <a:lnTo>
                        <a:pt x="850" y="0"/>
                      </a:lnTo>
                      <a:lnTo>
                        <a:pt x="869" y="1"/>
                      </a:lnTo>
                      <a:lnTo>
                        <a:pt x="889" y="4"/>
                      </a:lnTo>
                      <a:lnTo>
                        <a:pt x="907" y="8"/>
                      </a:lnTo>
                      <a:lnTo>
                        <a:pt x="925" y="15"/>
                      </a:lnTo>
                      <a:lnTo>
                        <a:pt x="942" y="22"/>
                      </a:lnTo>
                      <a:lnTo>
                        <a:pt x="958" y="32"/>
                      </a:lnTo>
                      <a:lnTo>
                        <a:pt x="973" y="43"/>
                      </a:lnTo>
                      <a:lnTo>
                        <a:pt x="987" y="56"/>
                      </a:lnTo>
                      <a:lnTo>
                        <a:pt x="1000" y="70"/>
                      </a:lnTo>
                      <a:lnTo>
                        <a:pt x="1012" y="85"/>
                      </a:lnTo>
                      <a:lnTo>
                        <a:pt x="1022" y="102"/>
                      </a:lnTo>
                      <a:lnTo>
                        <a:pt x="1031" y="119"/>
                      </a:lnTo>
                      <a:lnTo>
                        <a:pt x="1037" y="138"/>
                      </a:lnTo>
                      <a:lnTo>
                        <a:pt x="1452" y="1480"/>
                      </a:lnTo>
                      <a:lnTo>
                        <a:pt x="1457" y="1499"/>
                      </a:lnTo>
                      <a:lnTo>
                        <a:pt x="1460" y="1519"/>
                      </a:lnTo>
                      <a:lnTo>
                        <a:pt x="1461" y="1538"/>
                      </a:lnTo>
                      <a:lnTo>
                        <a:pt x="1460" y="1557"/>
                      </a:lnTo>
                      <a:lnTo>
                        <a:pt x="1457" y="1575"/>
                      </a:lnTo>
                      <a:lnTo>
                        <a:pt x="1452" y="1595"/>
                      </a:lnTo>
                      <a:lnTo>
                        <a:pt x="1446" y="1612"/>
                      </a:lnTo>
                      <a:lnTo>
                        <a:pt x="1438" y="1629"/>
                      </a:lnTo>
                      <a:lnTo>
                        <a:pt x="1428" y="1646"/>
                      </a:lnTo>
                      <a:lnTo>
                        <a:pt x="1417" y="1660"/>
                      </a:lnTo>
                      <a:lnTo>
                        <a:pt x="1405" y="1674"/>
                      </a:lnTo>
                      <a:lnTo>
                        <a:pt x="1391" y="1688"/>
                      </a:lnTo>
                      <a:lnTo>
                        <a:pt x="1376" y="1700"/>
                      </a:lnTo>
                      <a:lnTo>
                        <a:pt x="1359" y="1709"/>
                      </a:lnTo>
                      <a:lnTo>
                        <a:pt x="1341" y="1718"/>
                      </a:lnTo>
                      <a:lnTo>
                        <a:pt x="1323" y="1725"/>
                      </a:lnTo>
                      <a:lnTo>
                        <a:pt x="668" y="1927"/>
                      </a:lnTo>
                      <a:lnTo>
                        <a:pt x="649" y="1932"/>
                      </a:lnTo>
                      <a:lnTo>
                        <a:pt x="628" y="1936"/>
                      </a:lnTo>
                      <a:lnTo>
                        <a:pt x="609" y="1937"/>
                      </a:lnTo>
                      <a:lnTo>
                        <a:pt x="590" y="1936"/>
                      </a:lnTo>
                      <a:lnTo>
                        <a:pt x="571" y="1932"/>
                      </a:lnTo>
                      <a:lnTo>
                        <a:pt x="553" y="1928"/>
                      </a:lnTo>
                      <a:lnTo>
                        <a:pt x="535" y="1922"/>
                      </a:lnTo>
                      <a:lnTo>
                        <a:pt x="518" y="1913"/>
                      </a:lnTo>
                      <a:lnTo>
                        <a:pt x="502" y="1904"/>
                      </a:lnTo>
                      <a:lnTo>
                        <a:pt x="487" y="1893"/>
                      </a:lnTo>
                      <a:lnTo>
                        <a:pt x="472" y="1880"/>
                      </a:lnTo>
                      <a:lnTo>
                        <a:pt x="459" y="1866"/>
                      </a:lnTo>
                      <a:lnTo>
                        <a:pt x="448" y="1851"/>
                      </a:lnTo>
                      <a:lnTo>
                        <a:pt x="438" y="1835"/>
                      </a:lnTo>
                      <a:lnTo>
                        <a:pt x="430" y="1817"/>
                      </a:lnTo>
                      <a:lnTo>
                        <a:pt x="422" y="1797"/>
                      </a:lnTo>
                      <a:lnTo>
                        <a:pt x="8" y="456"/>
                      </a:lnTo>
                      <a:lnTo>
                        <a:pt x="3" y="436"/>
                      </a:lnTo>
                      <a:lnTo>
                        <a:pt x="1" y="417"/>
                      </a:lnTo>
                      <a:lnTo>
                        <a:pt x="0" y="398"/>
                      </a:lnTo>
                      <a:lnTo>
                        <a:pt x="1" y="379"/>
                      </a:lnTo>
                      <a:lnTo>
                        <a:pt x="3" y="360"/>
                      </a:lnTo>
                      <a:lnTo>
                        <a:pt x="8" y="342"/>
                      </a:lnTo>
                      <a:lnTo>
                        <a:pt x="14" y="324"/>
                      </a:lnTo>
                      <a:lnTo>
                        <a:pt x="22" y="307"/>
                      </a:lnTo>
                      <a:lnTo>
                        <a:pt x="31" y="291"/>
                      </a:lnTo>
                      <a:lnTo>
                        <a:pt x="43" y="275"/>
                      </a:lnTo>
                      <a:lnTo>
                        <a:pt x="55" y="261"/>
                      </a:lnTo>
                      <a:lnTo>
                        <a:pt x="70" y="248"/>
                      </a:lnTo>
                      <a:lnTo>
                        <a:pt x="85" y="237"/>
                      </a:lnTo>
                      <a:lnTo>
                        <a:pt x="102" y="226"/>
                      </a:lnTo>
                      <a:lnTo>
                        <a:pt x="119" y="218"/>
                      </a:lnTo>
                      <a:lnTo>
                        <a:pt x="138" y="211"/>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Arial" pitchFamily="34" charset="0"/>
                    <a:cs typeface="Arial" pitchFamily="34" charset="0"/>
                  </a:endParaRPr>
                </a:p>
              </p:txBody>
            </p:sp>
            <p:sp>
              <p:nvSpPr>
                <p:cNvPr id="36" name="Freeform 12"/>
                <p:cNvSpPr>
                  <a:spLocks/>
                </p:cNvSpPr>
                <p:nvPr/>
              </p:nvSpPr>
              <p:spPr bwMode="auto">
                <a:xfrm>
                  <a:off x="-1624012" y="1356709"/>
                  <a:ext cx="146049" cy="192088"/>
                </a:xfrm>
                <a:custGeom>
                  <a:avLst/>
                  <a:gdLst/>
                  <a:ahLst/>
                  <a:cxnLst>
                    <a:cxn ang="0">
                      <a:pos x="668" y="8"/>
                    </a:cxn>
                    <a:cxn ang="0">
                      <a:pos x="629" y="1"/>
                    </a:cxn>
                    <a:cxn ang="0">
                      <a:pos x="591" y="1"/>
                    </a:cxn>
                    <a:cxn ang="0">
                      <a:pos x="554" y="8"/>
                    </a:cxn>
                    <a:cxn ang="0">
                      <a:pos x="519" y="22"/>
                    </a:cxn>
                    <a:cxn ang="0">
                      <a:pos x="487" y="43"/>
                    </a:cxn>
                    <a:cxn ang="0">
                      <a:pos x="461" y="70"/>
                    </a:cxn>
                    <a:cxn ang="0">
                      <a:pos x="438" y="102"/>
                    </a:cxn>
                    <a:cxn ang="0">
                      <a:pos x="423" y="138"/>
                    </a:cxn>
                    <a:cxn ang="0">
                      <a:pos x="4" y="1499"/>
                    </a:cxn>
                    <a:cxn ang="0">
                      <a:pos x="0" y="1538"/>
                    </a:cxn>
                    <a:cxn ang="0">
                      <a:pos x="4" y="1575"/>
                    </a:cxn>
                    <a:cxn ang="0">
                      <a:pos x="15" y="1612"/>
                    </a:cxn>
                    <a:cxn ang="0">
                      <a:pos x="33" y="1646"/>
                    </a:cxn>
                    <a:cxn ang="0">
                      <a:pos x="56" y="1674"/>
                    </a:cxn>
                    <a:cxn ang="0">
                      <a:pos x="85" y="1700"/>
                    </a:cxn>
                    <a:cxn ang="0">
                      <a:pos x="120" y="1718"/>
                    </a:cxn>
                    <a:cxn ang="0">
                      <a:pos x="793" y="1927"/>
                    </a:cxn>
                    <a:cxn ang="0">
                      <a:pos x="832" y="1936"/>
                    </a:cxn>
                    <a:cxn ang="0">
                      <a:pos x="870" y="1936"/>
                    </a:cxn>
                    <a:cxn ang="0">
                      <a:pos x="908" y="1928"/>
                    </a:cxn>
                    <a:cxn ang="0">
                      <a:pos x="943" y="1913"/>
                    </a:cxn>
                    <a:cxn ang="0">
                      <a:pos x="973" y="1893"/>
                    </a:cxn>
                    <a:cxn ang="0">
                      <a:pos x="1001" y="1866"/>
                    </a:cxn>
                    <a:cxn ang="0">
                      <a:pos x="1022" y="1835"/>
                    </a:cxn>
                    <a:cxn ang="0">
                      <a:pos x="1038" y="1797"/>
                    </a:cxn>
                    <a:cxn ang="0">
                      <a:pos x="1458" y="436"/>
                    </a:cxn>
                    <a:cxn ang="0">
                      <a:pos x="1461" y="398"/>
                    </a:cxn>
                    <a:cxn ang="0">
                      <a:pos x="1458" y="360"/>
                    </a:cxn>
                    <a:cxn ang="0">
                      <a:pos x="1446" y="324"/>
                    </a:cxn>
                    <a:cxn ang="0">
                      <a:pos x="1429" y="291"/>
                    </a:cxn>
                    <a:cxn ang="0">
                      <a:pos x="1405" y="261"/>
                    </a:cxn>
                    <a:cxn ang="0">
                      <a:pos x="1376" y="237"/>
                    </a:cxn>
                    <a:cxn ang="0">
                      <a:pos x="1342" y="218"/>
                    </a:cxn>
                  </a:cxnLst>
                  <a:rect l="0" t="0" r="r" b="b"/>
                  <a:pathLst>
                    <a:path w="1461" h="1937">
                      <a:moveTo>
                        <a:pt x="1323" y="211"/>
                      </a:moveTo>
                      <a:lnTo>
                        <a:pt x="668" y="8"/>
                      </a:lnTo>
                      <a:lnTo>
                        <a:pt x="649" y="4"/>
                      </a:lnTo>
                      <a:lnTo>
                        <a:pt x="629" y="1"/>
                      </a:lnTo>
                      <a:lnTo>
                        <a:pt x="610" y="0"/>
                      </a:lnTo>
                      <a:lnTo>
                        <a:pt x="591" y="1"/>
                      </a:lnTo>
                      <a:lnTo>
                        <a:pt x="572" y="4"/>
                      </a:lnTo>
                      <a:lnTo>
                        <a:pt x="554" y="8"/>
                      </a:lnTo>
                      <a:lnTo>
                        <a:pt x="536" y="15"/>
                      </a:lnTo>
                      <a:lnTo>
                        <a:pt x="519" y="22"/>
                      </a:lnTo>
                      <a:lnTo>
                        <a:pt x="503" y="32"/>
                      </a:lnTo>
                      <a:lnTo>
                        <a:pt x="487" y="43"/>
                      </a:lnTo>
                      <a:lnTo>
                        <a:pt x="473" y="56"/>
                      </a:lnTo>
                      <a:lnTo>
                        <a:pt x="461" y="70"/>
                      </a:lnTo>
                      <a:lnTo>
                        <a:pt x="449" y="85"/>
                      </a:lnTo>
                      <a:lnTo>
                        <a:pt x="438" y="102"/>
                      </a:lnTo>
                      <a:lnTo>
                        <a:pt x="430" y="119"/>
                      </a:lnTo>
                      <a:lnTo>
                        <a:pt x="423" y="138"/>
                      </a:lnTo>
                      <a:lnTo>
                        <a:pt x="8" y="1480"/>
                      </a:lnTo>
                      <a:lnTo>
                        <a:pt x="4" y="1499"/>
                      </a:lnTo>
                      <a:lnTo>
                        <a:pt x="1" y="1519"/>
                      </a:lnTo>
                      <a:lnTo>
                        <a:pt x="0" y="1538"/>
                      </a:lnTo>
                      <a:lnTo>
                        <a:pt x="1" y="1557"/>
                      </a:lnTo>
                      <a:lnTo>
                        <a:pt x="4" y="1575"/>
                      </a:lnTo>
                      <a:lnTo>
                        <a:pt x="8" y="1595"/>
                      </a:lnTo>
                      <a:lnTo>
                        <a:pt x="15" y="1612"/>
                      </a:lnTo>
                      <a:lnTo>
                        <a:pt x="23" y="1629"/>
                      </a:lnTo>
                      <a:lnTo>
                        <a:pt x="33" y="1646"/>
                      </a:lnTo>
                      <a:lnTo>
                        <a:pt x="43" y="1660"/>
                      </a:lnTo>
                      <a:lnTo>
                        <a:pt x="56" y="1674"/>
                      </a:lnTo>
                      <a:lnTo>
                        <a:pt x="70" y="1688"/>
                      </a:lnTo>
                      <a:lnTo>
                        <a:pt x="85" y="1700"/>
                      </a:lnTo>
                      <a:lnTo>
                        <a:pt x="102" y="1709"/>
                      </a:lnTo>
                      <a:lnTo>
                        <a:pt x="120" y="1718"/>
                      </a:lnTo>
                      <a:lnTo>
                        <a:pt x="138" y="1725"/>
                      </a:lnTo>
                      <a:lnTo>
                        <a:pt x="793" y="1927"/>
                      </a:lnTo>
                      <a:lnTo>
                        <a:pt x="812" y="1932"/>
                      </a:lnTo>
                      <a:lnTo>
                        <a:pt x="832" y="1936"/>
                      </a:lnTo>
                      <a:lnTo>
                        <a:pt x="851" y="1937"/>
                      </a:lnTo>
                      <a:lnTo>
                        <a:pt x="870" y="1936"/>
                      </a:lnTo>
                      <a:lnTo>
                        <a:pt x="890" y="1932"/>
                      </a:lnTo>
                      <a:lnTo>
                        <a:pt x="908" y="1928"/>
                      </a:lnTo>
                      <a:lnTo>
                        <a:pt x="926" y="1922"/>
                      </a:lnTo>
                      <a:lnTo>
                        <a:pt x="943" y="1913"/>
                      </a:lnTo>
                      <a:lnTo>
                        <a:pt x="959" y="1904"/>
                      </a:lnTo>
                      <a:lnTo>
                        <a:pt x="973" y="1893"/>
                      </a:lnTo>
                      <a:lnTo>
                        <a:pt x="987" y="1880"/>
                      </a:lnTo>
                      <a:lnTo>
                        <a:pt x="1001" y="1866"/>
                      </a:lnTo>
                      <a:lnTo>
                        <a:pt x="1013" y="1851"/>
                      </a:lnTo>
                      <a:lnTo>
                        <a:pt x="1022" y="1835"/>
                      </a:lnTo>
                      <a:lnTo>
                        <a:pt x="1031" y="1817"/>
                      </a:lnTo>
                      <a:lnTo>
                        <a:pt x="1038" y="1797"/>
                      </a:lnTo>
                      <a:lnTo>
                        <a:pt x="1452" y="456"/>
                      </a:lnTo>
                      <a:lnTo>
                        <a:pt x="1458" y="436"/>
                      </a:lnTo>
                      <a:lnTo>
                        <a:pt x="1460" y="417"/>
                      </a:lnTo>
                      <a:lnTo>
                        <a:pt x="1461" y="398"/>
                      </a:lnTo>
                      <a:lnTo>
                        <a:pt x="1460" y="379"/>
                      </a:lnTo>
                      <a:lnTo>
                        <a:pt x="1458" y="360"/>
                      </a:lnTo>
                      <a:lnTo>
                        <a:pt x="1452" y="342"/>
                      </a:lnTo>
                      <a:lnTo>
                        <a:pt x="1446" y="324"/>
                      </a:lnTo>
                      <a:lnTo>
                        <a:pt x="1439" y="307"/>
                      </a:lnTo>
                      <a:lnTo>
                        <a:pt x="1429" y="291"/>
                      </a:lnTo>
                      <a:lnTo>
                        <a:pt x="1417" y="275"/>
                      </a:lnTo>
                      <a:lnTo>
                        <a:pt x="1405" y="261"/>
                      </a:lnTo>
                      <a:lnTo>
                        <a:pt x="1391" y="248"/>
                      </a:lnTo>
                      <a:lnTo>
                        <a:pt x="1376" y="237"/>
                      </a:lnTo>
                      <a:lnTo>
                        <a:pt x="1360" y="226"/>
                      </a:lnTo>
                      <a:lnTo>
                        <a:pt x="1342" y="218"/>
                      </a:lnTo>
                      <a:lnTo>
                        <a:pt x="1323" y="211"/>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Arial" pitchFamily="34" charset="0"/>
                    <a:cs typeface="Arial" pitchFamily="34" charset="0"/>
                  </a:endParaRPr>
                </a:p>
              </p:txBody>
            </p:sp>
            <p:grpSp>
              <p:nvGrpSpPr>
                <p:cNvPr id="25" name="组合 120"/>
                <p:cNvGrpSpPr/>
                <p:nvPr/>
              </p:nvGrpSpPr>
              <p:grpSpPr>
                <a:xfrm>
                  <a:off x="-1685925" y="691548"/>
                  <a:ext cx="1685925" cy="1585912"/>
                  <a:chOff x="-1685925" y="691548"/>
                  <a:chExt cx="1685925" cy="1585912"/>
                </a:xfrm>
                <a:grpFill/>
              </p:grpSpPr>
              <p:sp>
                <p:nvSpPr>
                  <p:cNvPr id="38" name="Freeform 13"/>
                  <p:cNvSpPr>
                    <a:spLocks noEditPoints="1"/>
                  </p:cNvSpPr>
                  <p:nvPr/>
                </p:nvSpPr>
                <p:spPr bwMode="auto">
                  <a:xfrm>
                    <a:off x="-1685925" y="1102710"/>
                    <a:ext cx="1577975" cy="1001712"/>
                  </a:xfrm>
                  <a:custGeom>
                    <a:avLst/>
                    <a:gdLst/>
                    <a:ahLst/>
                    <a:cxnLst>
                      <a:cxn ang="0">
                        <a:pos x="2975" y="306"/>
                      </a:cxn>
                      <a:cxn ang="0">
                        <a:pos x="3001" y="224"/>
                      </a:cxn>
                      <a:cxn ang="0">
                        <a:pos x="3041" y="151"/>
                      </a:cxn>
                      <a:cxn ang="0">
                        <a:pos x="3090" y="90"/>
                      </a:cxn>
                      <a:cxn ang="0">
                        <a:pos x="3152" y="42"/>
                      </a:cxn>
                      <a:cxn ang="0">
                        <a:pos x="3224" y="11"/>
                      </a:cxn>
                      <a:cxn ang="0">
                        <a:pos x="3306" y="0"/>
                      </a:cxn>
                      <a:cxn ang="0">
                        <a:pos x="12152" y="7"/>
                      </a:cxn>
                      <a:cxn ang="0">
                        <a:pos x="12224" y="35"/>
                      </a:cxn>
                      <a:cxn ang="0">
                        <a:pos x="12285" y="80"/>
                      </a:cxn>
                      <a:cxn ang="0">
                        <a:pos x="12335" y="140"/>
                      </a:cxn>
                      <a:cxn ang="0">
                        <a:pos x="12403" y="274"/>
                      </a:cxn>
                      <a:cxn ang="0">
                        <a:pos x="15584" y="5262"/>
                      </a:cxn>
                      <a:cxn ang="0">
                        <a:pos x="15667" y="5277"/>
                      </a:cxn>
                      <a:cxn ang="0">
                        <a:pos x="15742" y="5311"/>
                      </a:cxn>
                      <a:cxn ang="0">
                        <a:pos x="15806" y="5360"/>
                      </a:cxn>
                      <a:cxn ang="0">
                        <a:pos x="15856" y="5425"/>
                      </a:cxn>
                      <a:cxn ang="0">
                        <a:pos x="15890" y="5500"/>
                      </a:cxn>
                      <a:cxn ang="0">
                        <a:pos x="15905" y="5584"/>
                      </a:cxn>
                      <a:cxn ang="0">
                        <a:pos x="15901" y="8622"/>
                      </a:cxn>
                      <a:cxn ang="0">
                        <a:pos x="15879" y="8703"/>
                      </a:cxn>
                      <a:cxn ang="0">
                        <a:pos x="15838" y="8774"/>
                      </a:cxn>
                      <a:cxn ang="0">
                        <a:pos x="15781" y="8832"/>
                      </a:cxn>
                      <a:cxn ang="0">
                        <a:pos x="15713" y="8877"/>
                      </a:cxn>
                      <a:cxn ang="0">
                        <a:pos x="15635" y="8904"/>
                      </a:cxn>
                      <a:cxn ang="0">
                        <a:pos x="10285" y="8910"/>
                      </a:cxn>
                      <a:cxn ang="0">
                        <a:pos x="322" y="8910"/>
                      </a:cxn>
                      <a:cxn ang="0">
                        <a:pos x="239" y="8895"/>
                      </a:cxn>
                      <a:cxn ang="0">
                        <a:pos x="164" y="8861"/>
                      </a:cxn>
                      <a:cxn ang="0">
                        <a:pos x="100" y="8810"/>
                      </a:cxn>
                      <a:cxn ang="0">
                        <a:pos x="49" y="8746"/>
                      </a:cxn>
                      <a:cxn ang="0">
                        <a:pos x="15" y="8672"/>
                      </a:cxn>
                      <a:cxn ang="0">
                        <a:pos x="0" y="8588"/>
                      </a:cxn>
                      <a:cxn ang="0">
                        <a:pos x="4" y="5550"/>
                      </a:cxn>
                      <a:cxn ang="0">
                        <a:pos x="27" y="5469"/>
                      </a:cxn>
                      <a:cxn ang="0">
                        <a:pos x="68" y="5398"/>
                      </a:cxn>
                      <a:cxn ang="0">
                        <a:pos x="124" y="5339"/>
                      </a:cxn>
                      <a:cxn ang="0">
                        <a:pos x="192" y="5295"/>
                      </a:cxn>
                      <a:cxn ang="0">
                        <a:pos x="271" y="5268"/>
                      </a:cxn>
                      <a:cxn ang="0">
                        <a:pos x="4317" y="1018"/>
                      </a:cxn>
                      <a:cxn ang="0">
                        <a:pos x="11304" y="1023"/>
                      </a:cxn>
                      <a:cxn ang="0">
                        <a:pos x="11358" y="1045"/>
                      </a:cxn>
                      <a:cxn ang="0">
                        <a:pos x="11426" y="1116"/>
                      </a:cxn>
                      <a:cxn ang="0">
                        <a:pos x="11471" y="1213"/>
                      </a:cxn>
                      <a:cxn ang="0">
                        <a:pos x="12401" y="4398"/>
                      </a:cxn>
                      <a:cxn ang="0">
                        <a:pos x="12392" y="4448"/>
                      </a:cxn>
                      <a:cxn ang="0">
                        <a:pos x="12366" y="4494"/>
                      </a:cxn>
                      <a:cxn ang="0">
                        <a:pos x="12309" y="4543"/>
                      </a:cxn>
                      <a:cxn ang="0">
                        <a:pos x="12213" y="4580"/>
                      </a:cxn>
                      <a:cxn ang="0">
                        <a:pos x="3713" y="4582"/>
                      </a:cxn>
                      <a:cxn ang="0">
                        <a:pos x="3658" y="4572"/>
                      </a:cxn>
                      <a:cxn ang="0">
                        <a:pos x="3588" y="4539"/>
                      </a:cxn>
                      <a:cxn ang="0">
                        <a:pos x="3548" y="4503"/>
                      </a:cxn>
                      <a:cxn ang="0">
                        <a:pos x="3519" y="4458"/>
                      </a:cxn>
                      <a:cxn ang="0">
                        <a:pos x="3506" y="4410"/>
                      </a:cxn>
                      <a:cxn ang="0">
                        <a:pos x="4101" y="1234"/>
                      </a:cxn>
                      <a:cxn ang="0">
                        <a:pos x="4138" y="1132"/>
                      </a:cxn>
                      <a:cxn ang="0">
                        <a:pos x="4202" y="1056"/>
                      </a:cxn>
                      <a:cxn ang="0">
                        <a:pos x="4265" y="1025"/>
                      </a:cxn>
                      <a:cxn ang="0">
                        <a:pos x="4317" y="1018"/>
                      </a:cxn>
                      <a:cxn ang="0">
                        <a:pos x="1336" y="7722"/>
                      </a:cxn>
                      <a:cxn ang="0">
                        <a:pos x="11346" y="7722"/>
                      </a:cxn>
                    </a:cxnLst>
                    <a:rect l="0" t="0" r="r" b="b"/>
                    <a:pathLst>
                      <a:path w="15906" h="10098">
                        <a:moveTo>
                          <a:pt x="339" y="5262"/>
                        </a:moveTo>
                        <a:lnTo>
                          <a:pt x="2034" y="5262"/>
                        </a:lnTo>
                        <a:lnTo>
                          <a:pt x="2967" y="340"/>
                        </a:lnTo>
                        <a:lnTo>
                          <a:pt x="2970" y="323"/>
                        </a:lnTo>
                        <a:lnTo>
                          <a:pt x="2975" y="306"/>
                        </a:lnTo>
                        <a:lnTo>
                          <a:pt x="2979" y="289"/>
                        </a:lnTo>
                        <a:lnTo>
                          <a:pt x="2984" y="272"/>
                        </a:lnTo>
                        <a:lnTo>
                          <a:pt x="2990" y="256"/>
                        </a:lnTo>
                        <a:lnTo>
                          <a:pt x="2995" y="240"/>
                        </a:lnTo>
                        <a:lnTo>
                          <a:pt x="3001" y="224"/>
                        </a:lnTo>
                        <a:lnTo>
                          <a:pt x="3009" y="209"/>
                        </a:lnTo>
                        <a:lnTo>
                          <a:pt x="3016" y="194"/>
                        </a:lnTo>
                        <a:lnTo>
                          <a:pt x="3024" y="179"/>
                        </a:lnTo>
                        <a:lnTo>
                          <a:pt x="3032" y="165"/>
                        </a:lnTo>
                        <a:lnTo>
                          <a:pt x="3041" y="151"/>
                        </a:lnTo>
                        <a:lnTo>
                          <a:pt x="3050" y="138"/>
                        </a:lnTo>
                        <a:lnTo>
                          <a:pt x="3060" y="125"/>
                        </a:lnTo>
                        <a:lnTo>
                          <a:pt x="3069" y="112"/>
                        </a:lnTo>
                        <a:lnTo>
                          <a:pt x="3080" y="100"/>
                        </a:lnTo>
                        <a:lnTo>
                          <a:pt x="3090" y="90"/>
                        </a:lnTo>
                        <a:lnTo>
                          <a:pt x="3102" y="78"/>
                        </a:lnTo>
                        <a:lnTo>
                          <a:pt x="3114" y="69"/>
                        </a:lnTo>
                        <a:lnTo>
                          <a:pt x="3127" y="59"/>
                        </a:lnTo>
                        <a:lnTo>
                          <a:pt x="3138" y="49"/>
                        </a:lnTo>
                        <a:lnTo>
                          <a:pt x="3152" y="42"/>
                        </a:lnTo>
                        <a:lnTo>
                          <a:pt x="3166" y="34"/>
                        </a:lnTo>
                        <a:lnTo>
                          <a:pt x="3180" y="27"/>
                        </a:lnTo>
                        <a:lnTo>
                          <a:pt x="3193" y="21"/>
                        </a:lnTo>
                        <a:lnTo>
                          <a:pt x="3208" y="15"/>
                        </a:lnTo>
                        <a:lnTo>
                          <a:pt x="3224" y="11"/>
                        </a:lnTo>
                        <a:lnTo>
                          <a:pt x="3239" y="7"/>
                        </a:lnTo>
                        <a:lnTo>
                          <a:pt x="3256" y="4"/>
                        </a:lnTo>
                        <a:lnTo>
                          <a:pt x="3272" y="2"/>
                        </a:lnTo>
                        <a:lnTo>
                          <a:pt x="3289" y="1"/>
                        </a:lnTo>
                        <a:lnTo>
                          <a:pt x="3306" y="0"/>
                        </a:lnTo>
                        <a:lnTo>
                          <a:pt x="12087" y="0"/>
                        </a:lnTo>
                        <a:lnTo>
                          <a:pt x="12104" y="1"/>
                        </a:lnTo>
                        <a:lnTo>
                          <a:pt x="12121" y="2"/>
                        </a:lnTo>
                        <a:lnTo>
                          <a:pt x="12137" y="4"/>
                        </a:lnTo>
                        <a:lnTo>
                          <a:pt x="12152" y="7"/>
                        </a:lnTo>
                        <a:lnTo>
                          <a:pt x="12167" y="11"/>
                        </a:lnTo>
                        <a:lnTo>
                          <a:pt x="12182" y="15"/>
                        </a:lnTo>
                        <a:lnTo>
                          <a:pt x="12197" y="22"/>
                        </a:lnTo>
                        <a:lnTo>
                          <a:pt x="12211" y="28"/>
                        </a:lnTo>
                        <a:lnTo>
                          <a:pt x="12224" y="35"/>
                        </a:lnTo>
                        <a:lnTo>
                          <a:pt x="12237" y="43"/>
                        </a:lnTo>
                        <a:lnTo>
                          <a:pt x="12249" y="52"/>
                        </a:lnTo>
                        <a:lnTo>
                          <a:pt x="12262" y="60"/>
                        </a:lnTo>
                        <a:lnTo>
                          <a:pt x="12274" y="70"/>
                        </a:lnTo>
                        <a:lnTo>
                          <a:pt x="12285" y="80"/>
                        </a:lnTo>
                        <a:lnTo>
                          <a:pt x="12296" y="91"/>
                        </a:lnTo>
                        <a:lnTo>
                          <a:pt x="12306" y="103"/>
                        </a:lnTo>
                        <a:lnTo>
                          <a:pt x="12316" y="114"/>
                        </a:lnTo>
                        <a:lnTo>
                          <a:pt x="12326" y="127"/>
                        </a:lnTo>
                        <a:lnTo>
                          <a:pt x="12335" y="140"/>
                        </a:lnTo>
                        <a:lnTo>
                          <a:pt x="12345" y="154"/>
                        </a:lnTo>
                        <a:lnTo>
                          <a:pt x="12362" y="181"/>
                        </a:lnTo>
                        <a:lnTo>
                          <a:pt x="12377" y="211"/>
                        </a:lnTo>
                        <a:lnTo>
                          <a:pt x="12390" y="242"/>
                        </a:lnTo>
                        <a:lnTo>
                          <a:pt x="12403" y="274"/>
                        </a:lnTo>
                        <a:lnTo>
                          <a:pt x="12415" y="306"/>
                        </a:lnTo>
                        <a:lnTo>
                          <a:pt x="12425" y="340"/>
                        </a:lnTo>
                        <a:lnTo>
                          <a:pt x="13868" y="5262"/>
                        </a:lnTo>
                        <a:lnTo>
                          <a:pt x="15566" y="5262"/>
                        </a:lnTo>
                        <a:lnTo>
                          <a:pt x="15584" y="5262"/>
                        </a:lnTo>
                        <a:lnTo>
                          <a:pt x="15601" y="5263"/>
                        </a:lnTo>
                        <a:lnTo>
                          <a:pt x="15618" y="5265"/>
                        </a:lnTo>
                        <a:lnTo>
                          <a:pt x="15635" y="5268"/>
                        </a:lnTo>
                        <a:lnTo>
                          <a:pt x="15651" y="5272"/>
                        </a:lnTo>
                        <a:lnTo>
                          <a:pt x="15667" y="5277"/>
                        </a:lnTo>
                        <a:lnTo>
                          <a:pt x="15683" y="5282"/>
                        </a:lnTo>
                        <a:lnTo>
                          <a:pt x="15697" y="5288"/>
                        </a:lnTo>
                        <a:lnTo>
                          <a:pt x="15713" y="5295"/>
                        </a:lnTo>
                        <a:lnTo>
                          <a:pt x="15727" y="5302"/>
                        </a:lnTo>
                        <a:lnTo>
                          <a:pt x="15742" y="5311"/>
                        </a:lnTo>
                        <a:lnTo>
                          <a:pt x="15756" y="5319"/>
                        </a:lnTo>
                        <a:lnTo>
                          <a:pt x="15769" y="5329"/>
                        </a:lnTo>
                        <a:lnTo>
                          <a:pt x="15781" y="5339"/>
                        </a:lnTo>
                        <a:lnTo>
                          <a:pt x="15794" y="5350"/>
                        </a:lnTo>
                        <a:lnTo>
                          <a:pt x="15806" y="5360"/>
                        </a:lnTo>
                        <a:lnTo>
                          <a:pt x="15817" y="5373"/>
                        </a:lnTo>
                        <a:lnTo>
                          <a:pt x="15828" y="5385"/>
                        </a:lnTo>
                        <a:lnTo>
                          <a:pt x="15838" y="5398"/>
                        </a:lnTo>
                        <a:lnTo>
                          <a:pt x="15847" y="5411"/>
                        </a:lnTo>
                        <a:lnTo>
                          <a:pt x="15856" y="5425"/>
                        </a:lnTo>
                        <a:lnTo>
                          <a:pt x="15864" y="5439"/>
                        </a:lnTo>
                        <a:lnTo>
                          <a:pt x="15872" y="5454"/>
                        </a:lnTo>
                        <a:lnTo>
                          <a:pt x="15879" y="5469"/>
                        </a:lnTo>
                        <a:lnTo>
                          <a:pt x="15884" y="5485"/>
                        </a:lnTo>
                        <a:lnTo>
                          <a:pt x="15890" y="5500"/>
                        </a:lnTo>
                        <a:lnTo>
                          <a:pt x="15895" y="5517"/>
                        </a:lnTo>
                        <a:lnTo>
                          <a:pt x="15898" y="5533"/>
                        </a:lnTo>
                        <a:lnTo>
                          <a:pt x="15901" y="5550"/>
                        </a:lnTo>
                        <a:lnTo>
                          <a:pt x="15903" y="5567"/>
                        </a:lnTo>
                        <a:lnTo>
                          <a:pt x="15905" y="5584"/>
                        </a:lnTo>
                        <a:lnTo>
                          <a:pt x="15906" y="5601"/>
                        </a:lnTo>
                        <a:lnTo>
                          <a:pt x="15906" y="8571"/>
                        </a:lnTo>
                        <a:lnTo>
                          <a:pt x="15905" y="8588"/>
                        </a:lnTo>
                        <a:lnTo>
                          <a:pt x="15903" y="8605"/>
                        </a:lnTo>
                        <a:lnTo>
                          <a:pt x="15901" y="8622"/>
                        </a:lnTo>
                        <a:lnTo>
                          <a:pt x="15898" y="8639"/>
                        </a:lnTo>
                        <a:lnTo>
                          <a:pt x="15895" y="8655"/>
                        </a:lnTo>
                        <a:lnTo>
                          <a:pt x="15890" y="8672"/>
                        </a:lnTo>
                        <a:lnTo>
                          <a:pt x="15884" y="8687"/>
                        </a:lnTo>
                        <a:lnTo>
                          <a:pt x="15879" y="8703"/>
                        </a:lnTo>
                        <a:lnTo>
                          <a:pt x="15872" y="8718"/>
                        </a:lnTo>
                        <a:lnTo>
                          <a:pt x="15864" y="8733"/>
                        </a:lnTo>
                        <a:lnTo>
                          <a:pt x="15856" y="8746"/>
                        </a:lnTo>
                        <a:lnTo>
                          <a:pt x="15847" y="8760"/>
                        </a:lnTo>
                        <a:lnTo>
                          <a:pt x="15838" y="8774"/>
                        </a:lnTo>
                        <a:lnTo>
                          <a:pt x="15828" y="8787"/>
                        </a:lnTo>
                        <a:lnTo>
                          <a:pt x="15817" y="8798"/>
                        </a:lnTo>
                        <a:lnTo>
                          <a:pt x="15806" y="8810"/>
                        </a:lnTo>
                        <a:lnTo>
                          <a:pt x="15794" y="8822"/>
                        </a:lnTo>
                        <a:lnTo>
                          <a:pt x="15781" y="8832"/>
                        </a:lnTo>
                        <a:lnTo>
                          <a:pt x="15769" y="8843"/>
                        </a:lnTo>
                        <a:lnTo>
                          <a:pt x="15756" y="8853"/>
                        </a:lnTo>
                        <a:lnTo>
                          <a:pt x="15742" y="8861"/>
                        </a:lnTo>
                        <a:lnTo>
                          <a:pt x="15727" y="8870"/>
                        </a:lnTo>
                        <a:lnTo>
                          <a:pt x="15713" y="8877"/>
                        </a:lnTo>
                        <a:lnTo>
                          <a:pt x="15697" y="8883"/>
                        </a:lnTo>
                        <a:lnTo>
                          <a:pt x="15683" y="8890"/>
                        </a:lnTo>
                        <a:lnTo>
                          <a:pt x="15667" y="8895"/>
                        </a:lnTo>
                        <a:lnTo>
                          <a:pt x="15651" y="8899"/>
                        </a:lnTo>
                        <a:lnTo>
                          <a:pt x="15635" y="8904"/>
                        </a:lnTo>
                        <a:lnTo>
                          <a:pt x="15618" y="8907"/>
                        </a:lnTo>
                        <a:lnTo>
                          <a:pt x="15601" y="8909"/>
                        </a:lnTo>
                        <a:lnTo>
                          <a:pt x="15584" y="8910"/>
                        </a:lnTo>
                        <a:lnTo>
                          <a:pt x="15566" y="8910"/>
                        </a:lnTo>
                        <a:lnTo>
                          <a:pt x="10285" y="8910"/>
                        </a:lnTo>
                        <a:lnTo>
                          <a:pt x="10285" y="10098"/>
                        </a:lnTo>
                        <a:lnTo>
                          <a:pt x="5620" y="10098"/>
                        </a:lnTo>
                        <a:lnTo>
                          <a:pt x="5620" y="8910"/>
                        </a:lnTo>
                        <a:lnTo>
                          <a:pt x="339" y="8910"/>
                        </a:lnTo>
                        <a:lnTo>
                          <a:pt x="322" y="8910"/>
                        </a:lnTo>
                        <a:lnTo>
                          <a:pt x="305" y="8909"/>
                        </a:lnTo>
                        <a:lnTo>
                          <a:pt x="288" y="8907"/>
                        </a:lnTo>
                        <a:lnTo>
                          <a:pt x="271" y="8904"/>
                        </a:lnTo>
                        <a:lnTo>
                          <a:pt x="255" y="8899"/>
                        </a:lnTo>
                        <a:lnTo>
                          <a:pt x="239" y="8895"/>
                        </a:lnTo>
                        <a:lnTo>
                          <a:pt x="223" y="8890"/>
                        </a:lnTo>
                        <a:lnTo>
                          <a:pt x="207" y="8883"/>
                        </a:lnTo>
                        <a:lnTo>
                          <a:pt x="192" y="8877"/>
                        </a:lnTo>
                        <a:lnTo>
                          <a:pt x="177" y="8870"/>
                        </a:lnTo>
                        <a:lnTo>
                          <a:pt x="164" y="8861"/>
                        </a:lnTo>
                        <a:lnTo>
                          <a:pt x="150" y="8853"/>
                        </a:lnTo>
                        <a:lnTo>
                          <a:pt x="137" y="8843"/>
                        </a:lnTo>
                        <a:lnTo>
                          <a:pt x="124" y="8832"/>
                        </a:lnTo>
                        <a:lnTo>
                          <a:pt x="112" y="8822"/>
                        </a:lnTo>
                        <a:lnTo>
                          <a:pt x="100" y="8810"/>
                        </a:lnTo>
                        <a:lnTo>
                          <a:pt x="88" y="8798"/>
                        </a:lnTo>
                        <a:lnTo>
                          <a:pt x="78" y="8787"/>
                        </a:lnTo>
                        <a:lnTo>
                          <a:pt x="68" y="8774"/>
                        </a:lnTo>
                        <a:lnTo>
                          <a:pt x="58" y="8760"/>
                        </a:lnTo>
                        <a:lnTo>
                          <a:pt x="49" y="8746"/>
                        </a:lnTo>
                        <a:lnTo>
                          <a:pt x="41" y="8733"/>
                        </a:lnTo>
                        <a:lnTo>
                          <a:pt x="34" y="8718"/>
                        </a:lnTo>
                        <a:lnTo>
                          <a:pt x="27" y="8703"/>
                        </a:lnTo>
                        <a:lnTo>
                          <a:pt x="20" y="8687"/>
                        </a:lnTo>
                        <a:lnTo>
                          <a:pt x="15" y="8672"/>
                        </a:lnTo>
                        <a:lnTo>
                          <a:pt x="11" y="8655"/>
                        </a:lnTo>
                        <a:lnTo>
                          <a:pt x="6" y="8639"/>
                        </a:lnTo>
                        <a:lnTo>
                          <a:pt x="4" y="8622"/>
                        </a:lnTo>
                        <a:lnTo>
                          <a:pt x="2" y="8605"/>
                        </a:lnTo>
                        <a:lnTo>
                          <a:pt x="0" y="8588"/>
                        </a:lnTo>
                        <a:lnTo>
                          <a:pt x="0" y="8571"/>
                        </a:lnTo>
                        <a:lnTo>
                          <a:pt x="0" y="5601"/>
                        </a:lnTo>
                        <a:lnTo>
                          <a:pt x="0" y="5584"/>
                        </a:lnTo>
                        <a:lnTo>
                          <a:pt x="2" y="5567"/>
                        </a:lnTo>
                        <a:lnTo>
                          <a:pt x="4" y="5550"/>
                        </a:lnTo>
                        <a:lnTo>
                          <a:pt x="6" y="5533"/>
                        </a:lnTo>
                        <a:lnTo>
                          <a:pt x="11" y="5517"/>
                        </a:lnTo>
                        <a:lnTo>
                          <a:pt x="15" y="5500"/>
                        </a:lnTo>
                        <a:lnTo>
                          <a:pt x="20" y="5485"/>
                        </a:lnTo>
                        <a:lnTo>
                          <a:pt x="27" y="5469"/>
                        </a:lnTo>
                        <a:lnTo>
                          <a:pt x="34" y="5454"/>
                        </a:lnTo>
                        <a:lnTo>
                          <a:pt x="41" y="5439"/>
                        </a:lnTo>
                        <a:lnTo>
                          <a:pt x="49" y="5425"/>
                        </a:lnTo>
                        <a:lnTo>
                          <a:pt x="58" y="5411"/>
                        </a:lnTo>
                        <a:lnTo>
                          <a:pt x="68" y="5398"/>
                        </a:lnTo>
                        <a:lnTo>
                          <a:pt x="78" y="5385"/>
                        </a:lnTo>
                        <a:lnTo>
                          <a:pt x="88" y="5373"/>
                        </a:lnTo>
                        <a:lnTo>
                          <a:pt x="100" y="5360"/>
                        </a:lnTo>
                        <a:lnTo>
                          <a:pt x="112" y="5350"/>
                        </a:lnTo>
                        <a:lnTo>
                          <a:pt x="124" y="5339"/>
                        </a:lnTo>
                        <a:lnTo>
                          <a:pt x="137" y="5329"/>
                        </a:lnTo>
                        <a:lnTo>
                          <a:pt x="150" y="5319"/>
                        </a:lnTo>
                        <a:lnTo>
                          <a:pt x="164" y="5311"/>
                        </a:lnTo>
                        <a:lnTo>
                          <a:pt x="177" y="5302"/>
                        </a:lnTo>
                        <a:lnTo>
                          <a:pt x="192" y="5295"/>
                        </a:lnTo>
                        <a:lnTo>
                          <a:pt x="207" y="5288"/>
                        </a:lnTo>
                        <a:lnTo>
                          <a:pt x="223" y="5282"/>
                        </a:lnTo>
                        <a:lnTo>
                          <a:pt x="239" y="5277"/>
                        </a:lnTo>
                        <a:lnTo>
                          <a:pt x="255" y="5272"/>
                        </a:lnTo>
                        <a:lnTo>
                          <a:pt x="271" y="5268"/>
                        </a:lnTo>
                        <a:lnTo>
                          <a:pt x="288" y="5265"/>
                        </a:lnTo>
                        <a:lnTo>
                          <a:pt x="305" y="5263"/>
                        </a:lnTo>
                        <a:lnTo>
                          <a:pt x="322" y="5262"/>
                        </a:lnTo>
                        <a:lnTo>
                          <a:pt x="339" y="5262"/>
                        </a:lnTo>
                        <a:close/>
                        <a:moveTo>
                          <a:pt x="4317" y="1018"/>
                        </a:moveTo>
                        <a:lnTo>
                          <a:pt x="11261" y="1018"/>
                        </a:lnTo>
                        <a:lnTo>
                          <a:pt x="11273" y="1018"/>
                        </a:lnTo>
                        <a:lnTo>
                          <a:pt x="11284" y="1019"/>
                        </a:lnTo>
                        <a:lnTo>
                          <a:pt x="11293" y="1021"/>
                        </a:lnTo>
                        <a:lnTo>
                          <a:pt x="11304" y="1023"/>
                        </a:lnTo>
                        <a:lnTo>
                          <a:pt x="11313" y="1026"/>
                        </a:lnTo>
                        <a:lnTo>
                          <a:pt x="11323" y="1028"/>
                        </a:lnTo>
                        <a:lnTo>
                          <a:pt x="11333" y="1032"/>
                        </a:lnTo>
                        <a:lnTo>
                          <a:pt x="11341" y="1036"/>
                        </a:lnTo>
                        <a:lnTo>
                          <a:pt x="11358" y="1045"/>
                        </a:lnTo>
                        <a:lnTo>
                          <a:pt x="11374" y="1057"/>
                        </a:lnTo>
                        <a:lnTo>
                          <a:pt x="11388" y="1069"/>
                        </a:lnTo>
                        <a:lnTo>
                          <a:pt x="11402" y="1083"/>
                        </a:lnTo>
                        <a:lnTo>
                          <a:pt x="11414" y="1099"/>
                        </a:lnTo>
                        <a:lnTo>
                          <a:pt x="11426" y="1116"/>
                        </a:lnTo>
                        <a:lnTo>
                          <a:pt x="11437" y="1134"/>
                        </a:lnTo>
                        <a:lnTo>
                          <a:pt x="11446" y="1152"/>
                        </a:lnTo>
                        <a:lnTo>
                          <a:pt x="11456" y="1172"/>
                        </a:lnTo>
                        <a:lnTo>
                          <a:pt x="11464" y="1193"/>
                        </a:lnTo>
                        <a:lnTo>
                          <a:pt x="11471" y="1213"/>
                        </a:lnTo>
                        <a:lnTo>
                          <a:pt x="11478" y="1234"/>
                        </a:lnTo>
                        <a:lnTo>
                          <a:pt x="12396" y="4366"/>
                        </a:lnTo>
                        <a:lnTo>
                          <a:pt x="12398" y="4377"/>
                        </a:lnTo>
                        <a:lnTo>
                          <a:pt x="12400" y="4387"/>
                        </a:lnTo>
                        <a:lnTo>
                          <a:pt x="12401" y="4398"/>
                        </a:lnTo>
                        <a:lnTo>
                          <a:pt x="12401" y="4409"/>
                        </a:lnTo>
                        <a:lnTo>
                          <a:pt x="12400" y="4418"/>
                        </a:lnTo>
                        <a:lnTo>
                          <a:pt x="12398" y="4429"/>
                        </a:lnTo>
                        <a:lnTo>
                          <a:pt x="12396" y="4438"/>
                        </a:lnTo>
                        <a:lnTo>
                          <a:pt x="12392" y="4448"/>
                        </a:lnTo>
                        <a:lnTo>
                          <a:pt x="12388" y="4457"/>
                        </a:lnTo>
                        <a:lnTo>
                          <a:pt x="12384" y="4467"/>
                        </a:lnTo>
                        <a:lnTo>
                          <a:pt x="12379" y="4475"/>
                        </a:lnTo>
                        <a:lnTo>
                          <a:pt x="12373" y="4484"/>
                        </a:lnTo>
                        <a:lnTo>
                          <a:pt x="12366" y="4494"/>
                        </a:lnTo>
                        <a:lnTo>
                          <a:pt x="12360" y="4501"/>
                        </a:lnTo>
                        <a:lnTo>
                          <a:pt x="12352" y="4509"/>
                        </a:lnTo>
                        <a:lnTo>
                          <a:pt x="12345" y="4517"/>
                        </a:lnTo>
                        <a:lnTo>
                          <a:pt x="12327" y="4531"/>
                        </a:lnTo>
                        <a:lnTo>
                          <a:pt x="12309" y="4543"/>
                        </a:lnTo>
                        <a:lnTo>
                          <a:pt x="12288" y="4555"/>
                        </a:lnTo>
                        <a:lnTo>
                          <a:pt x="12268" y="4565"/>
                        </a:lnTo>
                        <a:lnTo>
                          <a:pt x="12246" y="4572"/>
                        </a:lnTo>
                        <a:lnTo>
                          <a:pt x="12224" y="4577"/>
                        </a:lnTo>
                        <a:lnTo>
                          <a:pt x="12213" y="4580"/>
                        </a:lnTo>
                        <a:lnTo>
                          <a:pt x="12201" y="4581"/>
                        </a:lnTo>
                        <a:lnTo>
                          <a:pt x="12191" y="4582"/>
                        </a:lnTo>
                        <a:lnTo>
                          <a:pt x="12179" y="4583"/>
                        </a:lnTo>
                        <a:lnTo>
                          <a:pt x="3723" y="4583"/>
                        </a:lnTo>
                        <a:lnTo>
                          <a:pt x="3713" y="4582"/>
                        </a:lnTo>
                        <a:lnTo>
                          <a:pt x="3701" y="4582"/>
                        </a:lnTo>
                        <a:lnTo>
                          <a:pt x="3690" y="4580"/>
                        </a:lnTo>
                        <a:lnTo>
                          <a:pt x="3680" y="4577"/>
                        </a:lnTo>
                        <a:lnTo>
                          <a:pt x="3668" y="4575"/>
                        </a:lnTo>
                        <a:lnTo>
                          <a:pt x="3658" y="4572"/>
                        </a:lnTo>
                        <a:lnTo>
                          <a:pt x="3647" y="4569"/>
                        </a:lnTo>
                        <a:lnTo>
                          <a:pt x="3636" y="4565"/>
                        </a:lnTo>
                        <a:lnTo>
                          <a:pt x="3616" y="4556"/>
                        </a:lnTo>
                        <a:lnTo>
                          <a:pt x="3597" y="4545"/>
                        </a:lnTo>
                        <a:lnTo>
                          <a:pt x="3588" y="4539"/>
                        </a:lnTo>
                        <a:lnTo>
                          <a:pt x="3579" y="4532"/>
                        </a:lnTo>
                        <a:lnTo>
                          <a:pt x="3570" y="4525"/>
                        </a:lnTo>
                        <a:lnTo>
                          <a:pt x="3563" y="4518"/>
                        </a:lnTo>
                        <a:lnTo>
                          <a:pt x="3556" y="4511"/>
                        </a:lnTo>
                        <a:lnTo>
                          <a:pt x="3548" y="4503"/>
                        </a:lnTo>
                        <a:lnTo>
                          <a:pt x="3542" y="4495"/>
                        </a:lnTo>
                        <a:lnTo>
                          <a:pt x="3535" y="4486"/>
                        </a:lnTo>
                        <a:lnTo>
                          <a:pt x="3529" y="4478"/>
                        </a:lnTo>
                        <a:lnTo>
                          <a:pt x="3524" y="4468"/>
                        </a:lnTo>
                        <a:lnTo>
                          <a:pt x="3519" y="4458"/>
                        </a:lnTo>
                        <a:lnTo>
                          <a:pt x="3515" y="4449"/>
                        </a:lnTo>
                        <a:lnTo>
                          <a:pt x="3512" y="4439"/>
                        </a:lnTo>
                        <a:lnTo>
                          <a:pt x="3509" y="4430"/>
                        </a:lnTo>
                        <a:lnTo>
                          <a:pt x="3507" y="4419"/>
                        </a:lnTo>
                        <a:lnTo>
                          <a:pt x="3506" y="4410"/>
                        </a:lnTo>
                        <a:lnTo>
                          <a:pt x="3505" y="4399"/>
                        </a:lnTo>
                        <a:lnTo>
                          <a:pt x="3505" y="4388"/>
                        </a:lnTo>
                        <a:lnTo>
                          <a:pt x="3506" y="4378"/>
                        </a:lnTo>
                        <a:lnTo>
                          <a:pt x="3508" y="4366"/>
                        </a:lnTo>
                        <a:lnTo>
                          <a:pt x="4101" y="1234"/>
                        </a:lnTo>
                        <a:lnTo>
                          <a:pt x="4106" y="1213"/>
                        </a:lnTo>
                        <a:lnTo>
                          <a:pt x="4112" y="1192"/>
                        </a:lnTo>
                        <a:lnTo>
                          <a:pt x="4119" y="1171"/>
                        </a:lnTo>
                        <a:lnTo>
                          <a:pt x="4128" y="1151"/>
                        </a:lnTo>
                        <a:lnTo>
                          <a:pt x="4138" y="1132"/>
                        </a:lnTo>
                        <a:lnTo>
                          <a:pt x="4148" y="1114"/>
                        </a:lnTo>
                        <a:lnTo>
                          <a:pt x="4160" y="1098"/>
                        </a:lnTo>
                        <a:lnTo>
                          <a:pt x="4174" y="1082"/>
                        </a:lnTo>
                        <a:lnTo>
                          <a:pt x="4187" y="1068"/>
                        </a:lnTo>
                        <a:lnTo>
                          <a:pt x="4202" y="1056"/>
                        </a:lnTo>
                        <a:lnTo>
                          <a:pt x="4219" y="1045"/>
                        </a:lnTo>
                        <a:lnTo>
                          <a:pt x="4236" y="1035"/>
                        </a:lnTo>
                        <a:lnTo>
                          <a:pt x="4246" y="1031"/>
                        </a:lnTo>
                        <a:lnTo>
                          <a:pt x="4255" y="1028"/>
                        </a:lnTo>
                        <a:lnTo>
                          <a:pt x="4265" y="1025"/>
                        </a:lnTo>
                        <a:lnTo>
                          <a:pt x="4275" y="1023"/>
                        </a:lnTo>
                        <a:lnTo>
                          <a:pt x="4285" y="1021"/>
                        </a:lnTo>
                        <a:lnTo>
                          <a:pt x="4296" y="1019"/>
                        </a:lnTo>
                        <a:lnTo>
                          <a:pt x="4306" y="1018"/>
                        </a:lnTo>
                        <a:lnTo>
                          <a:pt x="4317" y="1018"/>
                        </a:lnTo>
                        <a:close/>
                        <a:moveTo>
                          <a:pt x="1336" y="6492"/>
                        </a:moveTo>
                        <a:lnTo>
                          <a:pt x="2863" y="6492"/>
                        </a:lnTo>
                        <a:lnTo>
                          <a:pt x="4559" y="7256"/>
                        </a:lnTo>
                        <a:lnTo>
                          <a:pt x="4559" y="7722"/>
                        </a:lnTo>
                        <a:lnTo>
                          <a:pt x="1336" y="7722"/>
                        </a:lnTo>
                        <a:lnTo>
                          <a:pt x="1336" y="6492"/>
                        </a:lnTo>
                        <a:close/>
                        <a:moveTo>
                          <a:pt x="14570" y="6492"/>
                        </a:moveTo>
                        <a:lnTo>
                          <a:pt x="13042" y="6492"/>
                        </a:lnTo>
                        <a:lnTo>
                          <a:pt x="11346" y="7256"/>
                        </a:lnTo>
                        <a:lnTo>
                          <a:pt x="11346" y="7722"/>
                        </a:lnTo>
                        <a:lnTo>
                          <a:pt x="14570" y="7722"/>
                        </a:lnTo>
                        <a:lnTo>
                          <a:pt x="14570" y="649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Arial" pitchFamily="34" charset="0"/>
                      <a:cs typeface="Arial" pitchFamily="34" charset="0"/>
                    </a:endParaRPr>
                  </a:p>
                </p:txBody>
              </p:sp>
              <p:sp>
                <p:nvSpPr>
                  <p:cNvPr id="39" name="Freeform 14"/>
                  <p:cNvSpPr>
                    <a:spLocks noEditPoints="1"/>
                  </p:cNvSpPr>
                  <p:nvPr/>
                </p:nvSpPr>
                <p:spPr bwMode="auto">
                  <a:xfrm>
                    <a:off x="-1541463" y="2075848"/>
                    <a:ext cx="1319213" cy="201612"/>
                  </a:xfrm>
                  <a:custGeom>
                    <a:avLst/>
                    <a:gdLst/>
                    <a:ahLst/>
                    <a:cxnLst>
                      <a:cxn ang="0">
                        <a:pos x="12764" y="0"/>
                      </a:cxn>
                      <a:cxn ang="0">
                        <a:pos x="13297" y="1019"/>
                      </a:cxn>
                      <a:cxn ang="0">
                        <a:pos x="13258" y="1395"/>
                      </a:cxn>
                      <a:cxn ang="0">
                        <a:pos x="13232" y="1500"/>
                      </a:cxn>
                      <a:cxn ang="0">
                        <a:pos x="13199" y="1599"/>
                      </a:cxn>
                      <a:cxn ang="0">
                        <a:pos x="13162" y="1691"/>
                      </a:cxn>
                      <a:cxn ang="0">
                        <a:pos x="13118" y="1772"/>
                      </a:cxn>
                      <a:cxn ang="0">
                        <a:pos x="13072" y="1846"/>
                      </a:cxn>
                      <a:cxn ang="0">
                        <a:pos x="13019" y="1908"/>
                      </a:cxn>
                      <a:cxn ang="0">
                        <a:pos x="12963" y="1959"/>
                      </a:cxn>
                      <a:cxn ang="0">
                        <a:pos x="12905" y="1998"/>
                      </a:cxn>
                      <a:cxn ang="0">
                        <a:pos x="12843" y="2024"/>
                      </a:cxn>
                      <a:cxn ang="0">
                        <a:pos x="12779" y="2036"/>
                      </a:cxn>
                      <a:cxn ang="0">
                        <a:pos x="10104" y="2036"/>
                      </a:cxn>
                      <a:cxn ang="0">
                        <a:pos x="10040" y="2024"/>
                      </a:cxn>
                      <a:cxn ang="0">
                        <a:pos x="9978" y="1998"/>
                      </a:cxn>
                      <a:cxn ang="0">
                        <a:pos x="9920" y="1959"/>
                      </a:cxn>
                      <a:cxn ang="0">
                        <a:pos x="9864" y="1908"/>
                      </a:cxn>
                      <a:cxn ang="0">
                        <a:pos x="9812" y="1846"/>
                      </a:cxn>
                      <a:cxn ang="0">
                        <a:pos x="9764" y="1772"/>
                      </a:cxn>
                      <a:cxn ang="0">
                        <a:pos x="9722" y="1691"/>
                      </a:cxn>
                      <a:cxn ang="0">
                        <a:pos x="9684" y="1599"/>
                      </a:cxn>
                      <a:cxn ang="0">
                        <a:pos x="9652" y="1500"/>
                      </a:cxn>
                      <a:cxn ang="0">
                        <a:pos x="9625" y="1395"/>
                      </a:cxn>
                      <a:cxn ang="0">
                        <a:pos x="9586" y="1019"/>
                      </a:cxn>
                      <a:cxn ang="0">
                        <a:pos x="10119" y="0"/>
                      </a:cxn>
                      <a:cxn ang="0">
                        <a:pos x="3172" y="0"/>
                      </a:cxn>
                      <a:cxn ang="0">
                        <a:pos x="3711" y="0"/>
                      </a:cxn>
                      <a:cxn ang="0">
                        <a:pos x="3680" y="1358"/>
                      </a:cxn>
                      <a:cxn ang="0">
                        <a:pos x="3656" y="1466"/>
                      </a:cxn>
                      <a:cxn ang="0">
                        <a:pos x="3625" y="1567"/>
                      </a:cxn>
                      <a:cxn ang="0">
                        <a:pos x="3589" y="1661"/>
                      </a:cxn>
                      <a:cxn ang="0">
                        <a:pos x="3548" y="1746"/>
                      </a:cxn>
                      <a:cxn ang="0">
                        <a:pos x="3502" y="1822"/>
                      </a:cxn>
                      <a:cxn ang="0">
                        <a:pos x="3451" y="1888"/>
                      </a:cxn>
                      <a:cxn ang="0">
                        <a:pos x="3397" y="1944"/>
                      </a:cxn>
                      <a:cxn ang="0">
                        <a:pos x="3339" y="1986"/>
                      </a:cxn>
                      <a:cxn ang="0">
                        <a:pos x="3279" y="2017"/>
                      </a:cxn>
                      <a:cxn ang="0">
                        <a:pos x="3215" y="2034"/>
                      </a:cxn>
                      <a:cxn ang="0">
                        <a:pos x="540" y="2037"/>
                      </a:cxn>
                      <a:cxn ang="0">
                        <a:pos x="475" y="2030"/>
                      </a:cxn>
                      <a:cxn ang="0">
                        <a:pos x="412" y="2008"/>
                      </a:cxn>
                      <a:cxn ang="0">
                        <a:pos x="353" y="1973"/>
                      </a:cxn>
                      <a:cxn ang="0">
                        <a:pos x="297" y="1927"/>
                      </a:cxn>
                      <a:cxn ang="0">
                        <a:pos x="244" y="1867"/>
                      </a:cxn>
                      <a:cxn ang="0">
                        <a:pos x="194" y="1798"/>
                      </a:cxn>
                      <a:cxn ang="0">
                        <a:pos x="150" y="1719"/>
                      </a:cxn>
                      <a:cxn ang="0">
                        <a:pos x="110" y="1630"/>
                      </a:cxn>
                      <a:cxn ang="0">
                        <a:pos x="76" y="1534"/>
                      </a:cxn>
                      <a:cxn ang="0">
                        <a:pos x="47" y="1430"/>
                      </a:cxn>
                      <a:cxn ang="0">
                        <a:pos x="0" y="1358"/>
                      </a:cxn>
                      <a:cxn ang="0">
                        <a:pos x="527" y="0"/>
                      </a:cxn>
                    </a:cxnLst>
                    <a:rect l="0" t="0" r="r" b="b"/>
                    <a:pathLst>
                      <a:path w="13297" h="2037">
                        <a:moveTo>
                          <a:pt x="10126" y="0"/>
                        </a:moveTo>
                        <a:lnTo>
                          <a:pt x="12757" y="0"/>
                        </a:lnTo>
                        <a:lnTo>
                          <a:pt x="12764" y="0"/>
                        </a:lnTo>
                        <a:lnTo>
                          <a:pt x="12771" y="0"/>
                        </a:lnTo>
                        <a:lnTo>
                          <a:pt x="13297" y="0"/>
                        </a:lnTo>
                        <a:lnTo>
                          <a:pt x="13297" y="1019"/>
                        </a:lnTo>
                        <a:lnTo>
                          <a:pt x="13297" y="1358"/>
                        </a:lnTo>
                        <a:lnTo>
                          <a:pt x="13266" y="1358"/>
                        </a:lnTo>
                        <a:lnTo>
                          <a:pt x="13258" y="1395"/>
                        </a:lnTo>
                        <a:lnTo>
                          <a:pt x="13250" y="1430"/>
                        </a:lnTo>
                        <a:lnTo>
                          <a:pt x="13241" y="1466"/>
                        </a:lnTo>
                        <a:lnTo>
                          <a:pt x="13232" y="1500"/>
                        </a:lnTo>
                        <a:lnTo>
                          <a:pt x="13221" y="1534"/>
                        </a:lnTo>
                        <a:lnTo>
                          <a:pt x="13211" y="1567"/>
                        </a:lnTo>
                        <a:lnTo>
                          <a:pt x="13199" y="1599"/>
                        </a:lnTo>
                        <a:lnTo>
                          <a:pt x="13187" y="1630"/>
                        </a:lnTo>
                        <a:lnTo>
                          <a:pt x="13175" y="1661"/>
                        </a:lnTo>
                        <a:lnTo>
                          <a:pt x="13162" y="1691"/>
                        </a:lnTo>
                        <a:lnTo>
                          <a:pt x="13148" y="1719"/>
                        </a:lnTo>
                        <a:lnTo>
                          <a:pt x="13133" y="1746"/>
                        </a:lnTo>
                        <a:lnTo>
                          <a:pt x="13118" y="1772"/>
                        </a:lnTo>
                        <a:lnTo>
                          <a:pt x="13103" y="1798"/>
                        </a:lnTo>
                        <a:lnTo>
                          <a:pt x="13087" y="1822"/>
                        </a:lnTo>
                        <a:lnTo>
                          <a:pt x="13072" y="1846"/>
                        </a:lnTo>
                        <a:lnTo>
                          <a:pt x="13055" y="1867"/>
                        </a:lnTo>
                        <a:lnTo>
                          <a:pt x="13036" y="1888"/>
                        </a:lnTo>
                        <a:lnTo>
                          <a:pt x="13019" y="1908"/>
                        </a:lnTo>
                        <a:lnTo>
                          <a:pt x="13001" y="1927"/>
                        </a:lnTo>
                        <a:lnTo>
                          <a:pt x="12982" y="1944"/>
                        </a:lnTo>
                        <a:lnTo>
                          <a:pt x="12963" y="1959"/>
                        </a:lnTo>
                        <a:lnTo>
                          <a:pt x="12944" y="1973"/>
                        </a:lnTo>
                        <a:lnTo>
                          <a:pt x="12925" y="1986"/>
                        </a:lnTo>
                        <a:lnTo>
                          <a:pt x="12905" y="1998"/>
                        </a:lnTo>
                        <a:lnTo>
                          <a:pt x="12885" y="2008"/>
                        </a:lnTo>
                        <a:lnTo>
                          <a:pt x="12864" y="2017"/>
                        </a:lnTo>
                        <a:lnTo>
                          <a:pt x="12843" y="2024"/>
                        </a:lnTo>
                        <a:lnTo>
                          <a:pt x="12822" y="2030"/>
                        </a:lnTo>
                        <a:lnTo>
                          <a:pt x="12801" y="2034"/>
                        </a:lnTo>
                        <a:lnTo>
                          <a:pt x="12779" y="2036"/>
                        </a:lnTo>
                        <a:lnTo>
                          <a:pt x="12757" y="2037"/>
                        </a:lnTo>
                        <a:lnTo>
                          <a:pt x="10126" y="2037"/>
                        </a:lnTo>
                        <a:lnTo>
                          <a:pt x="10104" y="2036"/>
                        </a:lnTo>
                        <a:lnTo>
                          <a:pt x="10082" y="2034"/>
                        </a:lnTo>
                        <a:lnTo>
                          <a:pt x="10061" y="2030"/>
                        </a:lnTo>
                        <a:lnTo>
                          <a:pt x="10040" y="2024"/>
                        </a:lnTo>
                        <a:lnTo>
                          <a:pt x="10019" y="2017"/>
                        </a:lnTo>
                        <a:lnTo>
                          <a:pt x="9998" y="2008"/>
                        </a:lnTo>
                        <a:lnTo>
                          <a:pt x="9978" y="1998"/>
                        </a:lnTo>
                        <a:lnTo>
                          <a:pt x="9958" y="1986"/>
                        </a:lnTo>
                        <a:lnTo>
                          <a:pt x="9939" y="1973"/>
                        </a:lnTo>
                        <a:lnTo>
                          <a:pt x="9920" y="1959"/>
                        </a:lnTo>
                        <a:lnTo>
                          <a:pt x="9900" y="1944"/>
                        </a:lnTo>
                        <a:lnTo>
                          <a:pt x="9882" y="1927"/>
                        </a:lnTo>
                        <a:lnTo>
                          <a:pt x="9864" y="1908"/>
                        </a:lnTo>
                        <a:lnTo>
                          <a:pt x="9846" y="1888"/>
                        </a:lnTo>
                        <a:lnTo>
                          <a:pt x="9829" y="1867"/>
                        </a:lnTo>
                        <a:lnTo>
                          <a:pt x="9812" y="1846"/>
                        </a:lnTo>
                        <a:lnTo>
                          <a:pt x="9795" y="1822"/>
                        </a:lnTo>
                        <a:lnTo>
                          <a:pt x="9779" y="1798"/>
                        </a:lnTo>
                        <a:lnTo>
                          <a:pt x="9764" y="1772"/>
                        </a:lnTo>
                        <a:lnTo>
                          <a:pt x="9750" y="1746"/>
                        </a:lnTo>
                        <a:lnTo>
                          <a:pt x="9736" y="1719"/>
                        </a:lnTo>
                        <a:lnTo>
                          <a:pt x="9722" y="1691"/>
                        </a:lnTo>
                        <a:lnTo>
                          <a:pt x="9708" y="1661"/>
                        </a:lnTo>
                        <a:lnTo>
                          <a:pt x="9695" y="1630"/>
                        </a:lnTo>
                        <a:lnTo>
                          <a:pt x="9684" y="1599"/>
                        </a:lnTo>
                        <a:lnTo>
                          <a:pt x="9672" y="1567"/>
                        </a:lnTo>
                        <a:lnTo>
                          <a:pt x="9661" y="1534"/>
                        </a:lnTo>
                        <a:lnTo>
                          <a:pt x="9652" y="1500"/>
                        </a:lnTo>
                        <a:lnTo>
                          <a:pt x="9642" y="1466"/>
                        </a:lnTo>
                        <a:lnTo>
                          <a:pt x="9633" y="1430"/>
                        </a:lnTo>
                        <a:lnTo>
                          <a:pt x="9625" y="1395"/>
                        </a:lnTo>
                        <a:lnTo>
                          <a:pt x="9618" y="1358"/>
                        </a:lnTo>
                        <a:lnTo>
                          <a:pt x="9586" y="1358"/>
                        </a:lnTo>
                        <a:lnTo>
                          <a:pt x="9586" y="1019"/>
                        </a:lnTo>
                        <a:lnTo>
                          <a:pt x="9586" y="0"/>
                        </a:lnTo>
                        <a:lnTo>
                          <a:pt x="10113" y="0"/>
                        </a:lnTo>
                        <a:lnTo>
                          <a:pt x="10119" y="0"/>
                        </a:lnTo>
                        <a:lnTo>
                          <a:pt x="10126" y="0"/>
                        </a:lnTo>
                        <a:close/>
                        <a:moveTo>
                          <a:pt x="540" y="0"/>
                        </a:moveTo>
                        <a:lnTo>
                          <a:pt x="3172" y="0"/>
                        </a:lnTo>
                        <a:lnTo>
                          <a:pt x="3178" y="0"/>
                        </a:lnTo>
                        <a:lnTo>
                          <a:pt x="3185" y="0"/>
                        </a:lnTo>
                        <a:lnTo>
                          <a:pt x="3711" y="0"/>
                        </a:lnTo>
                        <a:lnTo>
                          <a:pt x="3711" y="1019"/>
                        </a:lnTo>
                        <a:lnTo>
                          <a:pt x="3711" y="1358"/>
                        </a:lnTo>
                        <a:lnTo>
                          <a:pt x="3680" y="1358"/>
                        </a:lnTo>
                        <a:lnTo>
                          <a:pt x="3673" y="1395"/>
                        </a:lnTo>
                        <a:lnTo>
                          <a:pt x="3664" y="1430"/>
                        </a:lnTo>
                        <a:lnTo>
                          <a:pt x="3656" y="1466"/>
                        </a:lnTo>
                        <a:lnTo>
                          <a:pt x="3646" y="1500"/>
                        </a:lnTo>
                        <a:lnTo>
                          <a:pt x="3636" y="1534"/>
                        </a:lnTo>
                        <a:lnTo>
                          <a:pt x="3625" y="1567"/>
                        </a:lnTo>
                        <a:lnTo>
                          <a:pt x="3613" y="1599"/>
                        </a:lnTo>
                        <a:lnTo>
                          <a:pt x="3602" y="1630"/>
                        </a:lnTo>
                        <a:lnTo>
                          <a:pt x="3589" y="1661"/>
                        </a:lnTo>
                        <a:lnTo>
                          <a:pt x="3576" y="1691"/>
                        </a:lnTo>
                        <a:lnTo>
                          <a:pt x="3562" y="1719"/>
                        </a:lnTo>
                        <a:lnTo>
                          <a:pt x="3548" y="1746"/>
                        </a:lnTo>
                        <a:lnTo>
                          <a:pt x="3533" y="1772"/>
                        </a:lnTo>
                        <a:lnTo>
                          <a:pt x="3518" y="1798"/>
                        </a:lnTo>
                        <a:lnTo>
                          <a:pt x="3502" y="1822"/>
                        </a:lnTo>
                        <a:lnTo>
                          <a:pt x="3486" y="1846"/>
                        </a:lnTo>
                        <a:lnTo>
                          <a:pt x="3469" y="1867"/>
                        </a:lnTo>
                        <a:lnTo>
                          <a:pt x="3451" y="1888"/>
                        </a:lnTo>
                        <a:lnTo>
                          <a:pt x="3434" y="1908"/>
                        </a:lnTo>
                        <a:lnTo>
                          <a:pt x="3416" y="1927"/>
                        </a:lnTo>
                        <a:lnTo>
                          <a:pt x="3397" y="1944"/>
                        </a:lnTo>
                        <a:lnTo>
                          <a:pt x="3378" y="1959"/>
                        </a:lnTo>
                        <a:lnTo>
                          <a:pt x="3358" y="1973"/>
                        </a:lnTo>
                        <a:lnTo>
                          <a:pt x="3339" y="1986"/>
                        </a:lnTo>
                        <a:lnTo>
                          <a:pt x="3319" y="1998"/>
                        </a:lnTo>
                        <a:lnTo>
                          <a:pt x="3299" y="2008"/>
                        </a:lnTo>
                        <a:lnTo>
                          <a:pt x="3279" y="2017"/>
                        </a:lnTo>
                        <a:lnTo>
                          <a:pt x="3258" y="2024"/>
                        </a:lnTo>
                        <a:lnTo>
                          <a:pt x="3236" y="2030"/>
                        </a:lnTo>
                        <a:lnTo>
                          <a:pt x="3215" y="2034"/>
                        </a:lnTo>
                        <a:lnTo>
                          <a:pt x="3194" y="2036"/>
                        </a:lnTo>
                        <a:lnTo>
                          <a:pt x="3172" y="2037"/>
                        </a:lnTo>
                        <a:lnTo>
                          <a:pt x="540" y="2037"/>
                        </a:lnTo>
                        <a:lnTo>
                          <a:pt x="519" y="2036"/>
                        </a:lnTo>
                        <a:lnTo>
                          <a:pt x="496" y="2034"/>
                        </a:lnTo>
                        <a:lnTo>
                          <a:pt x="475" y="2030"/>
                        </a:lnTo>
                        <a:lnTo>
                          <a:pt x="454" y="2024"/>
                        </a:lnTo>
                        <a:lnTo>
                          <a:pt x="434" y="2017"/>
                        </a:lnTo>
                        <a:lnTo>
                          <a:pt x="412" y="2008"/>
                        </a:lnTo>
                        <a:lnTo>
                          <a:pt x="392" y="1998"/>
                        </a:lnTo>
                        <a:lnTo>
                          <a:pt x="372" y="1986"/>
                        </a:lnTo>
                        <a:lnTo>
                          <a:pt x="353" y="1973"/>
                        </a:lnTo>
                        <a:lnTo>
                          <a:pt x="334" y="1959"/>
                        </a:lnTo>
                        <a:lnTo>
                          <a:pt x="315" y="1944"/>
                        </a:lnTo>
                        <a:lnTo>
                          <a:pt x="297" y="1927"/>
                        </a:lnTo>
                        <a:lnTo>
                          <a:pt x="278" y="1908"/>
                        </a:lnTo>
                        <a:lnTo>
                          <a:pt x="261" y="1888"/>
                        </a:lnTo>
                        <a:lnTo>
                          <a:pt x="244" y="1867"/>
                        </a:lnTo>
                        <a:lnTo>
                          <a:pt x="227" y="1846"/>
                        </a:lnTo>
                        <a:lnTo>
                          <a:pt x="210" y="1822"/>
                        </a:lnTo>
                        <a:lnTo>
                          <a:pt x="194" y="1798"/>
                        </a:lnTo>
                        <a:lnTo>
                          <a:pt x="179" y="1772"/>
                        </a:lnTo>
                        <a:lnTo>
                          <a:pt x="164" y="1746"/>
                        </a:lnTo>
                        <a:lnTo>
                          <a:pt x="150" y="1719"/>
                        </a:lnTo>
                        <a:lnTo>
                          <a:pt x="136" y="1691"/>
                        </a:lnTo>
                        <a:lnTo>
                          <a:pt x="123" y="1661"/>
                        </a:lnTo>
                        <a:lnTo>
                          <a:pt x="110" y="1630"/>
                        </a:lnTo>
                        <a:lnTo>
                          <a:pt x="98" y="1599"/>
                        </a:lnTo>
                        <a:lnTo>
                          <a:pt x="86" y="1567"/>
                        </a:lnTo>
                        <a:lnTo>
                          <a:pt x="76" y="1534"/>
                        </a:lnTo>
                        <a:lnTo>
                          <a:pt x="66" y="1500"/>
                        </a:lnTo>
                        <a:lnTo>
                          <a:pt x="57" y="1466"/>
                        </a:lnTo>
                        <a:lnTo>
                          <a:pt x="47" y="1430"/>
                        </a:lnTo>
                        <a:lnTo>
                          <a:pt x="40" y="1395"/>
                        </a:lnTo>
                        <a:lnTo>
                          <a:pt x="32" y="1358"/>
                        </a:lnTo>
                        <a:lnTo>
                          <a:pt x="0" y="1358"/>
                        </a:lnTo>
                        <a:lnTo>
                          <a:pt x="0" y="1019"/>
                        </a:lnTo>
                        <a:lnTo>
                          <a:pt x="0" y="0"/>
                        </a:lnTo>
                        <a:lnTo>
                          <a:pt x="527" y="0"/>
                        </a:lnTo>
                        <a:lnTo>
                          <a:pt x="534" y="0"/>
                        </a:lnTo>
                        <a:lnTo>
                          <a:pt x="540"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Arial" pitchFamily="34" charset="0"/>
                      <a:cs typeface="Arial" pitchFamily="34" charset="0"/>
                    </a:endParaRPr>
                  </a:p>
                </p:txBody>
              </p:sp>
              <p:sp>
                <p:nvSpPr>
                  <p:cNvPr id="40" name="Freeform 15"/>
                  <p:cNvSpPr>
                    <a:spLocks/>
                  </p:cNvSpPr>
                  <p:nvPr/>
                </p:nvSpPr>
                <p:spPr bwMode="auto">
                  <a:xfrm>
                    <a:off x="-469900" y="867760"/>
                    <a:ext cx="309563" cy="323850"/>
                  </a:xfrm>
                  <a:custGeom>
                    <a:avLst/>
                    <a:gdLst/>
                    <a:ahLst/>
                    <a:cxnLst>
                      <a:cxn ang="0">
                        <a:pos x="2537" y="3259"/>
                      </a:cxn>
                      <a:cxn ang="0">
                        <a:pos x="2539" y="3232"/>
                      </a:cxn>
                      <a:cxn ang="0">
                        <a:pos x="2540" y="3204"/>
                      </a:cxn>
                      <a:cxn ang="0">
                        <a:pos x="2532" y="2944"/>
                      </a:cxn>
                      <a:cxn ang="0">
                        <a:pos x="2500" y="2690"/>
                      </a:cxn>
                      <a:cxn ang="0">
                        <a:pos x="2444" y="2445"/>
                      </a:cxn>
                      <a:cxn ang="0">
                        <a:pos x="2363" y="2208"/>
                      </a:cxn>
                      <a:cxn ang="0">
                        <a:pos x="2261" y="1982"/>
                      </a:cxn>
                      <a:cxn ang="0">
                        <a:pos x="2139" y="1768"/>
                      </a:cxn>
                      <a:cxn ang="0">
                        <a:pos x="1997" y="1568"/>
                      </a:cxn>
                      <a:cxn ang="0">
                        <a:pos x="1837" y="1382"/>
                      </a:cxn>
                      <a:cxn ang="0">
                        <a:pos x="1659" y="1212"/>
                      </a:cxn>
                      <a:cxn ang="0">
                        <a:pos x="1467" y="1060"/>
                      </a:cxn>
                      <a:cxn ang="0">
                        <a:pos x="1260" y="928"/>
                      </a:cxn>
                      <a:cxn ang="0">
                        <a:pos x="1039" y="814"/>
                      </a:cxn>
                      <a:cxn ang="0">
                        <a:pos x="807" y="721"/>
                      </a:cxn>
                      <a:cxn ang="0">
                        <a:pos x="565" y="652"/>
                      </a:cxn>
                      <a:cxn ang="0">
                        <a:pos x="313" y="607"/>
                      </a:cxn>
                      <a:cxn ang="0">
                        <a:pos x="53" y="588"/>
                      </a:cxn>
                      <a:cxn ang="0">
                        <a:pos x="27" y="587"/>
                      </a:cxn>
                      <a:cxn ang="0">
                        <a:pos x="0" y="587"/>
                      </a:cxn>
                      <a:cxn ang="0">
                        <a:pos x="28" y="0"/>
                      </a:cxn>
                      <a:cxn ang="0">
                        <a:pos x="55" y="0"/>
                      </a:cxn>
                      <a:cxn ang="0">
                        <a:pos x="229" y="9"/>
                      </a:cxn>
                      <a:cxn ang="0">
                        <a:pos x="544" y="49"/>
                      </a:cxn>
                      <a:cxn ang="0">
                        <a:pos x="848" y="120"/>
                      </a:cxn>
                      <a:cxn ang="0">
                        <a:pos x="1140" y="219"/>
                      </a:cxn>
                      <a:cxn ang="0">
                        <a:pos x="1418" y="345"/>
                      </a:cxn>
                      <a:cxn ang="0">
                        <a:pos x="1682" y="497"/>
                      </a:cxn>
                      <a:cxn ang="0">
                        <a:pos x="1927" y="674"/>
                      </a:cxn>
                      <a:cxn ang="0">
                        <a:pos x="2155" y="871"/>
                      </a:cxn>
                      <a:cxn ang="0">
                        <a:pos x="2362" y="1090"/>
                      </a:cxn>
                      <a:cxn ang="0">
                        <a:pos x="2549" y="1328"/>
                      </a:cxn>
                      <a:cxn ang="0">
                        <a:pos x="2712" y="1582"/>
                      </a:cxn>
                      <a:cxn ang="0">
                        <a:pos x="2850" y="1853"/>
                      </a:cxn>
                      <a:cxn ang="0">
                        <a:pos x="2962" y="2138"/>
                      </a:cxn>
                      <a:cxn ang="0">
                        <a:pos x="3046" y="2434"/>
                      </a:cxn>
                      <a:cxn ang="0">
                        <a:pos x="3101" y="2742"/>
                      </a:cxn>
                      <a:cxn ang="0">
                        <a:pos x="3126" y="3059"/>
                      </a:cxn>
                      <a:cxn ang="0">
                        <a:pos x="3126" y="3233"/>
                      </a:cxn>
                      <a:cxn ang="0">
                        <a:pos x="3125" y="3260"/>
                      </a:cxn>
                    </a:cxnLst>
                    <a:rect l="0" t="0" r="r" b="b"/>
                    <a:pathLst>
                      <a:path w="3126" h="3273">
                        <a:moveTo>
                          <a:pt x="3124" y="3273"/>
                        </a:moveTo>
                        <a:lnTo>
                          <a:pt x="2537" y="3259"/>
                        </a:lnTo>
                        <a:lnTo>
                          <a:pt x="2537" y="3245"/>
                        </a:lnTo>
                        <a:lnTo>
                          <a:pt x="2539" y="3232"/>
                        </a:lnTo>
                        <a:lnTo>
                          <a:pt x="2539" y="3218"/>
                        </a:lnTo>
                        <a:lnTo>
                          <a:pt x="2540" y="3204"/>
                        </a:lnTo>
                        <a:lnTo>
                          <a:pt x="2540" y="3074"/>
                        </a:lnTo>
                        <a:lnTo>
                          <a:pt x="2532" y="2944"/>
                        </a:lnTo>
                        <a:lnTo>
                          <a:pt x="2519" y="2817"/>
                        </a:lnTo>
                        <a:lnTo>
                          <a:pt x="2500" y="2690"/>
                        </a:lnTo>
                        <a:lnTo>
                          <a:pt x="2475" y="2566"/>
                        </a:lnTo>
                        <a:lnTo>
                          <a:pt x="2444" y="2445"/>
                        </a:lnTo>
                        <a:lnTo>
                          <a:pt x="2407" y="2325"/>
                        </a:lnTo>
                        <a:lnTo>
                          <a:pt x="2363" y="2208"/>
                        </a:lnTo>
                        <a:lnTo>
                          <a:pt x="2316" y="2093"/>
                        </a:lnTo>
                        <a:lnTo>
                          <a:pt x="2261" y="1982"/>
                        </a:lnTo>
                        <a:lnTo>
                          <a:pt x="2203" y="1873"/>
                        </a:lnTo>
                        <a:lnTo>
                          <a:pt x="2139" y="1768"/>
                        </a:lnTo>
                        <a:lnTo>
                          <a:pt x="2070" y="1666"/>
                        </a:lnTo>
                        <a:lnTo>
                          <a:pt x="1997" y="1568"/>
                        </a:lnTo>
                        <a:lnTo>
                          <a:pt x="1918" y="1474"/>
                        </a:lnTo>
                        <a:lnTo>
                          <a:pt x="1837" y="1382"/>
                        </a:lnTo>
                        <a:lnTo>
                          <a:pt x="1751" y="1295"/>
                        </a:lnTo>
                        <a:lnTo>
                          <a:pt x="1659" y="1212"/>
                        </a:lnTo>
                        <a:lnTo>
                          <a:pt x="1565" y="1135"/>
                        </a:lnTo>
                        <a:lnTo>
                          <a:pt x="1467" y="1060"/>
                        </a:lnTo>
                        <a:lnTo>
                          <a:pt x="1365" y="991"/>
                        </a:lnTo>
                        <a:lnTo>
                          <a:pt x="1260" y="928"/>
                        </a:lnTo>
                        <a:lnTo>
                          <a:pt x="1152" y="868"/>
                        </a:lnTo>
                        <a:lnTo>
                          <a:pt x="1039" y="814"/>
                        </a:lnTo>
                        <a:lnTo>
                          <a:pt x="924" y="765"/>
                        </a:lnTo>
                        <a:lnTo>
                          <a:pt x="807" y="721"/>
                        </a:lnTo>
                        <a:lnTo>
                          <a:pt x="687" y="684"/>
                        </a:lnTo>
                        <a:lnTo>
                          <a:pt x="565" y="652"/>
                        </a:lnTo>
                        <a:lnTo>
                          <a:pt x="440" y="627"/>
                        </a:lnTo>
                        <a:lnTo>
                          <a:pt x="313" y="607"/>
                        </a:lnTo>
                        <a:lnTo>
                          <a:pt x="184" y="594"/>
                        </a:lnTo>
                        <a:lnTo>
                          <a:pt x="53" y="588"/>
                        </a:lnTo>
                        <a:lnTo>
                          <a:pt x="40" y="587"/>
                        </a:lnTo>
                        <a:lnTo>
                          <a:pt x="27" y="587"/>
                        </a:lnTo>
                        <a:lnTo>
                          <a:pt x="13" y="587"/>
                        </a:lnTo>
                        <a:lnTo>
                          <a:pt x="0" y="587"/>
                        </a:lnTo>
                        <a:lnTo>
                          <a:pt x="15" y="0"/>
                        </a:lnTo>
                        <a:lnTo>
                          <a:pt x="28" y="0"/>
                        </a:lnTo>
                        <a:lnTo>
                          <a:pt x="42" y="0"/>
                        </a:lnTo>
                        <a:lnTo>
                          <a:pt x="55" y="0"/>
                        </a:lnTo>
                        <a:lnTo>
                          <a:pt x="68" y="0"/>
                        </a:lnTo>
                        <a:lnTo>
                          <a:pt x="229" y="9"/>
                        </a:lnTo>
                        <a:lnTo>
                          <a:pt x="388" y="25"/>
                        </a:lnTo>
                        <a:lnTo>
                          <a:pt x="544" y="49"/>
                        </a:lnTo>
                        <a:lnTo>
                          <a:pt x="697" y="81"/>
                        </a:lnTo>
                        <a:lnTo>
                          <a:pt x="848" y="120"/>
                        </a:lnTo>
                        <a:lnTo>
                          <a:pt x="995" y="166"/>
                        </a:lnTo>
                        <a:lnTo>
                          <a:pt x="1140" y="219"/>
                        </a:lnTo>
                        <a:lnTo>
                          <a:pt x="1281" y="280"/>
                        </a:lnTo>
                        <a:lnTo>
                          <a:pt x="1418" y="345"/>
                        </a:lnTo>
                        <a:lnTo>
                          <a:pt x="1552" y="419"/>
                        </a:lnTo>
                        <a:lnTo>
                          <a:pt x="1682" y="497"/>
                        </a:lnTo>
                        <a:lnTo>
                          <a:pt x="1807" y="582"/>
                        </a:lnTo>
                        <a:lnTo>
                          <a:pt x="1927" y="674"/>
                        </a:lnTo>
                        <a:lnTo>
                          <a:pt x="2044" y="770"/>
                        </a:lnTo>
                        <a:lnTo>
                          <a:pt x="2155" y="871"/>
                        </a:lnTo>
                        <a:lnTo>
                          <a:pt x="2261" y="979"/>
                        </a:lnTo>
                        <a:lnTo>
                          <a:pt x="2362" y="1090"/>
                        </a:lnTo>
                        <a:lnTo>
                          <a:pt x="2459" y="1207"/>
                        </a:lnTo>
                        <a:lnTo>
                          <a:pt x="2549" y="1328"/>
                        </a:lnTo>
                        <a:lnTo>
                          <a:pt x="2633" y="1453"/>
                        </a:lnTo>
                        <a:lnTo>
                          <a:pt x="2712" y="1582"/>
                        </a:lnTo>
                        <a:lnTo>
                          <a:pt x="2784" y="1716"/>
                        </a:lnTo>
                        <a:lnTo>
                          <a:pt x="2850" y="1853"/>
                        </a:lnTo>
                        <a:lnTo>
                          <a:pt x="2909" y="1993"/>
                        </a:lnTo>
                        <a:lnTo>
                          <a:pt x="2962" y="2138"/>
                        </a:lnTo>
                        <a:lnTo>
                          <a:pt x="3008" y="2284"/>
                        </a:lnTo>
                        <a:lnTo>
                          <a:pt x="3046" y="2434"/>
                        </a:lnTo>
                        <a:lnTo>
                          <a:pt x="3078" y="2587"/>
                        </a:lnTo>
                        <a:lnTo>
                          <a:pt x="3101" y="2742"/>
                        </a:lnTo>
                        <a:lnTo>
                          <a:pt x="3117" y="2899"/>
                        </a:lnTo>
                        <a:lnTo>
                          <a:pt x="3126" y="3059"/>
                        </a:lnTo>
                        <a:lnTo>
                          <a:pt x="3126" y="3219"/>
                        </a:lnTo>
                        <a:lnTo>
                          <a:pt x="3126" y="3233"/>
                        </a:lnTo>
                        <a:lnTo>
                          <a:pt x="3125" y="3247"/>
                        </a:lnTo>
                        <a:lnTo>
                          <a:pt x="3125" y="3260"/>
                        </a:lnTo>
                        <a:lnTo>
                          <a:pt x="3124" y="327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Arial" pitchFamily="34" charset="0"/>
                      <a:cs typeface="Arial" pitchFamily="34" charset="0"/>
                    </a:endParaRPr>
                  </a:p>
                </p:txBody>
              </p:sp>
              <p:sp>
                <p:nvSpPr>
                  <p:cNvPr id="41" name="Freeform 16"/>
                  <p:cNvSpPr>
                    <a:spLocks/>
                  </p:cNvSpPr>
                  <p:nvPr/>
                </p:nvSpPr>
                <p:spPr bwMode="auto">
                  <a:xfrm>
                    <a:off x="-482600" y="691548"/>
                    <a:ext cx="482600" cy="506412"/>
                  </a:xfrm>
                  <a:custGeom>
                    <a:avLst/>
                    <a:gdLst/>
                    <a:ahLst/>
                    <a:cxnLst>
                      <a:cxn ang="0">
                        <a:pos x="4864" y="5055"/>
                      </a:cxn>
                      <a:cxn ang="0">
                        <a:pos x="4863" y="5087"/>
                      </a:cxn>
                      <a:cxn ang="0">
                        <a:pos x="4227" y="5086"/>
                      </a:cxn>
                      <a:cxn ang="0">
                        <a:pos x="4228" y="5055"/>
                      </a:cxn>
                      <a:cxn ang="0">
                        <a:pos x="4229" y="5023"/>
                      </a:cxn>
                      <a:cxn ang="0">
                        <a:pos x="4218" y="4586"/>
                      </a:cxn>
                      <a:cxn ang="0">
                        <a:pos x="4164" y="4160"/>
                      </a:cxn>
                      <a:cxn ang="0">
                        <a:pos x="4069" y="3749"/>
                      </a:cxn>
                      <a:cxn ang="0">
                        <a:pos x="3935" y="3352"/>
                      </a:cxn>
                      <a:cxn ang="0">
                        <a:pos x="3764" y="2974"/>
                      </a:cxn>
                      <a:cxn ang="0">
                        <a:pos x="3559" y="2616"/>
                      </a:cxn>
                      <a:cxn ang="0">
                        <a:pos x="3320" y="2280"/>
                      </a:cxn>
                      <a:cxn ang="0">
                        <a:pos x="3051" y="1969"/>
                      </a:cxn>
                      <a:cxn ang="0">
                        <a:pos x="2755" y="1685"/>
                      </a:cxn>
                      <a:cxn ang="0">
                        <a:pos x="2432" y="1430"/>
                      </a:cxn>
                      <a:cxn ang="0">
                        <a:pos x="2085" y="1206"/>
                      </a:cxn>
                      <a:cxn ang="0">
                        <a:pos x="1716" y="1016"/>
                      </a:cxn>
                      <a:cxn ang="0">
                        <a:pos x="1326" y="862"/>
                      </a:cxn>
                      <a:cxn ang="0">
                        <a:pos x="921" y="746"/>
                      </a:cxn>
                      <a:cxn ang="0">
                        <a:pos x="498" y="670"/>
                      </a:cxn>
                      <a:cxn ang="0">
                        <a:pos x="63" y="636"/>
                      </a:cxn>
                      <a:cxn ang="0">
                        <a:pos x="32" y="636"/>
                      </a:cxn>
                      <a:cxn ang="0">
                        <a:pos x="0" y="636"/>
                      </a:cxn>
                      <a:cxn ang="0">
                        <a:pos x="32" y="0"/>
                      </a:cxn>
                      <a:cxn ang="0">
                        <a:pos x="64" y="0"/>
                      </a:cxn>
                      <a:cxn ang="0">
                        <a:pos x="330" y="14"/>
                      </a:cxn>
                      <a:cxn ang="0">
                        <a:pos x="824" y="76"/>
                      </a:cxn>
                      <a:cxn ang="0">
                        <a:pos x="1300" y="187"/>
                      </a:cxn>
                      <a:cxn ang="0">
                        <a:pos x="1757" y="343"/>
                      </a:cxn>
                      <a:cxn ang="0">
                        <a:pos x="2192" y="541"/>
                      </a:cxn>
                      <a:cxn ang="0">
                        <a:pos x="2604" y="779"/>
                      </a:cxn>
                      <a:cxn ang="0">
                        <a:pos x="2990" y="1054"/>
                      </a:cxn>
                      <a:cxn ang="0">
                        <a:pos x="3345" y="1364"/>
                      </a:cxn>
                      <a:cxn ang="0">
                        <a:pos x="3670" y="1706"/>
                      </a:cxn>
                      <a:cxn ang="0">
                        <a:pos x="3962" y="2078"/>
                      </a:cxn>
                      <a:cxn ang="0">
                        <a:pos x="4217" y="2476"/>
                      </a:cxn>
                      <a:cxn ang="0">
                        <a:pos x="4434" y="2900"/>
                      </a:cxn>
                      <a:cxn ang="0">
                        <a:pos x="4609" y="3346"/>
                      </a:cxn>
                      <a:cxn ang="0">
                        <a:pos x="4741" y="3810"/>
                      </a:cxn>
                      <a:cxn ang="0">
                        <a:pos x="4827" y="4291"/>
                      </a:cxn>
                      <a:cxn ang="0">
                        <a:pos x="4865" y="4787"/>
                      </a:cxn>
                    </a:cxnLst>
                    <a:rect l="0" t="0" r="r" b="b"/>
                    <a:pathLst>
                      <a:path w="4865" h="5103">
                        <a:moveTo>
                          <a:pt x="4865" y="5039"/>
                        </a:moveTo>
                        <a:lnTo>
                          <a:pt x="4864" y="5055"/>
                        </a:lnTo>
                        <a:lnTo>
                          <a:pt x="4864" y="5071"/>
                        </a:lnTo>
                        <a:lnTo>
                          <a:pt x="4863" y="5087"/>
                        </a:lnTo>
                        <a:lnTo>
                          <a:pt x="4863" y="5103"/>
                        </a:lnTo>
                        <a:lnTo>
                          <a:pt x="4227" y="5086"/>
                        </a:lnTo>
                        <a:lnTo>
                          <a:pt x="4228" y="5071"/>
                        </a:lnTo>
                        <a:lnTo>
                          <a:pt x="4228" y="5055"/>
                        </a:lnTo>
                        <a:lnTo>
                          <a:pt x="4229" y="5039"/>
                        </a:lnTo>
                        <a:lnTo>
                          <a:pt x="4229" y="5023"/>
                        </a:lnTo>
                        <a:lnTo>
                          <a:pt x="4229" y="4803"/>
                        </a:lnTo>
                        <a:lnTo>
                          <a:pt x="4218" y="4586"/>
                        </a:lnTo>
                        <a:lnTo>
                          <a:pt x="4196" y="4372"/>
                        </a:lnTo>
                        <a:lnTo>
                          <a:pt x="4164" y="4160"/>
                        </a:lnTo>
                        <a:lnTo>
                          <a:pt x="4122" y="3953"/>
                        </a:lnTo>
                        <a:lnTo>
                          <a:pt x="4069" y="3749"/>
                        </a:lnTo>
                        <a:lnTo>
                          <a:pt x="4007" y="3548"/>
                        </a:lnTo>
                        <a:lnTo>
                          <a:pt x="3935" y="3352"/>
                        </a:lnTo>
                        <a:lnTo>
                          <a:pt x="3854" y="3161"/>
                        </a:lnTo>
                        <a:lnTo>
                          <a:pt x="3764" y="2974"/>
                        </a:lnTo>
                        <a:lnTo>
                          <a:pt x="3665" y="2792"/>
                        </a:lnTo>
                        <a:lnTo>
                          <a:pt x="3559" y="2616"/>
                        </a:lnTo>
                        <a:lnTo>
                          <a:pt x="3443" y="2445"/>
                        </a:lnTo>
                        <a:lnTo>
                          <a:pt x="3320" y="2280"/>
                        </a:lnTo>
                        <a:lnTo>
                          <a:pt x="3189" y="2122"/>
                        </a:lnTo>
                        <a:lnTo>
                          <a:pt x="3051" y="1969"/>
                        </a:lnTo>
                        <a:lnTo>
                          <a:pt x="2907" y="1823"/>
                        </a:lnTo>
                        <a:lnTo>
                          <a:pt x="2755" y="1685"/>
                        </a:lnTo>
                        <a:lnTo>
                          <a:pt x="2597" y="1553"/>
                        </a:lnTo>
                        <a:lnTo>
                          <a:pt x="2432" y="1430"/>
                        </a:lnTo>
                        <a:lnTo>
                          <a:pt x="2261" y="1314"/>
                        </a:lnTo>
                        <a:lnTo>
                          <a:pt x="2085" y="1206"/>
                        </a:lnTo>
                        <a:lnTo>
                          <a:pt x="1903" y="1107"/>
                        </a:lnTo>
                        <a:lnTo>
                          <a:pt x="1716" y="1016"/>
                        </a:lnTo>
                        <a:lnTo>
                          <a:pt x="1524" y="935"/>
                        </a:lnTo>
                        <a:lnTo>
                          <a:pt x="1326" y="862"/>
                        </a:lnTo>
                        <a:lnTo>
                          <a:pt x="1126" y="799"/>
                        </a:lnTo>
                        <a:lnTo>
                          <a:pt x="921" y="746"/>
                        </a:lnTo>
                        <a:lnTo>
                          <a:pt x="712" y="702"/>
                        </a:lnTo>
                        <a:lnTo>
                          <a:pt x="498" y="670"/>
                        </a:lnTo>
                        <a:lnTo>
                          <a:pt x="282" y="648"/>
                        </a:lnTo>
                        <a:lnTo>
                          <a:pt x="63" y="636"/>
                        </a:lnTo>
                        <a:lnTo>
                          <a:pt x="47" y="636"/>
                        </a:lnTo>
                        <a:lnTo>
                          <a:pt x="32" y="636"/>
                        </a:lnTo>
                        <a:lnTo>
                          <a:pt x="16" y="636"/>
                        </a:lnTo>
                        <a:lnTo>
                          <a:pt x="0" y="636"/>
                        </a:lnTo>
                        <a:lnTo>
                          <a:pt x="17" y="0"/>
                        </a:lnTo>
                        <a:lnTo>
                          <a:pt x="32" y="0"/>
                        </a:lnTo>
                        <a:lnTo>
                          <a:pt x="48" y="0"/>
                        </a:lnTo>
                        <a:lnTo>
                          <a:pt x="64" y="0"/>
                        </a:lnTo>
                        <a:lnTo>
                          <a:pt x="79" y="1"/>
                        </a:lnTo>
                        <a:lnTo>
                          <a:pt x="330" y="14"/>
                        </a:lnTo>
                        <a:lnTo>
                          <a:pt x="579" y="39"/>
                        </a:lnTo>
                        <a:lnTo>
                          <a:pt x="824" y="76"/>
                        </a:lnTo>
                        <a:lnTo>
                          <a:pt x="1064" y="126"/>
                        </a:lnTo>
                        <a:lnTo>
                          <a:pt x="1300" y="187"/>
                        </a:lnTo>
                        <a:lnTo>
                          <a:pt x="1531" y="259"/>
                        </a:lnTo>
                        <a:lnTo>
                          <a:pt x="1757" y="343"/>
                        </a:lnTo>
                        <a:lnTo>
                          <a:pt x="1977" y="437"/>
                        </a:lnTo>
                        <a:lnTo>
                          <a:pt x="2192" y="541"/>
                        </a:lnTo>
                        <a:lnTo>
                          <a:pt x="2401" y="656"/>
                        </a:lnTo>
                        <a:lnTo>
                          <a:pt x="2604" y="779"/>
                        </a:lnTo>
                        <a:lnTo>
                          <a:pt x="2800" y="912"/>
                        </a:lnTo>
                        <a:lnTo>
                          <a:pt x="2990" y="1054"/>
                        </a:lnTo>
                        <a:lnTo>
                          <a:pt x="3171" y="1205"/>
                        </a:lnTo>
                        <a:lnTo>
                          <a:pt x="3345" y="1364"/>
                        </a:lnTo>
                        <a:lnTo>
                          <a:pt x="3512" y="1531"/>
                        </a:lnTo>
                        <a:lnTo>
                          <a:pt x="3670" y="1706"/>
                        </a:lnTo>
                        <a:lnTo>
                          <a:pt x="3821" y="1889"/>
                        </a:lnTo>
                        <a:lnTo>
                          <a:pt x="3962" y="2078"/>
                        </a:lnTo>
                        <a:lnTo>
                          <a:pt x="4094" y="2275"/>
                        </a:lnTo>
                        <a:lnTo>
                          <a:pt x="4217" y="2476"/>
                        </a:lnTo>
                        <a:lnTo>
                          <a:pt x="4330" y="2686"/>
                        </a:lnTo>
                        <a:lnTo>
                          <a:pt x="4434" y="2900"/>
                        </a:lnTo>
                        <a:lnTo>
                          <a:pt x="4526" y="3120"/>
                        </a:lnTo>
                        <a:lnTo>
                          <a:pt x="4609" y="3346"/>
                        </a:lnTo>
                        <a:lnTo>
                          <a:pt x="4680" y="3576"/>
                        </a:lnTo>
                        <a:lnTo>
                          <a:pt x="4741" y="3810"/>
                        </a:lnTo>
                        <a:lnTo>
                          <a:pt x="4790" y="4049"/>
                        </a:lnTo>
                        <a:lnTo>
                          <a:pt x="4827" y="4291"/>
                        </a:lnTo>
                        <a:lnTo>
                          <a:pt x="4852" y="4538"/>
                        </a:lnTo>
                        <a:lnTo>
                          <a:pt x="4865" y="4787"/>
                        </a:lnTo>
                        <a:lnTo>
                          <a:pt x="4865" y="5039"/>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Arial" pitchFamily="34" charset="0"/>
                      <a:cs typeface="Arial" pitchFamily="34" charset="0"/>
                    </a:endParaRPr>
                  </a:p>
                </p:txBody>
              </p:sp>
            </p:grpSp>
          </p:grpSp>
          <p:grpSp>
            <p:nvGrpSpPr>
              <p:cNvPr id="28" name="组合 42"/>
              <p:cNvGrpSpPr/>
              <p:nvPr/>
            </p:nvGrpSpPr>
            <p:grpSpPr>
              <a:xfrm>
                <a:off x="10001442" y="4289297"/>
                <a:ext cx="950912" cy="600739"/>
                <a:chOff x="5883749" y="2209799"/>
                <a:chExt cx="950912" cy="600739"/>
              </a:xfrm>
              <a:solidFill>
                <a:srgbClr val="00B0F0"/>
              </a:solidFill>
            </p:grpSpPr>
            <p:sp>
              <p:nvSpPr>
                <p:cNvPr id="44" name="Freeform 62"/>
                <p:cNvSpPr>
                  <a:spLocks/>
                </p:cNvSpPr>
                <p:nvPr/>
              </p:nvSpPr>
              <p:spPr bwMode="auto">
                <a:xfrm>
                  <a:off x="5915005" y="2330606"/>
                  <a:ext cx="756161" cy="461262"/>
                </a:xfrm>
                <a:custGeom>
                  <a:avLst/>
                  <a:gdLst/>
                  <a:ahLst/>
                  <a:cxnLst>
                    <a:cxn ang="0">
                      <a:pos x="260" y="2202"/>
                    </a:cxn>
                    <a:cxn ang="0">
                      <a:pos x="2143" y="2202"/>
                    </a:cxn>
                    <a:cxn ang="0">
                      <a:pos x="2143" y="619"/>
                    </a:cxn>
                    <a:cxn ang="0">
                      <a:pos x="2718" y="619"/>
                    </a:cxn>
                    <a:cxn ang="0">
                      <a:pos x="2718" y="2202"/>
                    </a:cxn>
                    <a:cxn ang="0">
                      <a:pos x="4314" y="2202"/>
                    </a:cxn>
                    <a:cxn ang="0">
                      <a:pos x="4314" y="2274"/>
                    </a:cxn>
                    <a:cxn ang="0">
                      <a:pos x="4314" y="2777"/>
                    </a:cxn>
                    <a:cxn ang="0">
                      <a:pos x="4314" y="5752"/>
                    </a:cxn>
                    <a:cxn ang="0">
                      <a:pos x="8420" y="5752"/>
                    </a:cxn>
                    <a:cxn ang="0">
                      <a:pos x="9343" y="4844"/>
                    </a:cxn>
                    <a:cxn ang="0">
                      <a:pos x="4574" y="0"/>
                    </a:cxn>
                    <a:cxn ang="0">
                      <a:pos x="5381" y="0"/>
                    </a:cxn>
                    <a:cxn ang="0">
                      <a:pos x="7501" y="2152"/>
                    </a:cxn>
                    <a:cxn ang="0">
                      <a:pos x="9202" y="441"/>
                    </a:cxn>
                    <a:cxn ang="0">
                      <a:pos x="10012" y="441"/>
                    </a:cxn>
                    <a:cxn ang="0">
                      <a:pos x="7904" y="2562"/>
                    </a:cxn>
                    <a:cxn ang="0">
                      <a:pos x="9753" y="4441"/>
                    </a:cxn>
                    <a:cxn ang="0">
                      <a:pos x="13116" y="1133"/>
                    </a:cxn>
                    <a:cxn ang="0">
                      <a:pos x="13116" y="1859"/>
                    </a:cxn>
                    <a:cxn ang="0">
                      <a:pos x="13199" y="1859"/>
                    </a:cxn>
                    <a:cxn ang="0">
                      <a:pos x="9240" y="5752"/>
                    </a:cxn>
                    <a:cxn ang="0">
                      <a:pos x="12624" y="5752"/>
                    </a:cxn>
                    <a:cxn ang="0">
                      <a:pos x="12624" y="6327"/>
                    </a:cxn>
                    <a:cxn ang="0">
                      <a:pos x="8656" y="6327"/>
                    </a:cxn>
                    <a:cxn ang="0">
                      <a:pos x="6127" y="8815"/>
                    </a:cxn>
                    <a:cxn ang="0">
                      <a:pos x="5724" y="8405"/>
                    </a:cxn>
                    <a:cxn ang="0">
                      <a:pos x="7835" y="6327"/>
                    </a:cxn>
                    <a:cxn ang="0">
                      <a:pos x="4314" y="6327"/>
                    </a:cxn>
                    <a:cxn ang="0">
                      <a:pos x="3825" y="6327"/>
                    </a:cxn>
                    <a:cxn ang="0">
                      <a:pos x="3739" y="6327"/>
                    </a:cxn>
                    <a:cxn ang="0">
                      <a:pos x="3739" y="2777"/>
                    </a:cxn>
                    <a:cxn ang="0">
                      <a:pos x="2718" y="2777"/>
                    </a:cxn>
                    <a:cxn ang="0">
                      <a:pos x="2718" y="7433"/>
                    </a:cxn>
                    <a:cxn ang="0">
                      <a:pos x="2617" y="7433"/>
                    </a:cxn>
                    <a:cxn ang="0">
                      <a:pos x="2143" y="7433"/>
                    </a:cxn>
                    <a:cxn ang="0">
                      <a:pos x="0" y="7433"/>
                    </a:cxn>
                    <a:cxn ang="0">
                      <a:pos x="0" y="6858"/>
                    </a:cxn>
                    <a:cxn ang="0">
                      <a:pos x="2143" y="6858"/>
                    </a:cxn>
                    <a:cxn ang="0">
                      <a:pos x="2143" y="2777"/>
                    </a:cxn>
                    <a:cxn ang="0">
                      <a:pos x="260" y="2777"/>
                    </a:cxn>
                    <a:cxn ang="0">
                      <a:pos x="260" y="2202"/>
                    </a:cxn>
                  </a:cxnLst>
                  <a:rect l="0" t="0" r="r" b="b"/>
                  <a:pathLst>
                    <a:path w="13199" h="8815">
                      <a:moveTo>
                        <a:pt x="260" y="2202"/>
                      </a:moveTo>
                      <a:lnTo>
                        <a:pt x="2143" y="2202"/>
                      </a:lnTo>
                      <a:lnTo>
                        <a:pt x="2143" y="619"/>
                      </a:lnTo>
                      <a:lnTo>
                        <a:pt x="2718" y="619"/>
                      </a:lnTo>
                      <a:lnTo>
                        <a:pt x="2718" y="2202"/>
                      </a:lnTo>
                      <a:lnTo>
                        <a:pt x="4314" y="2202"/>
                      </a:lnTo>
                      <a:lnTo>
                        <a:pt x="4314" y="2274"/>
                      </a:lnTo>
                      <a:lnTo>
                        <a:pt x="4314" y="2777"/>
                      </a:lnTo>
                      <a:lnTo>
                        <a:pt x="4314" y="5752"/>
                      </a:lnTo>
                      <a:lnTo>
                        <a:pt x="8420" y="5752"/>
                      </a:lnTo>
                      <a:lnTo>
                        <a:pt x="9343" y="4844"/>
                      </a:lnTo>
                      <a:lnTo>
                        <a:pt x="4574" y="0"/>
                      </a:lnTo>
                      <a:lnTo>
                        <a:pt x="5381" y="0"/>
                      </a:lnTo>
                      <a:lnTo>
                        <a:pt x="7501" y="2152"/>
                      </a:lnTo>
                      <a:lnTo>
                        <a:pt x="9202" y="441"/>
                      </a:lnTo>
                      <a:lnTo>
                        <a:pt x="10012" y="441"/>
                      </a:lnTo>
                      <a:lnTo>
                        <a:pt x="7904" y="2562"/>
                      </a:lnTo>
                      <a:lnTo>
                        <a:pt x="9753" y="4441"/>
                      </a:lnTo>
                      <a:lnTo>
                        <a:pt x="13116" y="1133"/>
                      </a:lnTo>
                      <a:lnTo>
                        <a:pt x="13116" y="1859"/>
                      </a:lnTo>
                      <a:lnTo>
                        <a:pt x="13199" y="1859"/>
                      </a:lnTo>
                      <a:lnTo>
                        <a:pt x="9240" y="5752"/>
                      </a:lnTo>
                      <a:lnTo>
                        <a:pt x="12624" y="5752"/>
                      </a:lnTo>
                      <a:lnTo>
                        <a:pt x="12624" y="6327"/>
                      </a:lnTo>
                      <a:lnTo>
                        <a:pt x="8656" y="6327"/>
                      </a:lnTo>
                      <a:lnTo>
                        <a:pt x="6127" y="8815"/>
                      </a:lnTo>
                      <a:lnTo>
                        <a:pt x="5724" y="8405"/>
                      </a:lnTo>
                      <a:lnTo>
                        <a:pt x="7835" y="6327"/>
                      </a:lnTo>
                      <a:lnTo>
                        <a:pt x="4314" y="6327"/>
                      </a:lnTo>
                      <a:lnTo>
                        <a:pt x="3825" y="6327"/>
                      </a:lnTo>
                      <a:lnTo>
                        <a:pt x="3739" y="6327"/>
                      </a:lnTo>
                      <a:lnTo>
                        <a:pt x="3739" y="2777"/>
                      </a:lnTo>
                      <a:lnTo>
                        <a:pt x="2718" y="2777"/>
                      </a:lnTo>
                      <a:lnTo>
                        <a:pt x="2718" y="7433"/>
                      </a:lnTo>
                      <a:lnTo>
                        <a:pt x="2617" y="7433"/>
                      </a:lnTo>
                      <a:lnTo>
                        <a:pt x="2143" y="7433"/>
                      </a:lnTo>
                      <a:lnTo>
                        <a:pt x="0" y="7433"/>
                      </a:lnTo>
                      <a:lnTo>
                        <a:pt x="0" y="6858"/>
                      </a:lnTo>
                      <a:lnTo>
                        <a:pt x="2143" y="6858"/>
                      </a:lnTo>
                      <a:lnTo>
                        <a:pt x="2143" y="2777"/>
                      </a:lnTo>
                      <a:lnTo>
                        <a:pt x="260" y="2777"/>
                      </a:lnTo>
                      <a:lnTo>
                        <a:pt x="260" y="220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45" name="Freeform 63"/>
                <p:cNvSpPr>
                  <a:spLocks/>
                </p:cNvSpPr>
                <p:nvPr/>
              </p:nvSpPr>
              <p:spPr bwMode="auto">
                <a:xfrm>
                  <a:off x="6665156" y="2249336"/>
                  <a:ext cx="126227" cy="120807"/>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46" name="Freeform 64"/>
                <p:cNvSpPr>
                  <a:spLocks/>
                </p:cNvSpPr>
                <p:nvPr/>
              </p:nvSpPr>
              <p:spPr bwMode="auto">
                <a:xfrm>
                  <a:off x="6666358" y="2209799"/>
                  <a:ext cx="168303" cy="161441"/>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47" name="Freeform 65"/>
                <p:cNvSpPr>
                  <a:spLocks noEditPoints="1"/>
                </p:cNvSpPr>
                <p:nvPr/>
              </p:nvSpPr>
              <p:spPr bwMode="auto">
                <a:xfrm>
                  <a:off x="5883749" y="2315230"/>
                  <a:ext cx="815068" cy="495308"/>
                </a:xfrm>
                <a:custGeom>
                  <a:avLst/>
                  <a:gdLst/>
                  <a:ahLst/>
                  <a:cxnLst>
                    <a:cxn ang="0">
                      <a:pos x="13800" y="1"/>
                    </a:cxn>
                    <a:cxn ang="0">
                      <a:pos x="13870" y="11"/>
                    </a:cxn>
                    <a:cxn ang="0">
                      <a:pos x="13938" y="29"/>
                    </a:cxn>
                    <a:cxn ang="0">
                      <a:pos x="14000" y="58"/>
                    </a:cxn>
                    <a:cxn ang="0">
                      <a:pos x="14057" y="95"/>
                    </a:cxn>
                    <a:cxn ang="0">
                      <a:pos x="14109" y="139"/>
                    </a:cxn>
                    <a:cxn ang="0">
                      <a:pos x="14154" y="190"/>
                    </a:cxn>
                    <a:cxn ang="0">
                      <a:pos x="14190" y="248"/>
                    </a:cxn>
                    <a:cxn ang="0">
                      <a:pos x="14219" y="311"/>
                    </a:cxn>
                    <a:cxn ang="0">
                      <a:pos x="14238" y="378"/>
                    </a:cxn>
                    <a:cxn ang="0">
                      <a:pos x="14247" y="449"/>
                    </a:cxn>
                    <a:cxn ang="0">
                      <a:pos x="14247" y="9034"/>
                    </a:cxn>
                    <a:cxn ang="0">
                      <a:pos x="14238" y="9104"/>
                    </a:cxn>
                    <a:cxn ang="0">
                      <a:pos x="14219" y="9171"/>
                    </a:cxn>
                    <a:cxn ang="0">
                      <a:pos x="14190" y="9234"/>
                    </a:cxn>
                    <a:cxn ang="0">
                      <a:pos x="14154" y="9291"/>
                    </a:cxn>
                    <a:cxn ang="0">
                      <a:pos x="14109" y="9343"/>
                    </a:cxn>
                    <a:cxn ang="0">
                      <a:pos x="14057" y="9387"/>
                    </a:cxn>
                    <a:cxn ang="0">
                      <a:pos x="14000" y="9424"/>
                    </a:cxn>
                    <a:cxn ang="0">
                      <a:pos x="13938" y="9452"/>
                    </a:cxn>
                    <a:cxn ang="0">
                      <a:pos x="13870" y="9472"/>
                    </a:cxn>
                    <a:cxn ang="0">
                      <a:pos x="13800" y="9480"/>
                    </a:cxn>
                    <a:cxn ang="0">
                      <a:pos x="447" y="9480"/>
                    </a:cxn>
                    <a:cxn ang="0">
                      <a:pos x="377" y="9472"/>
                    </a:cxn>
                    <a:cxn ang="0">
                      <a:pos x="309" y="9452"/>
                    </a:cxn>
                    <a:cxn ang="0">
                      <a:pos x="247" y="9424"/>
                    </a:cxn>
                    <a:cxn ang="0">
                      <a:pos x="190" y="9387"/>
                    </a:cxn>
                    <a:cxn ang="0">
                      <a:pos x="138" y="9343"/>
                    </a:cxn>
                    <a:cxn ang="0">
                      <a:pos x="93" y="9291"/>
                    </a:cxn>
                    <a:cxn ang="0">
                      <a:pos x="57" y="9234"/>
                    </a:cxn>
                    <a:cxn ang="0">
                      <a:pos x="29" y="9171"/>
                    </a:cxn>
                    <a:cxn ang="0">
                      <a:pos x="9" y="9104"/>
                    </a:cxn>
                    <a:cxn ang="0">
                      <a:pos x="1" y="9034"/>
                    </a:cxn>
                    <a:cxn ang="0">
                      <a:pos x="1" y="449"/>
                    </a:cxn>
                    <a:cxn ang="0">
                      <a:pos x="9" y="378"/>
                    </a:cxn>
                    <a:cxn ang="0">
                      <a:pos x="29" y="311"/>
                    </a:cxn>
                    <a:cxn ang="0">
                      <a:pos x="57" y="248"/>
                    </a:cxn>
                    <a:cxn ang="0">
                      <a:pos x="93" y="190"/>
                    </a:cxn>
                    <a:cxn ang="0">
                      <a:pos x="138" y="139"/>
                    </a:cxn>
                    <a:cxn ang="0">
                      <a:pos x="190" y="95"/>
                    </a:cxn>
                    <a:cxn ang="0">
                      <a:pos x="247" y="58"/>
                    </a:cxn>
                    <a:cxn ang="0">
                      <a:pos x="309" y="29"/>
                    </a:cxn>
                    <a:cxn ang="0">
                      <a:pos x="377" y="11"/>
                    </a:cxn>
                    <a:cxn ang="0">
                      <a:pos x="447" y="1"/>
                    </a:cxn>
                    <a:cxn ang="0">
                      <a:pos x="12797" y="1205"/>
                    </a:cxn>
                    <a:cxn ang="0">
                      <a:pos x="1451" y="1205"/>
                    </a:cxn>
                  </a:cxnLst>
                  <a:rect l="0" t="0" r="r" b="b"/>
                  <a:pathLst>
                    <a:path w="14247" h="9481">
                      <a:moveTo>
                        <a:pt x="471" y="0"/>
                      </a:moveTo>
                      <a:lnTo>
                        <a:pt x="13776" y="0"/>
                      </a:lnTo>
                      <a:lnTo>
                        <a:pt x="13800" y="1"/>
                      </a:lnTo>
                      <a:lnTo>
                        <a:pt x="13823" y="3"/>
                      </a:lnTo>
                      <a:lnTo>
                        <a:pt x="13847" y="7"/>
                      </a:lnTo>
                      <a:lnTo>
                        <a:pt x="13870" y="11"/>
                      </a:lnTo>
                      <a:lnTo>
                        <a:pt x="13893" y="16"/>
                      </a:lnTo>
                      <a:lnTo>
                        <a:pt x="13916" y="22"/>
                      </a:lnTo>
                      <a:lnTo>
                        <a:pt x="13938" y="29"/>
                      </a:lnTo>
                      <a:lnTo>
                        <a:pt x="13958" y="38"/>
                      </a:lnTo>
                      <a:lnTo>
                        <a:pt x="13979" y="47"/>
                      </a:lnTo>
                      <a:lnTo>
                        <a:pt x="14000" y="58"/>
                      </a:lnTo>
                      <a:lnTo>
                        <a:pt x="14020" y="70"/>
                      </a:lnTo>
                      <a:lnTo>
                        <a:pt x="14038" y="81"/>
                      </a:lnTo>
                      <a:lnTo>
                        <a:pt x="14057" y="95"/>
                      </a:lnTo>
                      <a:lnTo>
                        <a:pt x="14075" y="109"/>
                      </a:lnTo>
                      <a:lnTo>
                        <a:pt x="14092" y="124"/>
                      </a:lnTo>
                      <a:lnTo>
                        <a:pt x="14109" y="139"/>
                      </a:lnTo>
                      <a:lnTo>
                        <a:pt x="14125" y="156"/>
                      </a:lnTo>
                      <a:lnTo>
                        <a:pt x="14139" y="173"/>
                      </a:lnTo>
                      <a:lnTo>
                        <a:pt x="14154" y="190"/>
                      </a:lnTo>
                      <a:lnTo>
                        <a:pt x="14166" y="209"/>
                      </a:lnTo>
                      <a:lnTo>
                        <a:pt x="14179" y="229"/>
                      </a:lnTo>
                      <a:lnTo>
                        <a:pt x="14190" y="248"/>
                      </a:lnTo>
                      <a:lnTo>
                        <a:pt x="14200" y="268"/>
                      </a:lnTo>
                      <a:lnTo>
                        <a:pt x="14210" y="289"/>
                      </a:lnTo>
                      <a:lnTo>
                        <a:pt x="14219" y="311"/>
                      </a:lnTo>
                      <a:lnTo>
                        <a:pt x="14226" y="333"/>
                      </a:lnTo>
                      <a:lnTo>
                        <a:pt x="14233" y="355"/>
                      </a:lnTo>
                      <a:lnTo>
                        <a:pt x="14238" y="378"/>
                      </a:lnTo>
                      <a:lnTo>
                        <a:pt x="14242" y="401"/>
                      </a:lnTo>
                      <a:lnTo>
                        <a:pt x="14245" y="425"/>
                      </a:lnTo>
                      <a:lnTo>
                        <a:pt x="14247" y="449"/>
                      </a:lnTo>
                      <a:lnTo>
                        <a:pt x="14247" y="473"/>
                      </a:lnTo>
                      <a:lnTo>
                        <a:pt x="14247" y="9010"/>
                      </a:lnTo>
                      <a:lnTo>
                        <a:pt x="14247" y="9034"/>
                      </a:lnTo>
                      <a:lnTo>
                        <a:pt x="14245" y="9058"/>
                      </a:lnTo>
                      <a:lnTo>
                        <a:pt x="14242" y="9081"/>
                      </a:lnTo>
                      <a:lnTo>
                        <a:pt x="14238" y="9104"/>
                      </a:lnTo>
                      <a:lnTo>
                        <a:pt x="14233" y="9127"/>
                      </a:lnTo>
                      <a:lnTo>
                        <a:pt x="14226" y="9149"/>
                      </a:lnTo>
                      <a:lnTo>
                        <a:pt x="14219" y="9171"/>
                      </a:lnTo>
                      <a:lnTo>
                        <a:pt x="14210" y="9192"/>
                      </a:lnTo>
                      <a:lnTo>
                        <a:pt x="14200" y="9213"/>
                      </a:lnTo>
                      <a:lnTo>
                        <a:pt x="14190" y="9234"/>
                      </a:lnTo>
                      <a:lnTo>
                        <a:pt x="14179" y="9254"/>
                      </a:lnTo>
                      <a:lnTo>
                        <a:pt x="14166" y="9272"/>
                      </a:lnTo>
                      <a:lnTo>
                        <a:pt x="14154" y="9291"/>
                      </a:lnTo>
                      <a:lnTo>
                        <a:pt x="14139" y="9309"/>
                      </a:lnTo>
                      <a:lnTo>
                        <a:pt x="14125" y="9326"/>
                      </a:lnTo>
                      <a:lnTo>
                        <a:pt x="14109" y="9343"/>
                      </a:lnTo>
                      <a:lnTo>
                        <a:pt x="14092" y="9359"/>
                      </a:lnTo>
                      <a:lnTo>
                        <a:pt x="14075" y="9373"/>
                      </a:lnTo>
                      <a:lnTo>
                        <a:pt x="14057" y="9387"/>
                      </a:lnTo>
                      <a:lnTo>
                        <a:pt x="14038" y="9400"/>
                      </a:lnTo>
                      <a:lnTo>
                        <a:pt x="14020" y="9412"/>
                      </a:lnTo>
                      <a:lnTo>
                        <a:pt x="14000" y="9424"/>
                      </a:lnTo>
                      <a:lnTo>
                        <a:pt x="13979" y="9434"/>
                      </a:lnTo>
                      <a:lnTo>
                        <a:pt x="13958" y="9444"/>
                      </a:lnTo>
                      <a:lnTo>
                        <a:pt x="13938" y="9452"/>
                      </a:lnTo>
                      <a:lnTo>
                        <a:pt x="13916" y="9460"/>
                      </a:lnTo>
                      <a:lnTo>
                        <a:pt x="13893" y="9466"/>
                      </a:lnTo>
                      <a:lnTo>
                        <a:pt x="13870" y="9472"/>
                      </a:lnTo>
                      <a:lnTo>
                        <a:pt x="13847" y="9476"/>
                      </a:lnTo>
                      <a:lnTo>
                        <a:pt x="13823" y="9479"/>
                      </a:lnTo>
                      <a:lnTo>
                        <a:pt x="13800" y="9480"/>
                      </a:lnTo>
                      <a:lnTo>
                        <a:pt x="13776" y="9481"/>
                      </a:lnTo>
                      <a:lnTo>
                        <a:pt x="471" y="9481"/>
                      </a:lnTo>
                      <a:lnTo>
                        <a:pt x="447" y="9480"/>
                      </a:lnTo>
                      <a:lnTo>
                        <a:pt x="424" y="9479"/>
                      </a:lnTo>
                      <a:lnTo>
                        <a:pt x="400" y="9476"/>
                      </a:lnTo>
                      <a:lnTo>
                        <a:pt x="377" y="9472"/>
                      </a:lnTo>
                      <a:lnTo>
                        <a:pt x="354" y="9466"/>
                      </a:lnTo>
                      <a:lnTo>
                        <a:pt x="332" y="9460"/>
                      </a:lnTo>
                      <a:lnTo>
                        <a:pt x="309" y="9452"/>
                      </a:lnTo>
                      <a:lnTo>
                        <a:pt x="289" y="9444"/>
                      </a:lnTo>
                      <a:lnTo>
                        <a:pt x="268" y="9434"/>
                      </a:lnTo>
                      <a:lnTo>
                        <a:pt x="247" y="9424"/>
                      </a:lnTo>
                      <a:lnTo>
                        <a:pt x="227" y="9412"/>
                      </a:lnTo>
                      <a:lnTo>
                        <a:pt x="209" y="9400"/>
                      </a:lnTo>
                      <a:lnTo>
                        <a:pt x="190" y="9387"/>
                      </a:lnTo>
                      <a:lnTo>
                        <a:pt x="172" y="9373"/>
                      </a:lnTo>
                      <a:lnTo>
                        <a:pt x="155" y="9359"/>
                      </a:lnTo>
                      <a:lnTo>
                        <a:pt x="138" y="9343"/>
                      </a:lnTo>
                      <a:lnTo>
                        <a:pt x="123" y="9326"/>
                      </a:lnTo>
                      <a:lnTo>
                        <a:pt x="108" y="9309"/>
                      </a:lnTo>
                      <a:lnTo>
                        <a:pt x="93" y="9291"/>
                      </a:lnTo>
                      <a:lnTo>
                        <a:pt x="81" y="9272"/>
                      </a:lnTo>
                      <a:lnTo>
                        <a:pt x="69" y="9254"/>
                      </a:lnTo>
                      <a:lnTo>
                        <a:pt x="57" y="9234"/>
                      </a:lnTo>
                      <a:lnTo>
                        <a:pt x="47" y="9213"/>
                      </a:lnTo>
                      <a:lnTo>
                        <a:pt x="37" y="9192"/>
                      </a:lnTo>
                      <a:lnTo>
                        <a:pt x="29" y="9171"/>
                      </a:lnTo>
                      <a:lnTo>
                        <a:pt x="21" y="9149"/>
                      </a:lnTo>
                      <a:lnTo>
                        <a:pt x="15" y="9127"/>
                      </a:lnTo>
                      <a:lnTo>
                        <a:pt x="9" y="9104"/>
                      </a:lnTo>
                      <a:lnTo>
                        <a:pt x="5" y="9081"/>
                      </a:lnTo>
                      <a:lnTo>
                        <a:pt x="2" y="9058"/>
                      </a:lnTo>
                      <a:lnTo>
                        <a:pt x="1" y="9034"/>
                      </a:lnTo>
                      <a:lnTo>
                        <a:pt x="0" y="9010"/>
                      </a:lnTo>
                      <a:lnTo>
                        <a:pt x="0" y="473"/>
                      </a:lnTo>
                      <a:lnTo>
                        <a:pt x="1" y="449"/>
                      </a:lnTo>
                      <a:lnTo>
                        <a:pt x="2" y="425"/>
                      </a:lnTo>
                      <a:lnTo>
                        <a:pt x="5" y="401"/>
                      </a:lnTo>
                      <a:lnTo>
                        <a:pt x="9" y="378"/>
                      </a:lnTo>
                      <a:lnTo>
                        <a:pt x="15" y="355"/>
                      </a:lnTo>
                      <a:lnTo>
                        <a:pt x="21" y="333"/>
                      </a:lnTo>
                      <a:lnTo>
                        <a:pt x="29" y="311"/>
                      </a:lnTo>
                      <a:lnTo>
                        <a:pt x="37" y="289"/>
                      </a:lnTo>
                      <a:lnTo>
                        <a:pt x="47" y="268"/>
                      </a:lnTo>
                      <a:lnTo>
                        <a:pt x="57" y="248"/>
                      </a:lnTo>
                      <a:lnTo>
                        <a:pt x="69" y="229"/>
                      </a:lnTo>
                      <a:lnTo>
                        <a:pt x="81" y="209"/>
                      </a:lnTo>
                      <a:lnTo>
                        <a:pt x="93" y="190"/>
                      </a:lnTo>
                      <a:lnTo>
                        <a:pt x="108" y="173"/>
                      </a:lnTo>
                      <a:lnTo>
                        <a:pt x="123" y="156"/>
                      </a:lnTo>
                      <a:lnTo>
                        <a:pt x="138" y="139"/>
                      </a:lnTo>
                      <a:lnTo>
                        <a:pt x="155" y="124"/>
                      </a:lnTo>
                      <a:lnTo>
                        <a:pt x="172" y="109"/>
                      </a:lnTo>
                      <a:lnTo>
                        <a:pt x="190" y="95"/>
                      </a:lnTo>
                      <a:lnTo>
                        <a:pt x="209" y="81"/>
                      </a:lnTo>
                      <a:lnTo>
                        <a:pt x="227" y="70"/>
                      </a:lnTo>
                      <a:lnTo>
                        <a:pt x="247" y="58"/>
                      </a:lnTo>
                      <a:lnTo>
                        <a:pt x="268" y="47"/>
                      </a:lnTo>
                      <a:lnTo>
                        <a:pt x="289" y="38"/>
                      </a:lnTo>
                      <a:lnTo>
                        <a:pt x="309" y="29"/>
                      </a:lnTo>
                      <a:lnTo>
                        <a:pt x="332" y="22"/>
                      </a:lnTo>
                      <a:lnTo>
                        <a:pt x="354" y="16"/>
                      </a:lnTo>
                      <a:lnTo>
                        <a:pt x="377" y="11"/>
                      </a:lnTo>
                      <a:lnTo>
                        <a:pt x="400" y="7"/>
                      </a:lnTo>
                      <a:lnTo>
                        <a:pt x="424" y="3"/>
                      </a:lnTo>
                      <a:lnTo>
                        <a:pt x="447" y="1"/>
                      </a:lnTo>
                      <a:lnTo>
                        <a:pt x="471" y="0"/>
                      </a:lnTo>
                      <a:close/>
                      <a:moveTo>
                        <a:pt x="1451" y="1205"/>
                      </a:moveTo>
                      <a:lnTo>
                        <a:pt x="12797" y="1205"/>
                      </a:lnTo>
                      <a:lnTo>
                        <a:pt x="12797" y="8276"/>
                      </a:lnTo>
                      <a:lnTo>
                        <a:pt x="1451" y="8276"/>
                      </a:lnTo>
                      <a:lnTo>
                        <a:pt x="1451" y="1205"/>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48" name="Freeform 66"/>
                <p:cNvSpPr>
                  <a:spLocks noEditPoints="1"/>
                </p:cNvSpPr>
                <p:nvPr/>
              </p:nvSpPr>
              <p:spPr bwMode="auto">
                <a:xfrm>
                  <a:off x="6183088" y="2464592"/>
                  <a:ext cx="113003" cy="153754"/>
                </a:xfrm>
                <a:custGeom>
                  <a:avLst/>
                  <a:gdLst/>
                  <a:ahLst/>
                  <a:cxnLst>
                    <a:cxn ang="0">
                      <a:pos x="1143" y="12"/>
                    </a:cxn>
                    <a:cxn ang="0">
                      <a:pos x="1333" y="61"/>
                    </a:cxn>
                    <a:cxn ang="0">
                      <a:pos x="1506" y="145"/>
                    </a:cxn>
                    <a:cxn ang="0">
                      <a:pos x="1659" y="259"/>
                    </a:cxn>
                    <a:cxn ang="0">
                      <a:pos x="1787" y="399"/>
                    </a:cxn>
                    <a:cxn ang="0">
                      <a:pos x="1887" y="563"/>
                    </a:cxn>
                    <a:cxn ang="0">
                      <a:pos x="1953" y="745"/>
                    </a:cxn>
                    <a:cxn ang="0">
                      <a:pos x="1983" y="942"/>
                    </a:cxn>
                    <a:cxn ang="0">
                      <a:pos x="1977" y="1112"/>
                    </a:cxn>
                    <a:cxn ang="0">
                      <a:pos x="1946" y="1265"/>
                    </a:cxn>
                    <a:cxn ang="0">
                      <a:pos x="1893" y="1408"/>
                    </a:cxn>
                    <a:cxn ang="0">
                      <a:pos x="1818" y="1540"/>
                    </a:cxn>
                    <a:cxn ang="0">
                      <a:pos x="202" y="1591"/>
                    </a:cxn>
                    <a:cxn ang="0">
                      <a:pos x="118" y="1458"/>
                    </a:cxn>
                    <a:cxn ang="0">
                      <a:pos x="53" y="1312"/>
                    </a:cxn>
                    <a:cxn ang="0">
                      <a:pos x="14" y="1157"/>
                    </a:cxn>
                    <a:cxn ang="0">
                      <a:pos x="0" y="993"/>
                    </a:cxn>
                    <a:cxn ang="0">
                      <a:pos x="20" y="792"/>
                    </a:cxn>
                    <a:cxn ang="0">
                      <a:pos x="78" y="607"/>
                    </a:cxn>
                    <a:cxn ang="0">
                      <a:pos x="170" y="438"/>
                    </a:cxn>
                    <a:cxn ang="0">
                      <a:pos x="291" y="291"/>
                    </a:cxn>
                    <a:cxn ang="0">
                      <a:pos x="438" y="170"/>
                    </a:cxn>
                    <a:cxn ang="0">
                      <a:pos x="607" y="78"/>
                    </a:cxn>
                    <a:cxn ang="0">
                      <a:pos x="792" y="20"/>
                    </a:cxn>
                    <a:cxn ang="0">
                      <a:pos x="993" y="0"/>
                    </a:cxn>
                    <a:cxn ang="0">
                      <a:pos x="1079" y="428"/>
                    </a:cxn>
                    <a:cxn ang="0">
                      <a:pos x="1188" y="456"/>
                    </a:cxn>
                    <a:cxn ang="0">
                      <a:pos x="1289" y="504"/>
                    </a:cxn>
                    <a:cxn ang="0">
                      <a:pos x="1376" y="570"/>
                    </a:cxn>
                    <a:cxn ang="0">
                      <a:pos x="1450" y="651"/>
                    </a:cxn>
                    <a:cxn ang="0">
                      <a:pos x="1507" y="745"/>
                    </a:cxn>
                    <a:cxn ang="0">
                      <a:pos x="1545" y="850"/>
                    </a:cxn>
                    <a:cxn ang="0">
                      <a:pos x="1563" y="963"/>
                    </a:cxn>
                    <a:cxn ang="0">
                      <a:pos x="1557" y="1079"/>
                    </a:cxn>
                    <a:cxn ang="0">
                      <a:pos x="1529" y="1188"/>
                    </a:cxn>
                    <a:cxn ang="0">
                      <a:pos x="1481" y="1289"/>
                    </a:cxn>
                    <a:cxn ang="0">
                      <a:pos x="1415" y="1376"/>
                    </a:cxn>
                    <a:cxn ang="0">
                      <a:pos x="1333" y="1449"/>
                    </a:cxn>
                    <a:cxn ang="0">
                      <a:pos x="1240" y="1507"/>
                    </a:cxn>
                    <a:cxn ang="0">
                      <a:pos x="1135" y="1545"/>
                    </a:cxn>
                    <a:cxn ang="0">
                      <a:pos x="1022" y="1563"/>
                    </a:cxn>
                    <a:cxn ang="0">
                      <a:pos x="906" y="1556"/>
                    </a:cxn>
                    <a:cxn ang="0">
                      <a:pos x="797" y="1528"/>
                    </a:cxn>
                    <a:cxn ang="0">
                      <a:pos x="697" y="1481"/>
                    </a:cxn>
                    <a:cxn ang="0">
                      <a:pos x="609" y="1415"/>
                    </a:cxn>
                    <a:cxn ang="0">
                      <a:pos x="535" y="1334"/>
                    </a:cxn>
                    <a:cxn ang="0">
                      <a:pos x="478" y="1240"/>
                    </a:cxn>
                    <a:cxn ang="0">
                      <a:pos x="440" y="1135"/>
                    </a:cxn>
                    <a:cxn ang="0">
                      <a:pos x="422" y="1022"/>
                    </a:cxn>
                    <a:cxn ang="0">
                      <a:pos x="428" y="906"/>
                    </a:cxn>
                    <a:cxn ang="0">
                      <a:pos x="456" y="797"/>
                    </a:cxn>
                    <a:cxn ang="0">
                      <a:pos x="504" y="697"/>
                    </a:cxn>
                    <a:cxn ang="0">
                      <a:pos x="570" y="609"/>
                    </a:cxn>
                    <a:cxn ang="0">
                      <a:pos x="651" y="535"/>
                    </a:cxn>
                    <a:cxn ang="0">
                      <a:pos x="745" y="478"/>
                    </a:cxn>
                    <a:cxn ang="0">
                      <a:pos x="850" y="440"/>
                    </a:cxn>
                    <a:cxn ang="0">
                      <a:pos x="963" y="422"/>
                    </a:cxn>
                  </a:cxnLst>
                  <a:rect l="0" t="0" r="r" b="b"/>
                  <a:pathLst>
                    <a:path w="1984" h="2926">
                      <a:moveTo>
                        <a:pt x="993" y="0"/>
                      </a:moveTo>
                      <a:lnTo>
                        <a:pt x="1044" y="2"/>
                      </a:lnTo>
                      <a:lnTo>
                        <a:pt x="1094" y="6"/>
                      </a:lnTo>
                      <a:lnTo>
                        <a:pt x="1143" y="12"/>
                      </a:lnTo>
                      <a:lnTo>
                        <a:pt x="1192" y="20"/>
                      </a:lnTo>
                      <a:lnTo>
                        <a:pt x="1240" y="32"/>
                      </a:lnTo>
                      <a:lnTo>
                        <a:pt x="1287" y="45"/>
                      </a:lnTo>
                      <a:lnTo>
                        <a:pt x="1333" y="61"/>
                      </a:lnTo>
                      <a:lnTo>
                        <a:pt x="1378" y="78"/>
                      </a:lnTo>
                      <a:lnTo>
                        <a:pt x="1422" y="98"/>
                      </a:lnTo>
                      <a:lnTo>
                        <a:pt x="1464" y="121"/>
                      </a:lnTo>
                      <a:lnTo>
                        <a:pt x="1506" y="145"/>
                      </a:lnTo>
                      <a:lnTo>
                        <a:pt x="1546" y="170"/>
                      </a:lnTo>
                      <a:lnTo>
                        <a:pt x="1586" y="198"/>
                      </a:lnTo>
                      <a:lnTo>
                        <a:pt x="1623" y="228"/>
                      </a:lnTo>
                      <a:lnTo>
                        <a:pt x="1659" y="259"/>
                      </a:lnTo>
                      <a:lnTo>
                        <a:pt x="1694" y="291"/>
                      </a:lnTo>
                      <a:lnTo>
                        <a:pt x="1727" y="326"/>
                      </a:lnTo>
                      <a:lnTo>
                        <a:pt x="1758" y="362"/>
                      </a:lnTo>
                      <a:lnTo>
                        <a:pt x="1787" y="399"/>
                      </a:lnTo>
                      <a:lnTo>
                        <a:pt x="1815" y="438"/>
                      </a:lnTo>
                      <a:lnTo>
                        <a:pt x="1841" y="479"/>
                      </a:lnTo>
                      <a:lnTo>
                        <a:pt x="1865" y="520"/>
                      </a:lnTo>
                      <a:lnTo>
                        <a:pt x="1887" y="563"/>
                      </a:lnTo>
                      <a:lnTo>
                        <a:pt x="1906" y="607"/>
                      </a:lnTo>
                      <a:lnTo>
                        <a:pt x="1924" y="652"/>
                      </a:lnTo>
                      <a:lnTo>
                        <a:pt x="1940" y="698"/>
                      </a:lnTo>
                      <a:lnTo>
                        <a:pt x="1953" y="745"/>
                      </a:lnTo>
                      <a:lnTo>
                        <a:pt x="1965" y="792"/>
                      </a:lnTo>
                      <a:lnTo>
                        <a:pt x="1973" y="841"/>
                      </a:lnTo>
                      <a:lnTo>
                        <a:pt x="1979" y="891"/>
                      </a:lnTo>
                      <a:lnTo>
                        <a:pt x="1983" y="942"/>
                      </a:lnTo>
                      <a:lnTo>
                        <a:pt x="1984" y="993"/>
                      </a:lnTo>
                      <a:lnTo>
                        <a:pt x="1984" y="1032"/>
                      </a:lnTo>
                      <a:lnTo>
                        <a:pt x="1981" y="1073"/>
                      </a:lnTo>
                      <a:lnTo>
                        <a:pt x="1977" y="1112"/>
                      </a:lnTo>
                      <a:lnTo>
                        <a:pt x="1972" y="1151"/>
                      </a:lnTo>
                      <a:lnTo>
                        <a:pt x="1965" y="1189"/>
                      </a:lnTo>
                      <a:lnTo>
                        <a:pt x="1956" y="1227"/>
                      </a:lnTo>
                      <a:lnTo>
                        <a:pt x="1946" y="1265"/>
                      </a:lnTo>
                      <a:lnTo>
                        <a:pt x="1936" y="1301"/>
                      </a:lnTo>
                      <a:lnTo>
                        <a:pt x="1922" y="1337"/>
                      </a:lnTo>
                      <a:lnTo>
                        <a:pt x="1909" y="1373"/>
                      </a:lnTo>
                      <a:lnTo>
                        <a:pt x="1893" y="1408"/>
                      </a:lnTo>
                      <a:lnTo>
                        <a:pt x="1876" y="1442"/>
                      </a:lnTo>
                      <a:lnTo>
                        <a:pt x="1859" y="1475"/>
                      </a:lnTo>
                      <a:lnTo>
                        <a:pt x="1839" y="1508"/>
                      </a:lnTo>
                      <a:lnTo>
                        <a:pt x="1818" y="1540"/>
                      </a:lnTo>
                      <a:lnTo>
                        <a:pt x="1797" y="1571"/>
                      </a:lnTo>
                      <a:lnTo>
                        <a:pt x="1023" y="2926"/>
                      </a:lnTo>
                      <a:lnTo>
                        <a:pt x="199" y="1591"/>
                      </a:lnTo>
                      <a:lnTo>
                        <a:pt x="202" y="1591"/>
                      </a:lnTo>
                      <a:lnTo>
                        <a:pt x="179" y="1558"/>
                      </a:lnTo>
                      <a:lnTo>
                        <a:pt x="157" y="1526"/>
                      </a:lnTo>
                      <a:lnTo>
                        <a:pt x="136" y="1492"/>
                      </a:lnTo>
                      <a:lnTo>
                        <a:pt x="118" y="1458"/>
                      </a:lnTo>
                      <a:lnTo>
                        <a:pt x="99" y="1422"/>
                      </a:lnTo>
                      <a:lnTo>
                        <a:pt x="82" y="1387"/>
                      </a:lnTo>
                      <a:lnTo>
                        <a:pt x="68" y="1351"/>
                      </a:lnTo>
                      <a:lnTo>
                        <a:pt x="53" y="1312"/>
                      </a:lnTo>
                      <a:lnTo>
                        <a:pt x="42" y="1275"/>
                      </a:lnTo>
                      <a:lnTo>
                        <a:pt x="30" y="1237"/>
                      </a:lnTo>
                      <a:lnTo>
                        <a:pt x="21" y="1197"/>
                      </a:lnTo>
                      <a:lnTo>
                        <a:pt x="14" y="1157"/>
                      </a:lnTo>
                      <a:lnTo>
                        <a:pt x="8" y="1116"/>
                      </a:lnTo>
                      <a:lnTo>
                        <a:pt x="3" y="1076"/>
                      </a:lnTo>
                      <a:lnTo>
                        <a:pt x="1" y="1034"/>
                      </a:lnTo>
                      <a:lnTo>
                        <a:pt x="0" y="993"/>
                      </a:lnTo>
                      <a:lnTo>
                        <a:pt x="1" y="942"/>
                      </a:lnTo>
                      <a:lnTo>
                        <a:pt x="6" y="891"/>
                      </a:lnTo>
                      <a:lnTo>
                        <a:pt x="12" y="841"/>
                      </a:lnTo>
                      <a:lnTo>
                        <a:pt x="20" y="792"/>
                      </a:lnTo>
                      <a:lnTo>
                        <a:pt x="31" y="745"/>
                      </a:lnTo>
                      <a:lnTo>
                        <a:pt x="45" y="698"/>
                      </a:lnTo>
                      <a:lnTo>
                        <a:pt x="61" y="652"/>
                      </a:lnTo>
                      <a:lnTo>
                        <a:pt x="78" y="607"/>
                      </a:lnTo>
                      <a:lnTo>
                        <a:pt x="98" y="563"/>
                      </a:lnTo>
                      <a:lnTo>
                        <a:pt x="120" y="520"/>
                      </a:lnTo>
                      <a:lnTo>
                        <a:pt x="144" y="479"/>
                      </a:lnTo>
                      <a:lnTo>
                        <a:pt x="170" y="438"/>
                      </a:lnTo>
                      <a:lnTo>
                        <a:pt x="198" y="399"/>
                      </a:lnTo>
                      <a:lnTo>
                        <a:pt x="228" y="362"/>
                      </a:lnTo>
                      <a:lnTo>
                        <a:pt x="259" y="326"/>
                      </a:lnTo>
                      <a:lnTo>
                        <a:pt x="291" y="291"/>
                      </a:lnTo>
                      <a:lnTo>
                        <a:pt x="326" y="259"/>
                      </a:lnTo>
                      <a:lnTo>
                        <a:pt x="362" y="228"/>
                      </a:lnTo>
                      <a:lnTo>
                        <a:pt x="399" y="198"/>
                      </a:lnTo>
                      <a:lnTo>
                        <a:pt x="438" y="170"/>
                      </a:lnTo>
                      <a:lnTo>
                        <a:pt x="479" y="145"/>
                      </a:lnTo>
                      <a:lnTo>
                        <a:pt x="520" y="121"/>
                      </a:lnTo>
                      <a:lnTo>
                        <a:pt x="563" y="98"/>
                      </a:lnTo>
                      <a:lnTo>
                        <a:pt x="607" y="78"/>
                      </a:lnTo>
                      <a:lnTo>
                        <a:pt x="651" y="61"/>
                      </a:lnTo>
                      <a:lnTo>
                        <a:pt x="698" y="45"/>
                      </a:lnTo>
                      <a:lnTo>
                        <a:pt x="745" y="32"/>
                      </a:lnTo>
                      <a:lnTo>
                        <a:pt x="792" y="20"/>
                      </a:lnTo>
                      <a:lnTo>
                        <a:pt x="841" y="12"/>
                      </a:lnTo>
                      <a:lnTo>
                        <a:pt x="891" y="6"/>
                      </a:lnTo>
                      <a:lnTo>
                        <a:pt x="942" y="2"/>
                      </a:lnTo>
                      <a:lnTo>
                        <a:pt x="993" y="0"/>
                      </a:lnTo>
                      <a:close/>
                      <a:moveTo>
                        <a:pt x="993" y="421"/>
                      </a:moveTo>
                      <a:lnTo>
                        <a:pt x="1022" y="422"/>
                      </a:lnTo>
                      <a:lnTo>
                        <a:pt x="1051" y="424"/>
                      </a:lnTo>
                      <a:lnTo>
                        <a:pt x="1079" y="428"/>
                      </a:lnTo>
                      <a:lnTo>
                        <a:pt x="1107" y="433"/>
                      </a:lnTo>
                      <a:lnTo>
                        <a:pt x="1135" y="440"/>
                      </a:lnTo>
                      <a:lnTo>
                        <a:pt x="1162" y="447"/>
                      </a:lnTo>
                      <a:lnTo>
                        <a:pt x="1188" y="456"/>
                      </a:lnTo>
                      <a:lnTo>
                        <a:pt x="1214" y="467"/>
                      </a:lnTo>
                      <a:lnTo>
                        <a:pt x="1240" y="478"/>
                      </a:lnTo>
                      <a:lnTo>
                        <a:pt x="1264" y="490"/>
                      </a:lnTo>
                      <a:lnTo>
                        <a:pt x="1289" y="504"/>
                      </a:lnTo>
                      <a:lnTo>
                        <a:pt x="1312" y="518"/>
                      </a:lnTo>
                      <a:lnTo>
                        <a:pt x="1333" y="535"/>
                      </a:lnTo>
                      <a:lnTo>
                        <a:pt x="1355" y="552"/>
                      </a:lnTo>
                      <a:lnTo>
                        <a:pt x="1376" y="570"/>
                      </a:lnTo>
                      <a:lnTo>
                        <a:pt x="1396" y="589"/>
                      </a:lnTo>
                      <a:lnTo>
                        <a:pt x="1415" y="609"/>
                      </a:lnTo>
                      <a:lnTo>
                        <a:pt x="1433" y="629"/>
                      </a:lnTo>
                      <a:lnTo>
                        <a:pt x="1450" y="651"/>
                      </a:lnTo>
                      <a:lnTo>
                        <a:pt x="1466" y="673"/>
                      </a:lnTo>
                      <a:lnTo>
                        <a:pt x="1481" y="697"/>
                      </a:lnTo>
                      <a:lnTo>
                        <a:pt x="1494" y="721"/>
                      </a:lnTo>
                      <a:lnTo>
                        <a:pt x="1507" y="745"/>
                      </a:lnTo>
                      <a:lnTo>
                        <a:pt x="1518" y="771"/>
                      </a:lnTo>
                      <a:lnTo>
                        <a:pt x="1529" y="797"/>
                      </a:lnTo>
                      <a:lnTo>
                        <a:pt x="1538" y="823"/>
                      </a:lnTo>
                      <a:lnTo>
                        <a:pt x="1545" y="850"/>
                      </a:lnTo>
                      <a:lnTo>
                        <a:pt x="1552" y="878"/>
                      </a:lnTo>
                      <a:lnTo>
                        <a:pt x="1557" y="906"/>
                      </a:lnTo>
                      <a:lnTo>
                        <a:pt x="1561" y="934"/>
                      </a:lnTo>
                      <a:lnTo>
                        <a:pt x="1563" y="963"/>
                      </a:lnTo>
                      <a:lnTo>
                        <a:pt x="1564" y="993"/>
                      </a:lnTo>
                      <a:lnTo>
                        <a:pt x="1563" y="1022"/>
                      </a:lnTo>
                      <a:lnTo>
                        <a:pt x="1561" y="1051"/>
                      </a:lnTo>
                      <a:lnTo>
                        <a:pt x="1557" y="1079"/>
                      </a:lnTo>
                      <a:lnTo>
                        <a:pt x="1552" y="1107"/>
                      </a:lnTo>
                      <a:lnTo>
                        <a:pt x="1545" y="1135"/>
                      </a:lnTo>
                      <a:lnTo>
                        <a:pt x="1538" y="1162"/>
                      </a:lnTo>
                      <a:lnTo>
                        <a:pt x="1529" y="1188"/>
                      </a:lnTo>
                      <a:lnTo>
                        <a:pt x="1518" y="1214"/>
                      </a:lnTo>
                      <a:lnTo>
                        <a:pt x="1507" y="1240"/>
                      </a:lnTo>
                      <a:lnTo>
                        <a:pt x="1494" y="1265"/>
                      </a:lnTo>
                      <a:lnTo>
                        <a:pt x="1481" y="1289"/>
                      </a:lnTo>
                      <a:lnTo>
                        <a:pt x="1466" y="1311"/>
                      </a:lnTo>
                      <a:lnTo>
                        <a:pt x="1450" y="1334"/>
                      </a:lnTo>
                      <a:lnTo>
                        <a:pt x="1433" y="1355"/>
                      </a:lnTo>
                      <a:lnTo>
                        <a:pt x="1415" y="1376"/>
                      </a:lnTo>
                      <a:lnTo>
                        <a:pt x="1396" y="1395"/>
                      </a:lnTo>
                      <a:lnTo>
                        <a:pt x="1376" y="1415"/>
                      </a:lnTo>
                      <a:lnTo>
                        <a:pt x="1355" y="1433"/>
                      </a:lnTo>
                      <a:lnTo>
                        <a:pt x="1333" y="1449"/>
                      </a:lnTo>
                      <a:lnTo>
                        <a:pt x="1312" y="1466"/>
                      </a:lnTo>
                      <a:lnTo>
                        <a:pt x="1289" y="1481"/>
                      </a:lnTo>
                      <a:lnTo>
                        <a:pt x="1264" y="1494"/>
                      </a:lnTo>
                      <a:lnTo>
                        <a:pt x="1240" y="1507"/>
                      </a:lnTo>
                      <a:lnTo>
                        <a:pt x="1214" y="1518"/>
                      </a:lnTo>
                      <a:lnTo>
                        <a:pt x="1188" y="1528"/>
                      </a:lnTo>
                      <a:lnTo>
                        <a:pt x="1162" y="1538"/>
                      </a:lnTo>
                      <a:lnTo>
                        <a:pt x="1135" y="1545"/>
                      </a:lnTo>
                      <a:lnTo>
                        <a:pt x="1107" y="1552"/>
                      </a:lnTo>
                      <a:lnTo>
                        <a:pt x="1079" y="1556"/>
                      </a:lnTo>
                      <a:lnTo>
                        <a:pt x="1051" y="1561"/>
                      </a:lnTo>
                      <a:lnTo>
                        <a:pt x="1022" y="1563"/>
                      </a:lnTo>
                      <a:lnTo>
                        <a:pt x="993" y="1564"/>
                      </a:lnTo>
                      <a:lnTo>
                        <a:pt x="963" y="1563"/>
                      </a:lnTo>
                      <a:lnTo>
                        <a:pt x="934" y="1561"/>
                      </a:lnTo>
                      <a:lnTo>
                        <a:pt x="906" y="1556"/>
                      </a:lnTo>
                      <a:lnTo>
                        <a:pt x="878" y="1552"/>
                      </a:lnTo>
                      <a:lnTo>
                        <a:pt x="850" y="1545"/>
                      </a:lnTo>
                      <a:lnTo>
                        <a:pt x="823" y="1538"/>
                      </a:lnTo>
                      <a:lnTo>
                        <a:pt x="797" y="1528"/>
                      </a:lnTo>
                      <a:lnTo>
                        <a:pt x="771" y="1518"/>
                      </a:lnTo>
                      <a:lnTo>
                        <a:pt x="745" y="1507"/>
                      </a:lnTo>
                      <a:lnTo>
                        <a:pt x="721" y="1494"/>
                      </a:lnTo>
                      <a:lnTo>
                        <a:pt x="697" y="1481"/>
                      </a:lnTo>
                      <a:lnTo>
                        <a:pt x="673" y="1466"/>
                      </a:lnTo>
                      <a:lnTo>
                        <a:pt x="651" y="1449"/>
                      </a:lnTo>
                      <a:lnTo>
                        <a:pt x="629" y="1433"/>
                      </a:lnTo>
                      <a:lnTo>
                        <a:pt x="609" y="1415"/>
                      </a:lnTo>
                      <a:lnTo>
                        <a:pt x="589" y="1395"/>
                      </a:lnTo>
                      <a:lnTo>
                        <a:pt x="570" y="1376"/>
                      </a:lnTo>
                      <a:lnTo>
                        <a:pt x="552" y="1355"/>
                      </a:lnTo>
                      <a:lnTo>
                        <a:pt x="535" y="1334"/>
                      </a:lnTo>
                      <a:lnTo>
                        <a:pt x="519" y="1311"/>
                      </a:lnTo>
                      <a:lnTo>
                        <a:pt x="504" y="1289"/>
                      </a:lnTo>
                      <a:lnTo>
                        <a:pt x="490" y="1265"/>
                      </a:lnTo>
                      <a:lnTo>
                        <a:pt x="478" y="1240"/>
                      </a:lnTo>
                      <a:lnTo>
                        <a:pt x="466" y="1214"/>
                      </a:lnTo>
                      <a:lnTo>
                        <a:pt x="456" y="1188"/>
                      </a:lnTo>
                      <a:lnTo>
                        <a:pt x="447" y="1162"/>
                      </a:lnTo>
                      <a:lnTo>
                        <a:pt x="440" y="1135"/>
                      </a:lnTo>
                      <a:lnTo>
                        <a:pt x="433" y="1107"/>
                      </a:lnTo>
                      <a:lnTo>
                        <a:pt x="428" y="1079"/>
                      </a:lnTo>
                      <a:lnTo>
                        <a:pt x="424" y="1051"/>
                      </a:lnTo>
                      <a:lnTo>
                        <a:pt x="422" y="1022"/>
                      </a:lnTo>
                      <a:lnTo>
                        <a:pt x="422" y="993"/>
                      </a:lnTo>
                      <a:lnTo>
                        <a:pt x="422" y="963"/>
                      </a:lnTo>
                      <a:lnTo>
                        <a:pt x="424" y="934"/>
                      </a:lnTo>
                      <a:lnTo>
                        <a:pt x="428" y="906"/>
                      </a:lnTo>
                      <a:lnTo>
                        <a:pt x="433" y="878"/>
                      </a:lnTo>
                      <a:lnTo>
                        <a:pt x="440" y="850"/>
                      </a:lnTo>
                      <a:lnTo>
                        <a:pt x="447" y="823"/>
                      </a:lnTo>
                      <a:lnTo>
                        <a:pt x="456" y="797"/>
                      </a:lnTo>
                      <a:lnTo>
                        <a:pt x="466" y="771"/>
                      </a:lnTo>
                      <a:lnTo>
                        <a:pt x="478" y="745"/>
                      </a:lnTo>
                      <a:lnTo>
                        <a:pt x="490" y="721"/>
                      </a:lnTo>
                      <a:lnTo>
                        <a:pt x="504" y="697"/>
                      </a:lnTo>
                      <a:lnTo>
                        <a:pt x="519" y="673"/>
                      </a:lnTo>
                      <a:lnTo>
                        <a:pt x="535" y="651"/>
                      </a:lnTo>
                      <a:lnTo>
                        <a:pt x="552" y="629"/>
                      </a:lnTo>
                      <a:lnTo>
                        <a:pt x="570" y="609"/>
                      </a:lnTo>
                      <a:lnTo>
                        <a:pt x="589" y="589"/>
                      </a:lnTo>
                      <a:lnTo>
                        <a:pt x="609" y="570"/>
                      </a:lnTo>
                      <a:lnTo>
                        <a:pt x="629" y="552"/>
                      </a:lnTo>
                      <a:lnTo>
                        <a:pt x="651" y="535"/>
                      </a:lnTo>
                      <a:lnTo>
                        <a:pt x="673" y="518"/>
                      </a:lnTo>
                      <a:lnTo>
                        <a:pt x="697" y="504"/>
                      </a:lnTo>
                      <a:lnTo>
                        <a:pt x="721" y="490"/>
                      </a:lnTo>
                      <a:lnTo>
                        <a:pt x="745" y="478"/>
                      </a:lnTo>
                      <a:lnTo>
                        <a:pt x="771" y="467"/>
                      </a:lnTo>
                      <a:lnTo>
                        <a:pt x="797" y="456"/>
                      </a:lnTo>
                      <a:lnTo>
                        <a:pt x="823" y="447"/>
                      </a:lnTo>
                      <a:lnTo>
                        <a:pt x="850" y="440"/>
                      </a:lnTo>
                      <a:lnTo>
                        <a:pt x="878" y="433"/>
                      </a:lnTo>
                      <a:lnTo>
                        <a:pt x="906" y="428"/>
                      </a:lnTo>
                      <a:lnTo>
                        <a:pt x="934" y="424"/>
                      </a:lnTo>
                      <a:lnTo>
                        <a:pt x="963" y="422"/>
                      </a:lnTo>
                      <a:lnTo>
                        <a:pt x="993" y="421"/>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31" name="组合 251"/>
              <p:cNvGrpSpPr/>
              <p:nvPr/>
            </p:nvGrpSpPr>
            <p:grpSpPr>
              <a:xfrm>
                <a:off x="6975422" y="2284476"/>
                <a:ext cx="995860" cy="723426"/>
                <a:chOff x="13801725" y="3422650"/>
                <a:chExt cx="1525588" cy="984250"/>
              </a:xfrm>
              <a:solidFill>
                <a:srgbClr val="00B0F0"/>
              </a:solidFill>
            </p:grpSpPr>
            <p:sp>
              <p:nvSpPr>
                <p:cNvPr id="50" name="Freeform 76"/>
                <p:cNvSpPr>
                  <a:spLocks/>
                </p:cNvSpPr>
                <p:nvPr/>
              </p:nvSpPr>
              <p:spPr bwMode="auto">
                <a:xfrm>
                  <a:off x="14293850" y="3422650"/>
                  <a:ext cx="401638" cy="141288"/>
                </a:xfrm>
                <a:custGeom>
                  <a:avLst/>
                  <a:gdLst/>
                  <a:ahLst/>
                  <a:cxnLst>
                    <a:cxn ang="0">
                      <a:pos x="439" y="172"/>
                    </a:cxn>
                    <a:cxn ang="0">
                      <a:pos x="452" y="179"/>
                    </a:cxn>
                    <a:cxn ang="0">
                      <a:pos x="459" y="177"/>
                    </a:cxn>
                    <a:cxn ang="0">
                      <a:pos x="501" y="143"/>
                    </a:cxn>
                    <a:cxn ang="0">
                      <a:pos x="504" y="138"/>
                    </a:cxn>
                    <a:cxn ang="0">
                      <a:pos x="506" y="132"/>
                    </a:cxn>
                    <a:cxn ang="0">
                      <a:pos x="501" y="118"/>
                    </a:cxn>
                    <a:cxn ang="0">
                      <a:pos x="477" y="93"/>
                    </a:cxn>
                    <a:cxn ang="0">
                      <a:pos x="423" y="52"/>
                    </a:cxn>
                    <a:cxn ang="0">
                      <a:pos x="363" y="22"/>
                    </a:cxn>
                    <a:cxn ang="0">
                      <a:pos x="297" y="5"/>
                    </a:cxn>
                    <a:cxn ang="0">
                      <a:pos x="262" y="0"/>
                    </a:cxn>
                    <a:cxn ang="0">
                      <a:pos x="241" y="0"/>
                    </a:cxn>
                    <a:cxn ang="0">
                      <a:pos x="177" y="7"/>
                    </a:cxn>
                    <a:cxn ang="0">
                      <a:pos x="115" y="24"/>
                    </a:cxn>
                    <a:cxn ang="0">
                      <a:pos x="57" y="52"/>
                    </a:cxn>
                    <a:cxn ang="0">
                      <a:pos x="7" y="91"/>
                    </a:cxn>
                    <a:cxn ang="0">
                      <a:pos x="2" y="98"/>
                    </a:cxn>
                    <a:cxn ang="0">
                      <a:pos x="2" y="111"/>
                    </a:cxn>
                    <a:cxn ang="0">
                      <a:pos x="37" y="152"/>
                    </a:cxn>
                    <a:cxn ang="0">
                      <a:pos x="42" y="155"/>
                    </a:cxn>
                    <a:cxn ang="0">
                      <a:pos x="51" y="157"/>
                    </a:cxn>
                    <a:cxn ang="0">
                      <a:pos x="62" y="154"/>
                    </a:cxn>
                    <a:cxn ang="0">
                      <a:pos x="81" y="137"/>
                    </a:cxn>
                    <a:cxn ang="0">
                      <a:pos x="123" y="111"/>
                    </a:cxn>
                    <a:cxn ang="0">
                      <a:pos x="169" y="93"/>
                    </a:cxn>
                    <a:cxn ang="0">
                      <a:pos x="216" y="84"/>
                    </a:cxn>
                    <a:cxn ang="0">
                      <a:pos x="241" y="83"/>
                    </a:cxn>
                    <a:cxn ang="0">
                      <a:pos x="256" y="84"/>
                    </a:cxn>
                    <a:cxn ang="0">
                      <a:pos x="309" y="93"/>
                    </a:cxn>
                    <a:cxn ang="0">
                      <a:pos x="358" y="110"/>
                    </a:cxn>
                    <a:cxn ang="0">
                      <a:pos x="402" y="137"/>
                    </a:cxn>
                    <a:cxn ang="0">
                      <a:pos x="439" y="172"/>
                    </a:cxn>
                  </a:cxnLst>
                  <a:rect l="0" t="0" r="r" b="b"/>
                  <a:pathLst>
                    <a:path w="506" h="179">
                      <a:moveTo>
                        <a:pt x="439" y="172"/>
                      </a:moveTo>
                      <a:lnTo>
                        <a:pt x="439" y="172"/>
                      </a:lnTo>
                      <a:lnTo>
                        <a:pt x="445" y="177"/>
                      </a:lnTo>
                      <a:lnTo>
                        <a:pt x="452" y="179"/>
                      </a:lnTo>
                      <a:lnTo>
                        <a:pt x="452" y="179"/>
                      </a:lnTo>
                      <a:lnTo>
                        <a:pt x="459" y="177"/>
                      </a:lnTo>
                      <a:lnTo>
                        <a:pt x="464" y="174"/>
                      </a:lnTo>
                      <a:lnTo>
                        <a:pt x="501" y="143"/>
                      </a:lnTo>
                      <a:lnTo>
                        <a:pt x="501" y="143"/>
                      </a:lnTo>
                      <a:lnTo>
                        <a:pt x="504" y="138"/>
                      </a:lnTo>
                      <a:lnTo>
                        <a:pt x="506" y="132"/>
                      </a:lnTo>
                      <a:lnTo>
                        <a:pt x="506" y="132"/>
                      </a:lnTo>
                      <a:lnTo>
                        <a:pt x="506" y="125"/>
                      </a:lnTo>
                      <a:lnTo>
                        <a:pt x="501" y="118"/>
                      </a:lnTo>
                      <a:lnTo>
                        <a:pt x="501" y="118"/>
                      </a:lnTo>
                      <a:lnTo>
                        <a:pt x="477" y="93"/>
                      </a:lnTo>
                      <a:lnTo>
                        <a:pt x="450" y="71"/>
                      </a:lnTo>
                      <a:lnTo>
                        <a:pt x="423" y="52"/>
                      </a:lnTo>
                      <a:lnTo>
                        <a:pt x="393" y="35"/>
                      </a:lnTo>
                      <a:lnTo>
                        <a:pt x="363" y="22"/>
                      </a:lnTo>
                      <a:lnTo>
                        <a:pt x="329" y="12"/>
                      </a:lnTo>
                      <a:lnTo>
                        <a:pt x="297" y="5"/>
                      </a:lnTo>
                      <a:lnTo>
                        <a:pt x="262" y="0"/>
                      </a:lnTo>
                      <a:lnTo>
                        <a:pt x="262" y="0"/>
                      </a:lnTo>
                      <a:lnTo>
                        <a:pt x="241" y="0"/>
                      </a:lnTo>
                      <a:lnTo>
                        <a:pt x="241" y="0"/>
                      </a:lnTo>
                      <a:lnTo>
                        <a:pt x="209" y="2"/>
                      </a:lnTo>
                      <a:lnTo>
                        <a:pt x="177" y="7"/>
                      </a:lnTo>
                      <a:lnTo>
                        <a:pt x="145" y="14"/>
                      </a:lnTo>
                      <a:lnTo>
                        <a:pt x="115" y="24"/>
                      </a:lnTo>
                      <a:lnTo>
                        <a:pt x="86" y="37"/>
                      </a:lnTo>
                      <a:lnTo>
                        <a:pt x="57" y="52"/>
                      </a:lnTo>
                      <a:lnTo>
                        <a:pt x="32" y="71"/>
                      </a:lnTo>
                      <a:lnTo>
                        <a:pt x="7" y="91"/>
                      </a:lnTo>
                      <a:lnTo>
                        <a:pt x="7" y="91"/>
                      </a:lnTo>
                      <a:lnTo>
                        <a:pt x="2" y="98"/>
                      </a:lnTo>
                      <a:lnTo>
                        <a:pt x="0" y="105"/>
                      </a:lnTo>
                      <a:lnTo>
                        <a:pt x="2" y="111"/>
                      </a:lnTo>
                      <a:lnTo>
                        <a:pt x="5" y="116"/>
                      </a:lnTo>
                      <a:lnTo>
                        <a:pt x="37" y="152"/>
                      </a:lnTo>
                      <a:lnTo>
                        <a:pt x="37" y="152"/>
                      </a:lnTo>
                      <a:lnTo>
                        <a:pt x="42" y="155"/>
                      </a:lnTo>
                      <a:lnTo>
                        <a:pt x="51" y="157"/>
                      </a:lnTo>
                      <a:lnTo>
                        <a:pt x="51" y="157"/>
                      </a:lnTo>
                      <a:lnTo>
                        <a:pt x="56" y="157"/>
                      </a:lnTo>
                      <a:lnTo>
                        <a:pt x="62" y="154"/>
                      </a:lnTo>
                      <a:lnTo>
                        <a:pt x="62" y="154"/>
                      </a:lnTo>
                      <a:lnTo>
                        <a:pt x="81" y="137"/>
                      </a:lnTo>
                      <a:lnTo>
                        <a:pt x="101" y="123"/>
                      </a:lnTo>
                      <a:lnTo>
                        <a:pt x="123" y="111"/>
                      </a:lnTo>
                      <a:lnTo>
                        <a:pt x="145" y="101"/>
                      </a:lnTo>
                      <a:lnTo>
                        <a:pt x="169" y="93"/>
                      </a:lnTo>
                      <a:lnTo>
                        <a:pt x="192" y="88"/>
                      </a:lnTo>
                      <a:lnTo>
                        <a:pt x="216" y="84"/>
                      </a:lnTo>
                      <a:lnTo>
                        <a:pt x="241" y="83"/>
                      </a:lnTo>
                      <a:lnTo>
                        <a:pt x="241" y="83"/>
                      </a:lnTo>
                      <a:lnTo>
                        <a:pt x="256" y="84"/>
                      </a:lnTo>
                      <a:lnTo>
                        <a:pt x="256" y="84"/>
                      </a:lnTo>
                      <a:lnTo>
                        <a:pt x="283" y="86"/>
                      </a:lnTo>
                      <a:lnTo>
                        <a:pt x="309" y="93"/>
                      </a:lnTo>
                      <a:lnTo>
                        <a:pt x="332" y="100"/>
                      </a:lnTo>
                      <a:lnTo>
                        <a:pt x="358" y="110"/>
                      </a:lnTo>
                      <a:lnTo>
                        <a:pt x="380" y="122"/>
                      </a:lnTo>
                      <a:lnTo>
                        <a:pt x="402" y="137"/>
                      </a:lnTo>
                      <a:lnTo>
                        <a:pt x="420" y="154"/>
                      </a:lnTo>
                      <a:lnTo>
                        <a:pt x="439" y="172"/>
                      </a:lnTo>
                      <a:lnTo>
                        <a:pt x="439" y="17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51" name="Freeform 77"/>
                <p:cNvSpPr>
                  <a:spLocks/>
                </p:cNvSpPr>
                <p:nvPr/>
              </p:nvSpPr>
              <p:spPr bwMode="auto">
                <a:xfrm>
                  <a:off x="14377988" y="3532188"/>
                  <a:ext cx="225425" cy="100013"/>
                </a:xfrm>
                <a:custGeom>
                  <a:avLst/>
                  <a:gdLst/>
                  <a:ahLst/>
                  <a:cxnLst>
                    <a:cxn ang="0">
                      <a:pos x="147" y="0"/>
                    </a:cxn>
                    <a:cxn ang="0">
                      <a:pos x="147" y="0"/>
                    </a:cxn>
                    <a:cxn ang="0">
                      <a:pos x="137" y="0"/>
                    </a:cxn>
                    <a:cxn ang="0">
                      <a:pos x="137" y="0"/>
                    </a:cxn>
                    <a:cxn ang="0">
                      <a:pos x="118" y="2"/>
                    </a:cxn>
                    <a:cxn ang="0">
                      <a:pos x="100" y="4"/>
                    </a:cxn>
                    <a:cxn ang="0">
                      <a:pos x="83" y="7"/>
                    </a:cxn>
                    <a:cxn ang="0">
                      <a:pos x="66" y="14"/>
                    </a:cxn>
                    <a:cxn ang="0">
                      <a:pos x="49" y="21"/>
                    </a:cxn>
                    <a:cxn ang="0">
                      <a:pos x="34" y="29"/>
                    </a:cxn>
                    <a:cxn ang="0">
                      <a:pos x="19" y="39"/>
                    </a:cxn>
                    <a:cxn ang="0">
                      <a:pos x="5" y="51"/>
                    </a:cxn>
                    <a:cxn ang="0">
                      <a:pos x="5" y="51"/>
                    </a:cxn>
                    <a:cxn ang="0">
                      <a:pos x="2" y="58"/>
                    </a:cxn>
                    <a:cxn ang="0">
                      <a:pos x="0" y="64"/>
                    </a:cxn>
                    <a:cxn ang="0">
                      <a:pos x="0" y="71"/>
                    </a:cxn>
                    <a:cxn ang="0">
                      <a:pos x="5" y="76"/>
                    </a:cxn>
                    <a:cxn ang="0">
                      <a:pos x="37" y="112"/>
                    </a:cxn>
                    <a:cxn ang="0">
                      <a:pos x="37" y="112"/>
                    </a:cxn>
                    <a:cxn ang="0">
                      <a:pos x="42" y="115"/>
                    </a:cxn>
                    <a:cxn ang="0">
                      <a:pos x="49" y="117"/>
                    </a:cxn>
                    <a:cxn ang="0">
                      <a:pos x="49" y="117"/>
                    </a:cxn>
                    <a:cxn ang="0">
                      <a:pos x="56" y="117"/>
                    </a:cxn>
                    <a:cxn ang="0">
                      <a:pos x="63" y="112"/>
                    </a:cxn>
                    <a:cxn ang="0">
                      <a:pos x="63" y="112"/>
                    </a:cxn>
                    <a:cxn ang="0">
                      <a:pos x="78" y="100"/>
                    </a:cxn>
                    <a:cxn ang="0">
                      <a:pos x="96" y="91"/>
                    </a:cxn>
                    <a:cxn ang="0">
                      <a:pos x="117" y="85"/>
                    </a:cxn>
                    <a:cxn ang="0">
                      <a:pos x="137" y="83"/>
                    </a:cxn>
                    <a:cxn ang="0">
                      <a:pos x="137" y="83"/>
                    </a:cxn>
                    <a:cxn ang="0">
                      <a:pos x="142" y="83"/>
                    </a:cxn>
                    <a:cxn ang="0">
                      <a:pos x="142" y="83"/>
                    </a:cxn>
                    <a:cxn ang="0">
                      <a:pos x="154" y="85"/>
                    </a:cxn>
                    <a:cxn ang="0">
                      <a:pos x="164" y="86"/>
                    </a:cxn>
                    <a:cxn ang="0">
                      <a:pos x="184" y="95"/>
                    </a:cxn>
                    <a:cxn ang="0">
                      <a:pos x="201" y="105"/>
                    </a:cxn>
                    <a:cxn ang="0">
                      <a:pos x="209" y="112"/>
                    </a:cxn>
                    <a:cxn ang="0">
                      <a:pos x="218" y="118"/>
                    </a:cxn>
                    <a:cxn ang="0">
                      <a:pos x="218" y="118"/>
                    </a:cxn>
                    <a:cxn ang="0">
                      <a:pos x="223" y="124"/>
                    </a:cxn>
                    <a:cxn ang="0">
                      <a:pos x="231" y="125"/>
                    </a:cxn>
                    <a:cxn ang="0">
                      <a:pos x="231" y="125"/>
                    </a:cxn>
                    <a:cxn ang="0">
                      <a:pos x="236" y="124"/>
                    </a:cxn>
                    <a:cxn ang="0">
                      <a:pos x="243" y="120"/>
                    </a:cxn>
                    <a:cxn ang="0">
                      <a:pos x="279" y="90"/>
                    </a:cxn>
                    <a:cxn ang="0">
                      <a:pos x="279" y="90"/>
                    </a:cxn>
                    <a:cxn ang="0">
                      <a:pos x="282" y="85"/>
                    </a:cxn>
                    <a:cxn ang="0">
                      <a:pos x="284" y="78"/>
                    </a:cxn>
                    <a:cxn ang="0">
                      <a:pos x="284" y="78"/>
                    </a:cxn>
                    <a:cxn ang="0">
                      <a:pos x="284" y="71"/>
                    </a:cxn>
                    <a:cxn ang="0">
                      <a:pos x="280" y="64"/>
                    </a:cxn>
                    <a:cxn ang="0">
                      <a:pos x="280" y="64"/>
                    </a:cxn>
                    <a:cxn ang="0">
                      <a:pos x="267" y="51"/>
                    </a:cxn>
                    <a:cxn ang="0">
                      <a:pos x="252" y="39"/>
                    </a:cxn>
                    <a:cxn ang="0">
                      <a:pos x="236" y="29"/>
                    </a:cxn>
                    <a:cxn ang="0">
                      <a:pos x="220" y="19"/>
                    </a:cxn>
                    <a:cxn ang="0">
                      <a:pos x="203" y="12"/>
                    </a:cxn>
                    <a:cxn ang="0">
                      <a:pos x="186" y="7"/>
                    </a:cxn>
                    <a:cxn ang="0">
                      <a:pos x="167" y="2"/>
                    </a:cxn>
                    <a:cxn ang="0">
                      <a:pos x="147" y="0"/>
                    </a:cxn>
                    <a:cxn ang="0">
                      <a:pos x="147" y="0"/>
                    </a:cxn>
                  </a:cxnLst>
                  <a:rect l="0" t="0" r="r" b="b"/>
                  <a:pathLst>
                    <a:path w="284" h="125">
                      <a:moveTo>
                        <a:pt x="147" y="0"/>
                      </a:moveTo>
                      <a:lnTo>
                        <a:pt x="147" y="0"/>
                      </a:lnTo>
                      <a:lnTo>
                        <a:pt x="137" y="0"/>
                      </a:lnTo>
                      <a:lnTo>
                        <a:pt x="137" y="0"/>
                      </a:lnTo>
                      <a:lnTo>
                        <a:pt x="118" y="2"/>
                      </a:lnTo>
                      <a:lnTo>
                        <a:pt x="100" y="4"/>
                      </a:lnTo>
                      <a:lnTo>
                        <a:pt x="83" y="7"/>
                      </a:lnTo>
                      <a:lnTo>
                        <a:pt x="66" y="14"/>
                      </a:lnTo>
                      <a:lnTo>
                        <a:pt x="49" y="21"/>
                      </a:lnTo>
                      <a:lnTo>
                        <a:pt x="34" y="29"/>
                      </a:lnTo>
                      <a:lnTo>
                        <a:pt x="19" y="39"/>
                      </a:lnTo>
                      <a:lnTo>
                        <a:pt x="5" y="51"/>
                      </a:lnTo>
                      <a:lnTo>
                        <a:pt x="5" y="51"/>
                      </a:lnTo>
                      <a:lnTo>
                        <a:pt x="2" y="58"/>
                      </a:lnTo>
                      <a:lnTo>
                        <a:pt x="0" y="64"/>
                      </a:lnTo>
                      <a:lnTo>
                        <a:pt x="0" y="71"/>
                      </a:lnTo>
                      <a:lnTo>
                        <a:pt x="5" y="76"/>
                      </a:lnTo>
                      <a:lnTo>
                        <a:pt x="37" y="112"/>
                      </a:lnTo>
                      <a:lnTo>
                        <a:pt x="37" y="112"/>
                      </a:lnTo>
                      <a:lnTo>
                        <a:pt x="42" y="115"/>
                      </a:lnTo>
                      <a:lnTo>
                        <a:pt x="49" y="117"/>
                      </a:lnTo>
                      <a:lnTo>
                        <a:pt x="49" y="117"/>
                      </a:lnTo>
                      <a:lnTo>
                        <a:pt x="56" y="117"/>
                      </a:lnTo>
                      <a:lnTo>
                        <a:pt x="63" y="112"/>
                      </a:lnTo>
                      <a:lnTo>
                        <a:pt x="63" y="112"/>
                      </a:lnTo>
                      <a:lnTo>
                        <a:pt x="78" y="100"/>
                      </a:lnTo>
                      <a:lnTo>
                        <a:pt x="96" y="91"/>
                      </a:lnTo>
                      <a:lnTo>
                        <a:pt x="117" y="85"/>
                      </a:lnTo>
                      <a:lnTo>
                        <a:pt x="137" y="83"/>
                      </a:lnTo>
                      <a:lnTo>
                        <a:pt x="137" y="83"/>
                      </a:lnTo>
                      <a:lnTo>
                        <a:pt x="142" y="83"/>
                      </a:lnTo>
                      <a:lnTo>
                        <a:pt x="142" y="83"/>
                      </a:lnTo>
                      <a:lnTo>
                        <a:pt x="154" y="85"/>
                      </a:lnTo>
                      <a:lnTo>
                        <a:pt x="164" y="86"/>
                      </a:lnTo>
                      <a:lnTo>
                        <a:pt x="184" y="95"/>
                      </a:lnTo>
                      <a:lnTo>
                        <a:pt x="201" y="105"/>
                      </a:lnTo>
                      <a:lnTo>
                        <a:pt x="209" y="112"/>
                      </a:lnTo>
                      <a:lnTo>
                        <a:pt x="218" y="118"/>
                      </a:lnTo>
                      <a:lnTo>
                        <a:pt x="218" y="118"/>
                      </a:lnTo>
                      <a:lnTo>
                        <a:pt x="223" y="124"/>
                      </a:lnTo>
                      <a:lnTo>
                        <a:pt x="231" y="125"/>
                      </a:lnTo>
                      <a:lnTo>
                        <a:pt x="231" y="125"/>
                      </a:lnTo>
                      <a:lnTo>
                        <a:pt x="236" y="124"/>
                      </a:lnTo>
                      <a:lnTo>
                        <a:pt x="243" y="120"/>
                      </a:lnTo>
                      <a:lnTo>
                        <a:pt x="279" y="90"/>
                      </a:lnTo>
                      <a:lnTo>
                        <a:pt x="279" y="90"/>
                      </a:lnTo>
                      <a:lnTo>
                        <a:pt x="282" y="85"/>
                      </a:lnTo>
                      <a:lnTo>
                        <a:pt x="284" y="78"/>
                      </a:lnTo>
                      <a:lnTo>
                        <a:pt x="284" y="78"/>
                      </a:lnTo>
                      <a:lnTo>
                        <a:pt x="284" y="71"/>
                      </a:lnTo>
                      <a:lnTo>
                        <a:pt x="280" y="64"/>
                      </a:lnTo>
                      <a:lnTo>
                        <a:pt x="280" y="64"/>
                      </a:lnTo>
                      <a:lnTo>
                        <a:pt x="267" y="51"/>
                      </a:lnTo>
                      <a:lnTo>
                        <a:pt x="252" y="39"/>
                      </a:lnTo>
                      <a:lnTo>
                        <a:pt x="236" y="29"/>
                      </a:lnTo>
                      <a:lnTo>
                        <a:pt x="220" y="19"/>
                      </a:lnTo>
                      <a:lnTo>
                        <a:pt x="203" y="12"/>
                      </a:lnTo>
                      <a:lnTo>
                        <a:pt x="186" y="7"/>
                      </a:lnTo>
                      <a:lnTo>
                        <a:pt x="167" y="2"/>
                      </a:lnTo>
                      <a:lnTo>
                        <a:pt x="147" y="0"/>
                      </a:lnTo>
                      <a:lnTo>
                        <a:pt x="14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52" name="Freeform 78"/>
                <p:cNvSpPr>
                  <a:spLocks noEditPoints="1"/>
                </p:cNvSpPr>
                <p:nvPr/>
              </p:nvSpPr>
              <p:spPr bwMode="auto">
                <a:xfrm>
                  <a:off x="13801725" y="3470275"/>
                  <a:ext cx="1525588" cy="936625"/>
                </a:xfrm>
                <a:custGeom>
                  <a:avLst/>
                  <a:gdLst/>
                  <a:ahLst/>
                  <a:cxnLst>
                    <a:cxn ang="0">
                      <a:pos x="1805" y="1019"/>
                    </a:cxn>
                    <a:cxn ang="0">
                      <a:pos x="1625" y="1019"/>
                    </a:cxn>
                    <a:cxn ang="0">
                      <a:pos x="1176" y="0"/>
                    </a:cxn>
                    <a:cxn ang="0">
                      <a:pos x="1093" y="494"/>
                    </a:cxn>
                    <a:cxn ang="0">
                      <a:pos x="572" y="1019"/>
                    </a:cxn>
                    <a:cxn ang="0">
                      <a:pos x="523" y="176"/>
                    </a:cxn>
                    <a:cxn ang="0">
                      <a:pos x="314" y="203"/>
                    </a:cxn>
                    <a:cxn ang="0">
                      <a:pos x="301" y="262"/>
                    </a:cxn>
                    <a:cxn ang="0">
                      <a:pos x="118" y="1019"/>
                    </a:cxn>
                    <a:cxn ang="0">
                      <a:pos x="2" y="1169"/>
                    </a:cxn>
                    <a:cxn ang="0">
                      <a:pos x="1917" y="1181"/>
                    </a:cxn>
                    <a:cxn ang="0">
                      <a:pos x="1922" y="1169"/>
                    </a:cxn>
                    <a:cxn ang="0">
                      <a:pos x="741" y="756"/>
                    </a:cxn>
                    <a:cxn ang="0">
                      <a:pos x="896" y="756"/>
                    </a:cxn>
                    <a:cxn ang="0">
                      <a:pos x="1049" y="756"/>
                    </a:cxn>
                    <a:cxn ang="0">
                      <a:pos x="677" y="756"/>
                    </a:cxn>
                    <a:cxn ang="0">
                      <a:pos x="434" y="604"/>
                    </a:cxn>
                    <a:cxn ang="0">
                      <a:pos x="425" y="533"/>
                    </a:cxn>
                    <a:cxn ang="0">
                      <a:pos x="498" y="520"/>
                    </a:cxn>
                    <a:cxn ang="0">
                      <a:pos x="513" y="533"/>
                    </a:cxn>
                    <a:cxn ang="0">
                      <a:pos x="505" y="604"/>
                    </a:cxn>
                    <a:cxn ang="0">
                      <a:pos x="513" y="933"/>
                    </a:cxn>
                    <a:cxn ang="0">
                      <a:pos x="439" y="947"/>
                    </a:cxn>
                    <a:cxn ang="0">
                      <a:pos x="425" y="933"/>
                    </a:cxn>
                    <a:cxn ang="0">
                      <a:pos x="434" y="862"/>
                    </a:cxn>
                    <a:cxn ang="0">
                      <a:pos x="508" y="866"/>
                    </a:cxn>
                    <a:cxn ang="0">
                      <a:pos x="348" y="791"/>
                    </a:cxn>
                    <a:cxn ang="0">
                      <a:pos x="334" y="805"/>
                    </a:cxn>
                    <a:cxn ang="0">
                      <a:pos x="262" y="796"/>
                    </a:cxn>
                    <a:cxn ang="0">
                      <a:pos x="263" y="724"/>
                    </a:cxn>
                    <a:cxn ang="0">
                      <a:pos x="339" y="720"/>
                    </a:cxn>
                    <a:cxn ang="0">
                      <a:pos x="243" y="397"/>
                    </a:cxn>
                    <a:cxn ang="0">
                      <a:pos x="258" y="383"/>
                    </a:cxn>
                    <a:cxn ang="0">
                      <a:pos x="331" y="391"/>
                    </a:cxn>
                    <a:cxn ang="0">
                      <a:pos x="328" y="464"/>
                    </a:cxn>
                    <a:cxn ang="0">
                      <a:pos x="252" y="467"/>
                    </a:cxn>
                    <a:cxn ang="0">
                      <a:pos x="1464" y="105"/>
                    </a:cxn>
                    <a:cxn ang="0">
                      <a:pos x="1471" y="96"/>
                    </a:cxn>
                    <a:cxn ang="0">
                      <a:pos x="1490" y="101"/>
                    </a:cxn>
                    <a:cxn ang="0">
                      <a:pos x="1490" y="940"/>
                    </a:cxn>
                    <a:cxn ang="0">
                      <a:pos x="1471" y="945"/>
                    </a:cxn>
                    <a:cxn ang="0">
                      <a:pos x="1464" y="105"/>
                    </a:cxn>
                    <a:cxn ang="0">
                      <a:pos x="1362" y="98"/>
                    </a:cxn>
                    <a:cxn ang="0">
                      <a:pos x="1382" y="100"/>
                    </a:cxn>
                    <a:cxn ang="0">
                      <a:pos x="1383" y="940"/>
                    </a:cxn>
                    <a:cxn ang="0">
                      <a:pos x="1363" y="945"/>
                    </a:cxn>
                    <a:cxn ang="0">
                      <a:pos x="1356" y="105"/>
                    </a:cxn>
                    <a:cxn ang="0">
                      <a:pos x="1254" y="98"/>
                    </a:cxn>
                    <a:cxn ang="0">
                      <a:pos x="1276" y="100"/>
                    </a:cxn>
                    <a:cxn ang="0">
                      <a:pos x="1277" y="940"/>
                    </a:cxn>
                    <a:cxn ang="0">
                      <a:pos x="1257" y="945"/>
                    </a:cxn>
                    <a:cxn ang="0">
                      <a:pos x="1250" y="105"/>
                    </a:cxn>
                  </a:cxnLst>
                  <a:rect l="0" t="0" r="r" b="b"/>
                  <a:pathLst>
                    <a:path w="1923" h="1181">
                      <a:moveTo>
                        <a:pt x="1820" y="1029"/>
                      </a:moveTo>
                      <a:lnTo>
                        <a:pt x="1820" y="1029"/>
                      </a:lnTo>
                      <a:lnTo>
                        <a:pt x="1815" y="1024"/>
                      </a:lnTo>
                      <a:lnTo>
                        <a:pt x="1810" y="1021"/>
                      </a:lnTo>
                      <a:lnTo>
                        <a:pt x="1805" y="1019"/>
                      </a:lnTo>
                      <a:lnTo>
                        <a:pt x="1798" y="1019"/>
                      </a:lnTo>
                      <a:lnTo>
                        <a:pt x="1750" y="1019"/>
                      </a:lnTo>
                      <a:lnTo>
                        <a:pt x="1750" y="739"/>
                      </a:lnTo>
                      <a:lnTo>
                        <a:pt x="1625" y="606"/>
                      </a:lnTo>
                      <a:lnTo>
                        <a:pt x="1625" y="1019"/>
                      </a:lnTo>
                      <a:lnTo>
                        <a:pt x="1583" y="1019"/>
                      </a:lnTo>
                      <a:lnTo>
                        <a:pt x="1583" y="562"/>
                      </a:lnTo>
                      <a:lnTo>
                        <a:pt x="1583" y="0"/>
                      </a:lnTo>
                      <a:lnTo>
                        <a:pt x="1218" y="0"/>
                      </a:lnTo>
                      <a:lnTo>
                        <a:pt x="1176" y="0"/>
                      </a:lnTo>
                      <a:lnTo>
                        <a:pt x="1176" y="1019"/>
                      </a:lnTo>
                      <a:lnTo>
                        <a:pt x="1124" y="1019"/>
                      </a:lnTo>
                      <a:lnTo>
                        <a:pt x="1124" y="562"/>
                      </a:lnTo>
                      <a:lnTo>
                        <a:pt x="1093" y="562"/>
                      </a:lnTo>
                      <a:lnTo>
                        <a:pt x="1093" y="494"/>
                      </a:lnTo>
                      <a:lnTo>
                        <a:pt x="751" y="553"/>
                      </a:lnTo>
                      <a:lnTo>
                        <a:pt x="751" y="562"/>
                      </a:lnTo>
                      <a:lnTo>
                        <a:pt x="626" y="562"/>
                      </a:lnTo>
                      <a:lnTo>
                        <a:pt x="626" y="1019"/>
                      </a:lnTo>
                      <a:lnTo>
                        <a:pt x="572" y="1019"/>
                      </a:lnTo>
                      <a:lnTo>
                        <a:pt x="572" y="262"/>
                      </a:lnTo>
                      <a:lnTo>
                        <a:pt x="525" y="262"/>
                      </a:lnTo>
                      <a:lnTo>
                        <a:pt x="525" y="181"/>
                      </a:lnTo>
                      <a:lnTo>
                        <a:pt x="525" y="181"/>
                      </a:lnTo>
                      <a:lnTo>
                        <a:pt x="523" y="176"/>
                      </a:lnTo>
                      <a:lnTo>
                        <a:pt x="522" y="170"/>
                      </a:lnTo>
                      <a:lnTo>
                        <a:pt x="516" y="169"/>
                      </a:lnTo>
                      <a:lnTo>
                        <a:pt x="511" y="169"/>
                      </a:lnTo>
                      <a:lnTo>
                        <a:pt x="314" y="203"/>
                      </a:lnTo>
                      <a:lnTo>
                        <a:pt x="314" y="203"/>
                      </a:lnTo>
                      <a:lnTo>
                        <a:pt x="309" y="204"/>
                      </a:lnTo>
                      <a:lnTo>
                        <a:pt x="304" y="208"/>
                      </a:lnTo>
                      <a:lnTo>
                        <a:pt x="301" y="213"/>
                      </a:lnTo>
                      <a:lnTo>
                        <a:pt x="301" y="218"/>
                      </a:lnTo>
                      <a:lnTo>
                        <a:pt x="301" y="262"/>
                      </a:lnTo>
                      <a:lnTo>
                        <a:pt x="181" y="262"/>
                      </a:lnTo>
                      <a:lnTo>
                        <a:pt x="181" y="1019"/>
                      </a:lnTo>
                      <a:lnTo>
                        <a:pt x="125" y="1019"/>
                      </a:lnTo>
                      <a:lnTo>
                        <a:pt x="125" y="1019"/>
                      </a:lnTo>
                      <a:lnTo>
                        <a:pt x="118" y="1019"/>
                      </a:lnTo>
                      <a:lnTo>
                        <a:pt x="113" y="1021"/>
                      </a:lnTo>
                      <a:lnTo>
                        <a:pt x="108" y="1024"/>
                      </a:lnTo>
                      <a:lnTo>
                        <a:pt x="103" y="1029"/>
                      </a:lnTo>
                      <a:lnTo>
                        <a:pt x="2" y="1169"/>
                      </a:lnTo>
                      <a:lnTo>
                        <a:pt x="2" y="1169"/>
                      </a:lnTo>
                      <a:lnTo>
                        <a:pt x="0" y="1174"/>
                      </a:lnTo>
                      <a:lnTo>
                        <a:pt x="2" y="1178"/>
                      </a:lnTo>
                      <a:lnTo>
                        <a:pt x="4" y="1179"/>
                      </a:lnTo>
                      <a:lnTo>
                        <a:pt x="7" y="1181"/>
                      </a:lnTo>
                      <a:lnTo>
                        <a:pt x="1917" y="1181"/>
                      </a:lnTo>
                      <a:lnTo>
                        <a:pt x="1917" y="1181"/>
                      </a:lnTo>
                      <a:lnTo>
                        <a:pt x="1920" y="1179"/>
                      </a:lnTo>
                      <a:lnTo>
                        <a:pt x="1922" y="1178"/>
                      </a:lnTo>
                      <a:lnTo>
                        <a:pt x="1923" y="1174"/>
                      </a:lnTo>
                      <a:lnTo>
                        <a:pt x="1922" y="1169"/>
                      </a:lnTo>
                      <a:lnTo>
                        <a:pt x="1820" y="1029"/>
                      </a:lnTo>
                      <a:close/>
                      <a:moveTo>
                        <a:pt x="741" y="660"/>
                      </a:moveTo>
                      <a:lnTo>
                        <a:pt x="879" y="660"/>
                      </a:lnTo>
                      <a:lnTo>
                        <a:pt x="879" y="756"/>
                      </a:lnTo>
                      <a:lnTo>
                        <a:pt x="741" y="756"/>
                      </a:lnTo>
                      <a:lnTo>
                        <a:pt x="741" y="660"/>
                      </a:lnTo>
                      <a:close/>
                      <a:moveTo>
                        <a:pt x="896" y="660"/>
                      </a:moveTo>
                      <a:lnTo>
                        <a:pt x="1033" y="660"/>
                      </a:lnTo>
                      <a:lnTo>
                        <a:pt x="1033" y="756"/>
                      </a:lnTo>
                      <a:lnTo>
                        <a:pt x="896" y="756"/>
                      </a:lnTo>
                      <a:lnTo>
                        <a:pt x="896" y="660"/>
                      </a:lnTo>
                      <a:close/>
                      <a:moveTo>
                        <a:pt x="1049" y="660"/>
                      </a:moveTo>
                      <a:lnTo>
                        <a:pt x="1082" y="660"/>
                      </a:lnTo>
                      <a:lnTo>
                        <a:pt x="1082" y="756"/>
                      </a:lnTo>
                      <a:lnTo>
                        <a:pt x="1049" y="756"/>
                      </a:lnTo>
                      <a:lnTo>
                        <a:pt x="1049" y="660"/>
                      </a:lnTo>
                      <a:close/>
                      <a:moveTo>
                        <a:pt x="677" y="660"/>
                      </a:moveTo>
                      <a:lnTo>
                        <a:pt x="724" y="660"/>
                      </a:lnTo>
                      <a:lnTo>
                        <a:pt x="724" y="756"/>
                      </a:lnTo>
                      <a:lnTo>
                        <a:pt x="677" y="756"/>
                      </a:lnTo>
                      <a:lnTo>
                        <a:pt x="677" y="660"/>
                      </a:lnTo>
                      <a:close/>
                      <a:moveTo>
                        <a:pt x="498" y="606"/>
                      </a:moveTo>
                      <a:lnTo>
                        <a:pt x="439" y="606"/>
                      </a:lnTo>
                      <a:lnTo>
                        <a:pt x="439" y="606"/>
                      </a:lnTo>
                      <a:lnTo>
                        <a:pt x="434" y="604"/>
                      </a:lnTo>
                      <a:lnTo>
                        <a:pt x="429" y="601"/>
                      </a:lnTo>
                      <a:lnTo>
                        <a:pt x="425" y="597"/>
                      </a:lnTo>
                      <a:lnTo>
                        <a:pt x="425" y="591"/>
                      </a:lnTo>
                      <a:lnTo>
                        <a:pt x="425" y="533"/>
                      </a:lnTo>
                      <a:lnTo>
                        <a:pt x="425" y="533"/>
                      </a:lnTo>
                      <a:lnTo>
                        <a:pt x="425" y="528"/>
                      </a:lnTo>
                      <a:lnTo>
                        <a:pt x="429" y="523"/>
                      </a:lnTo>
                      <a:lnTo>
                        <a:pt x="434" y="521"/>
                      </a:lnTo>
                      <a:lnTo>
                        <a:pt x="439" y="520"/>
                      </a:lnTo>
                      <a:lnTo>
                        <a:pt x="498" y="520"/>
                      </a:lnTo>
                      <a:lnTo>
                        <a:pt x="498" y="520"/>
                      </a:lnTo>
                      <a:lnTo>
                        <a:pt x="505" y="521"/>
                      </a:lnTo>
                      <a:lnTo>
                        <a:pt x="508" y="523"/>
                      </a:lnTo>
                      <a:lnTo>
                        <a:pt x="511" y="528"/>
                      </a:lnTo>
                      <a:lnTo>
                        <a:pt x="513" y="533"/>
                      </a:lnTo>
                      <a:lnTo>
                        <a:pt x="513" y="591"/>
                      </a:lnTo>
                      <a:lnTo>
                        <a:pt x="513" y="591"/>
                      </a:lnTo>
                      <a:lnTo>
                        <a:pt x="511" y="597"/>
                      </a:lnTo>
                      <a:lnTo>
                        <a:pt x="508" y="601"/>
                      </a:lnTo>
                      <a:lnTo>
                        <a:pt x="505" y="604"/>
                      </a:lnTo>
                      <a:lnTo>
                        <a:pt x="498" y="606"/>
                      </a:lnTo>
                      <a:lnTo>
                        <a:pt x="498" y="606"/>
                      </a:lnTo>
                      <a:close/>
                      <a:moveTo>
                        <a:pt x="513" y="874"/>
                      </a:moveTo>
                      <a:lnTo>
                        <a:pt x="513" y="933"/>
                      </a:lnTo>
                      <a:lnTo>
                        <a:pt x="513" y="933"/>
                      </a:lnTo>
                      <a:lnTo>
                        <a:pt x="511" y="938"/>
                      </a:lnTo>
                      <a:lnTo>
                        <a:pt x="508" y="941"/>
                      </a:lnTo>
                      <a:lnTo>
                        <a:pt x="505" y="945"/>
                      </a:lnTo>
                      <a:lnTo>
                        <a:pt x="498" y="947"/>
                      </a:lnTo>
                      <a:lnTo>
                        <a:pt x="439" y="947"/>
                      </a:lnTo>
                      <a:lnTo>
                        <a:pt x="439" y="947"/>
                      </a:lnTo>
                      <a:lnTo>
                        <a:pt x="434" y="945"/>
                      </a:lnTo>
                      <a:lnTo>
                        <a:pt x="429" y="941"/>
                      </a:lnTo>
                      <a:lnTo>
                        <a:pt x="425" y="938"/>
                      </a:lnTo>
                      <a:lnTo>
                        <a:pt x="425" y="933"/>
                      </a:lnTo>
                      <a:lnTo>
                        <a:pt x="425" y="874"/>
                      </a:lnTo>
                      <a:lnTo>
                        <a:pt x="425" y="874"/>
                      </a:lnTo>
                      <a:lnTo>
                        <a:pt x="425" y="869"/>
                      </a:lnTo>
                      <a:lnTo>
                        <a:pt x="429" y="866"/>
                      </a:lnTo>
                      <a:lnTo>
                        <a:pt x="434" y="862"/>
                      </a:lnTo>
                      <a:lnTo>
                        <a:pt x="439" y="860"/>
                      </a:lnTo>
                      <a:lnTo>
                        <a:pt x="498" y="860"/>
                      </a:lnTo>
                      <a:lnTo>
                        <a:pt x="498" y="860"/>
                      </a:lnTo>
                      <a:lnTo>
                        <a:pt x="505" y="862"/>
                      </a:lnTo>
                      <a:lnTo>
                        <a:pt x="508" y="866"/>
                      </a:lnTo>
                      <a:lnTo>
                        <a:pt x="511" y="869"/>
                      </a:lnTo>
                      <a:lnTo>
                        <a:pt x="513" y="874"/>
                      </a:lnTo>
                      <a:lnTo>
                        <a:pt x="513" y="874"/>
                      </a:lnTo>
                      <a:close/>
                      <a:moveTo>
                        <a:pt x="348" y="734"/>
                      </a:moveTo>
                      <a:lnTo>
                        <a:pt x="348" y="791"/>
                      </a:lnTo>
                      <a:lnTo>
                        <a:pt x="348" y="791"/>
                      </a:lnTo>
                      <a:lnTo>
                        <a:pt x="346" y="796"/>
                      </a:lnTo>
                      <a:lnTo>
                        <a:pt x="343" y="801"/>
                      </a:lnTo>
                      <a:lnTo>
                        <a:pt x="339" y="805"/>
                      </a:lnTo>
                      <a:lnTo>
                        <a:pt x="334" y="805"/>
                      </a:lnTo>
                      <a:lnTo>
                        <a:pt x="274" y="805"/>
                      </a:lnTo>
                      <a:lnTo>
                        <a:pt x="274" y="805"/>
                      </a:lnTo>
                      <a:lnTo>
                        <a:pt x="269" y="805"/>
                      </a:lnTo>
                      <a:lnTo>
                        <a:pt x="263" y="801"/>
                      </a:lnTo>
                      <a:lnTo>
                        <a:pt x="262" y="796"/>
                      </a:lnTo>
                      <a:lnTo>
                        <a:pt x="260" y="791"/>
                      </a:lnTo>
                      <a:lnTo>
                        <a:pt x="260" y="734"/>
                      </a:lnTo>
                      <a:lnTo>
                        <a:pt x="260" y="734"/>
                      </a:lnTo>
                      <a:lnTo>
                        <a:pt x="262" y="729"/>
                      </a:lnTo>
                      <a:lnTo>
                        <a:pt x="263" y="724"/>
                      </a:lnTo>
                      <a:lnTo>
                        <a:pt x="269" y="720"/>
                      </a:lnTo>
                      <a:lnTo>
                        <a:pt x="274" y="720"/>
                      </a:lnTo>
                      <a:lnTo>
                        <a:pt x="334" y="720"/>
                      </a:lnTo>
                      <a:lnTo>
                        <a:pt x="334" y="720"/>
                      </a:lnTo>
                      <a:lnTo>
                        <a:pt x="339" y="720"/>
                      </a:lnTo>
                      <a:lnTo>
                        <a:pt x="343" y="724"/>
                      </a:lnTo>
                      <a:lnTo>
                        <a:pt x="346" y="729"/>
                      </a:lnTo>
                      <a:lnTo>
                        <a:pt x="348" y="734"/>
                      </a:lnTo>
                      <a:lnTo>
                        <a:pt x="348" y="734"/>
                      </a:lnTo>
                      <a:close/>
                      <a:moveTo>
                        <a:pt x="243" y="397"/>
                      </a:moveTo>
                      <a:lnTo>
                        <a:pt x="243" y="397"/>
                      </a:lnTo>
                      <a:lnTo>
                        <a:pt x="245" y="391"/>
                      </a:lnTo>
                      <a:lnTo>
                        <a:pt x="248" y="386"/>
                      </a:lnTo>
                      <a:lnTo>
                        <a:pt x="252" y="385"/>
                      </a:lnTo>
                      <a:lnTo>
                        <a:pt x="258" y="383"/>
                      </a:lnTo>
                      <a:lnTo>
                        <a:pt x="317" y="383"/>
                      </a:lnTo>
                      <a:lnTo>
                        <a:pt x="317" y="383"/>
                      </a:lnTo>
                      <a:lnTo>
                        <a:pt x="322" y="385"/>
                      </a:lnTo>
                      <a:lnTo>
                        <a:pt x="328" y="386"/>
                      </a:lnTo>
                      <a:lnTo>
                        <a:pt x="331" y="391"/>
                      </a:lnTo>
                      <a:lnTo>
                        <a:pt x="331" y="397"/>
                      </a:lnTo>
                      <a:lnTo>
                        <a:pt x="331" y="454"/>
                      </a:lnTo>
                      <a:lnTo>
                        <a:pt x="331" y="454"/>
                      </a:lnTo>
                      <a:lnTo>
                        <a:pt x="331" y="461"/>
                      </a:lnTo>
                      <a:lnTo>
                        <a:pt x="328" y="464"/>
                      </a:lnTo>
                      <a:lnTo>
                        <a:pt x="322" y="467"/>
                      </a:lnTo>
                      <a:lnTo>
                        <a:pt x="317" y="469"/>
                      </a:lnTo>
                      <a:lnTo>
                        <a:pt x="258" y="469"/>
                      </a:lnTo>
                      <a:lnTo>
                        <a:pt x="258" y="469"/>
                      </a:lnTo>
                      <a:lnTo>
                        <a:pt x="252" y="467"/>
                      </a:lnTo>
                      <a:lnTo>
                        <a:pt x="248" y="464"/>
                      </a:lnTo>
                      <a:lnTo>
                        <a:pt x="245" y="461"/>
                      </a:lnTo>
                      <a:lnTo>
                        <a:pt x="243" y="454"/>
                      </a:lnTo>
                      <a:lnTo>
                        <a:pt x="243" y="397"/>
                      </a:lnTo>
                      <a:close/>
                      <a:moveTo>
                        <a:pt x="1464" y="105"/>
                      </a:moveTo>
                      <a:lnTo>
                        <a:pt x="1464" y="105"/>
                      </a:lnTo>
                      <a:lnTo>
                        <a:pt x="1464" y="101"/>
                      </a:lnTo>
                      <a:lnTo>
                        <a:pt x="1466" y="100"/>
                      </a:lnTo>
                      <a:lnTo>
                        <a:pt x="1468" y="98"/>
                      </a:lnTo>
                      <a:lnTo>
                        <a:pt x="1471" y="96"/>
                      </a:lnTo>
                      <a:lnTo>
                        <a:pt x="1485" y="96"/>
                      </a:lnTo>
                      <a:lnTo>
                        <a:pt x="1485" y="96"/>
                      </a:lnTo>
                      <a:lnTo>
                        <a:pt x="1486" y="98"/>
                      </a:lnTo>
                      <a:lnTo>
                        <a:pt x="1490" y="100"/>
                      </a:lnTo>
                      <a:lnTo>
                        <a:pt x="1490" y="101"/>
                      </a:lnTo>
                      <a:lnTo>
                        <a:pt x="1491" y="105"/>
                      </a:lnTo>
                      <a:lnTo>
                        <a:pt x="1491" y="464"/>
                      </a:lnTo>
                      <a:lnTo>
                        <a:pt x="1491" y="938"/>
                      </a:lnTo>
                      <a:lnTo>
                        <a:pt x="1491" y="938"/>
                      </a:lnTo>
                      <a:lnTo>
                        <a:pt x="1490" y="940"/>
                      </a:lnTo>
                      <a:lnTo>
                        <a:pt x="1490" y="941"/>
                      </a:lnTo>
                      <a:lnTo>
                        <a:pt x="1486" y="943"/>
                      </a:lnTo>
                      <a:lnTo>
                        <a:pt x="1485" y="945"/>
                      </a:lnTo>
                      <a:lnTo>
                        <a:pt x="1471" y="945"/>
                      </a:lnTo>
                      <a:lnTo>
                        <a:pt x="1471" y="945"/>
                      </a:lnTo>
                      <a:lnTo>
                        <a:pt x="1466" y="943"/>
                      </a:lnTo>
                      <a:lnTo>
                        <a:pt x="1466" y="943"/>
                      </a:lnTo>
                      <a:lnTo>
                        <a:pt x="1464" y="940"/>
                      </a:lnTo>
                      <a:lnTo>
                        <a:pt x="1464" y="938"/>
                      </a:lnTo>
                      <a:lnTo>
                        <a:pt x="1464" y="105"/>
                      </a:lnTo>
                      <a:close/>
                      <a:moveTo>
                        <a:pt x="1356" y="105"/>
                      </a:moveTo>
                      <a:lnTo>
                        <a:pt x="1356" y="105"/>
                      </a:lnTo>
                      <a:lnTo>
                        <a:pt x="1358" y="101"/>
                      </a:lnTo>
                      <a:lnTo>
                        <a:pt x="1360" y="100"/>
                      </a:lnTo>
                      <a:lnTo>
                        <a:pt x="1362" y="98"/>
                      </a:lnTo>
                      <a:lnTo>
                        <a:pt x="1363" y="96"/>
                      </a:lnTo>
                      <a:lnTo>
                        <a:pt x="1377" y="96"/>
                      </a:lnTo>
                      <a:lnTo>
                        <a:pt x="1377" y="96"/>
                      </a:lnTo>
                      <a:lnTo>
                        <a:pt x="1380" y="98"/>
                      </a:lnTo>
                      <a:lnTo>
                        <a:pt x="1382" y="100"/>
                      </a:lnTo>
                      <a:lnTo>
                        <a:pt x="1383" y="101"/>
                      </a:lnTo>
                      <a:lnTo>
                        <a:pt x="1383" y="105"/>
                      </a:lnTo>
                      <a:lnTo>
                        <a:pt x="1383" y="938"/>
                      </a:lnTo>
                      <a:lnTo>
                        <a:pt x="1383" y="938"/>
                      </a:lnTo>
                      <a:lnTo>
                        <a:pt x="1383" y="940"/>
                      </a:lnTo>
                      <a:lnTo>
                        <a:pt x="1382" y="941"/>
                      </a:lnTo>
                      <a:lnTo>
                        <a:pt x="1380" y="943"/>
                      </a:lnTo>
                      <a:lnTo>
                        <a:pt x="1377" y="945"/>
                      </a:lnTo>
                      <a:lnTo>
                        <a:pt x="1363" y="945"/>
                      </a:lnTo>
                      <a:lnTo>
                        <a:pt x="1363" y="945"/>
                      </a:lnTo>
                      <a:lnTo>
                        <a:pt x="1362" y="943"/>
                      </a:lnTo>
                      <a:lnTo>
                        <a:pt x="1360" y="941"/>
                      </a:lnTo>
                      <a:lnTo>
                        <a:pt x="1358" y="940"/>
                      </a:lnTo>
                      <a:lnTo>
                        <a:pt x="1356" y="938"/>
                      </a:lnTo>
                      <a:lnTo>
                        <a:pt x="1356" y="105"/>
                      </a:lnTo>
                      <a:close/>
                      <a:moveTo>
                        <a:pt x="1250" y="105"/>
                      </a:moveTo>
                      <a:lnTo>
                        <a:pt x="1250" y="105"/>
                      </a:lnTo>
                      <a:lnTo>
                        <a:pt x="1250" y="101"/>
                      </a:lnTo>
                      <a:lnTo>
                        <a:pt x="1252" y="100"/>
                      </a:lnTo>
                      <a:lnTo>
                        <a:pt x="1254" y="98"/>
                      </a:lnTo>
                      <a:lnTo>
                        <a:pt x="1257" y="96"/>
                      </a:lnTo>
                      <a:lnTo>
                        <a:pt x="1270" y="96"/>
                      </a:lnTo>
                      <a:lnTo>
                        <a:pt x="1270" y="96"/>
                      </a:lnTo>
                      <a:lnTo>
                        <a:pt x="1274" y="98"/>
                      </a:lnTo>
                      <a:lnTo>
                        <a:pt x="1276" y="100"/>
                      </a:lnTo>
                      <a:lnTo>
                        <a:pt x="1277" y="101"/>
                      </a:lnTo>
                      <a:lnTo>
                        <a:pt x="1277" y="105"/>
                      </a:lnTo>
                      <a:lnTo>
                        <a:pt x="1277" y="938"/>
                      </a:lnTo>
                      <a:lnTo>
                        <a:pt x="1277" y="938"/>
                      </a:lnTo>
                      <a:lnTo>
                        <a:pt x="1277" y="940"/>
                      </a:lnTo>
                      <a:lnTo>
                        <a:pt x="1276" y="941"/>
                      </a:lnTo>
                      <a:lnTo>
                        <a:pt x="1274" y="943"/>
                      </a:lnTo>
                      <a:lnTo>
                        <a:pt x="1270" y="945"/>
                      </a:lnTo>
                      <a:lnTo>
                        <a:pt x="1257" y="945"/>
                      </a:lnTo>
                      <a:lnTo>
                        <a:pt x="1257" y="945"/>
                      </a:lnTo>
                      <a:lnTo>
                        <a:pt x="1254" y="943"/>
                      </a:lnTo>
                      <a:lnTo>
                        <a:pt x="1252" y="941"/>
                      </a:lnTo>
                      <a:lnTo>
                        <a:pt x="1250" y="940"/>
                      </a:lnTo>
                      <a:lnTo>
                        <a:pt x="1250" y="938"/>
                      </a:lnTo>
                      <a:lnTo>
                        <a:pt x="1250" y="105"/>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34" name="组合 52"/>
              <p:cNvGrpSpPr/>
              <p:nvPr/>
            </p:nvGrpSpPr>
            <p:grpSpPr>
              <a:xfrm>
                <a:off x="8909687" y="4638547"/>
                <a:ext cx="663254" cy="681039"/>
                <a:chOff x="1561307" y="2197099"/>
                <a:chExt cx="663254" cy="681039"/>
              </a:xfrm>
              <a:solidFill>
                <a:srgbClr val="00B0F0"/>
              </a:solidFill>
            </p:grpSpPr>
            <p:sp>
              <p:nvSpPr>
                <p:cNvPr id="54" name="Freeform 5"/>
                <p:cNvSpPr>
                  <a:spLocks noEditPoints="1"/>
                </p:cNvSpPr>
                <p:nvPr/>
              </p:nvSpPr>
              <p:spPr bwMode="auto">
                <a:xfrm>
                  <a:off x="1561307" y="2413000"/>
                  <a:ext cx="534194" cy="465138"/>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nvGrpSpPr>
                <p:cNvPr id="37" name="组合 54"/>
                <p:cNvGrpSpPr/>
                <p:nvPr/>
              </p:nvGrpSpPr>
              <p:grpSpPr>
                <a:xfrm>
                  <a:off x="2055056" y="2197099"/>
                  <a:ext cx="169505" cy="161441"/>
                  <a:chOff x="7198556" y="1523999"/>
                  <a:chExt cx="169505" cy="161441"/>
                </a:xfrm>
                <a:grpFill/>
              </p:grpSpPr>
              <p:sp>
                <p:nvSpPr>
                  <p:cNvPr id="56" name="Freeform 63"/>
                  <p:cNvSpPr>
                    <a:spLocks/>
                  </p:cNvSpPr>
                  <p:nvPr/>
                </p:nvSpPr>
                <p:spPr bwMode="auto">
                  <a:xfrm>
                    <a:off x="7198556" y="1563536"/>
                    <a:ext cx="126227" cy="120807"/>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57" name="Freeform 64"/>
                  <p:cNvSpPr>
                    <a:spLocks/>
                  </p:cNvSpPr>
                  <p:nvPr/>
                </p:nvSpPr>
                <p:spPr bwMode="auto">
                  <a:xfrm>
                    <a:off x="7199758" y="1523999"/>
                    <a:ext cx="168303" cy="161441"/>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grpSp>
            <p:nvGrpSpPr>
              <p:cNvPr id="43" name="组合 57"/>
              <p:cNvGrpSpPr/>
              <p:nvPr/>
            </p:nvGrpSpPr>
            <p:grpSpPr>
              <a:xfrm>
                <a:off x="6289345" y="4613147"/>
                <a:ext cx="955321" cy="705775"/>
                <a:chOff x="3250440" y="2209799"/>
                <a:chExt cx="955321" cy="705775"/>
              </a:xfrm>
              <a:solidFill>
                <a:srgbClr val="00B0F0"/>
              </a:solidFill>
            </p:grpSpPr>
            <p:grpSp>
              <p:nvGrpSpPr>
                <p:cNvPr id="49" name="组合 193"/>
                <p:cNvGrpSpPr/>
                <p:nvPr/>
              </p:nvGrpSpPr>
              <p:grpSpPr>
                <a:xfrm>
                  <a:off x="3250440" y="2260694"/>
                  <a:ext cx="829409" cy="654880"/>
                  <a:chOff x="6322350" y="3222104"/>
                  <a:chExt cx="1674812" cy="1322388"/>
                </a:xfrm>
                <a:grpFill/>
              </p:grpSpPr>
              <p:sp>
                <p:nvSpPr>
                  <p:cNvPr id="63" name="Freeform 30"/>
                  <p:cNvSpPr>
                    <a:spLocks noEditPoints="1"/>
                  </p:cNvSpPr>
                  <p:nvPr/>
                </p:nvSpPr>
                <p:spPr bwMode="auto">
                  <a:xfrm>
                    <a:off x="6322350" y="3377679"/>
                    <a:ext cx="1674812" cy="661988"/>
                  </a:xfrm>
                  <a:custGeom>
                    <a:avLst/>
                    <a:gdLst/>
                    <a:ahLst/>
                    <a:cxnLst>
                      <a:cxn ang="0">
                        <a:pos x="1047" y="3786"/>
                      </a:cxn>
                      <a:cxn ang="0">
                        <a:pos x="196" y="5543"/>
                      </a:cxn>
                      <a:cxn ang="0">
                        <a:pos x="2066" y="6601"/>
                      </a:cxn>
                      <a:cxn ang="0">
                        <a:pos x="5239" y="6675"/>
                      </a:cxn>
                      <a:cxn ang="0">
                        <a:pos x="6325" y="5624"/>
                      </a:cxn>
                      <a:cxn ang="0">
                        <a:pos x="7887" y="5291"/>
                      </a:cxn>
                      <a:cxn ang="0">
                        <a:pos x="12932" y="6675"/>
                      </a:cxn>
                      <a:cxn ang="0">
                        <a:pos x="15005" y="6568"/>
                      </a:cxn>
                      <a:cxn ang="0">
                        <a:pos x="16532" y="5682"/>
                      </a:cxn>
                      <a:cxn ang="0">
                        <a:pos x="16879" y="3508"/>
                      </a:cxn>
                      <a:cxn ang="0">
                        <a:pos x="16691" y="1655"/>
                      </a:cxn>
                      <a:cxn ang="0">
                        <a:pos x="15793" y="149"/>
                      </a:cxn>
                      <a:cxn ang="0">
                        <a:pos x="14211" y="569"/>
                      </a:cxn>
                      <a:cxn ang="0">
                        <a:pos x="13739" y="1919"/>
                      </a:cxn>
                      <a:cxn ang="0">
                        <a:pos x="13305" y="3735"/>
                      </a:cxn>
                      <a:cxn ang="0">
                        <a:pos x="13399" y="4434"/>
                      </a:cxn>
                      <a:cxn ang="0">
                        <a:pos x="12956" y="4499"/>
                      </a:cxn>
                      <a:cxn ang="0">
                        <a:pos x="12924" y="3774"/>
                      </a:cxn>
                      <a:cxn ang="0">
                        <a:pos x="12520" y="3767"/>
                      </a:cxn>
                      <a:cxn ang="0">
                        <a:pos x="12504" y="4492"/>
                      </a:cxn>
                      <a:cxn ang="0">
                        <a:pos x="12057" y="4444"/>
                      </a:cxn>
                      <a:cxn ang="0">
                        <a:pos x="12136" y="3736"/>
                      </a:cxn>
                      <a:cxn ang="0">
                        <a:pos x="11700" y="3834"/>
                      </a:cxn>
                      <a:cxn ang="0">
                        <a:pos x="11306" y="4511"/>
                      </a:cxn>
                      <a:cxn ang="0">
                        <a:pos x="11199" y="3823"/>
                      </a:cxn>
                      <a:cxn ang="0">
                        <a:pos x="10772" y="3739"/>
                      </a:cxn>
                      <a:cxn ang="0">
                        <a:pos x="10836" y="4453"/>
                      </a:cxn>
                      <a:cxn ang="0">
                        <a:pos x="10385" y="4486"/>
                      </a:cxn>
                      <a:cxn ang="0">
                        <a:pos x="10385" y="3760"/>
                      </a:cxn>
                      <a:cxn ang="0">
                        <a:pos x="9979" y="3784"/>
                      </a:cxn>
                      <a:cxn ang="0">
                        <a:pos x="9931" y="4503"/>
                      </a:cxn>
                      <a:cxn ang="0">
                        <a:pos x="9496" y="4424"/>
                      </a:cxn>
                      <a:cxn ang="0">
                        <a:pos x="9605" y="3734"/>
                      </a:cxn>
                      <a:cxn ang="0">
                        <a:pos x="9148" y="4400"/>
                      </a:cxn>
                      <a:cxn ang="0">
                        <a:pos x="8731" y="4509"/>
                      </a:cxn>
                      <a:cxn ang="0">
                        <a:pos x="8652" y="3802"/>
                      </a:cxn>
                      <a:cxn ang="0">
                        <a:pos x="8238" y="3748"/>
                      </a:cxn>
                      <a:cxn ang="0">
                        <a:pos x="8271" y="4471"/>
                      </a:cxn>
                      <a:cxn ang="0">
                        <a:pos x="7816" y="4471"/>
                      </a:cxn>
                      <a:cxn ang="0">
                        <a:pos x="7849" y="3748"/>
                      </a:cxn>
                      <a:cxn ang="0">
                        <a:pos x="7437" y="3802"/>
                      </a:cxn>
                      <a:cxn ang="0">
                        <a:pos x="7357" y="4509"/>
                      </a:cxn>
                      <a:cxn ang="0">
                        <a:pos x="6941" y="4400"/>
                      </a:cxn>
                      <a:cxn ang="0">
                        <a:pos x="6484" y="3734"/>
                      </a:cxn>
                      <a:cxn ang="0">
                        <a:pos x="6592" y="4424"/>
                      </a:cxn>
                      <a:cxn ang="0">
                        <a:pos x="6157" y="4503"/>
                      </a:cxn>
                      <a:cxn ang="0">
                        <a:pos x="6108" y="3784"/>
                      </a:cxn>
                      <a:cxn ang="0">
                        <a:pos x="5702" y="3760"/>
                      </a:cxn>
                      <a:cxn ang="0">
                        <a:pos x="5702" y="4486"/>
                      </a:cxn>
                      <a:cxn ang="0">
                        <a:pos x="5252" y="4453"/>
                      </a:cxn>
                      <a:cxn ang="0">
                        <a:pos x="5316" y="3739"/>
                      </a:cxn>
                      <a:cxn ang="0">
                        <a:pos x="4889" y="3823"/>
                      </a:cxn>
                      <a:cxn ang="0">
                        <a:pos x="4781" y="4511"/>
                      </a:cxn>
                      <a:cxn ang="0">
                        <a:pos x="4388" y="3834"/>
                      </a:cxn>
                      <a:cxn ang="0">
                        <a:pos x="3952" y="3736"/>
                      </a:cxn>
                      <a:cxn ang="0">
                        <a:pos x="4032" y="4444"/>
                      </a:cxn>
                      <a:cxn ang="0">
                        <a:pos x="3585" y="4492"/>
                      </a:cxn>
                      <a:cxn ang="0">
                        <a:pos x="3568" y="3767"/>
                      </a:cxn>
                      <a:cxn ang="0">
                        <a:pos x="3164" y="3774"/>
                      </a:cxn>
                      <a:cxn ang="0">
                        <a:pos x="3131" y="4499"/>
                      </a:cxn>
                      <a:cxn ang="0">
                        <a:pos x="2689" y="4434"/>
                      </a:cxn>
                      <a:cxn ang="0">
                        <a:pos x="2784" y="3735"/>
                      </a:cxn>
                    </a:cxnLst>
                    <a:rect l="0" t="0" r="r" b="b"/>
                    <a:pathLst>
                      <a:path w="16880" h="6675">
                        <a:moveTo>
                          <a:pt x="13509" y="3300"/>
                        </a:moveTo>
                        <a:lnTo>
                          <a:pt x="2947" y="3300"/>
                        </a:lnTo>
                        <a:lnTo>
                          <a:pt x="2913" y="3304"/>
                        </a:lnTo>
                        <a:lnTo>
                          <a:pt x="2819" y="3318"/>
                        </a:lnTo>
                        <a:lnTo>
                          <a:pt x="2750" y="3327"/>
                        </a:lnTo>
                        <a:lnTo>
                          <a:pt x="2671" y="3340"/>
                        </a:lnTo>
                        <a:lnTo>
                          <a:pt x="2581" y="3356"/>
                        </a:lnTo>
                        <a:lnTo>
                          <a:pt x="2481" y="3374"/>
                        </a:lnTo>
                        <a:lnTo>
                          <a:pt x="2372" y="3395"/>
                        </a:lnTo>
                        <a:lnTo>
                          <a:pt x="2256" y="3419"/>
                        </a:lnTo>
                        <a:lnTo>
                          <a:pt x="2132" y="3446"/>
                        </a:lnTo>
                        <a:lnTo>
                          <a:pt x="2005" y="3476"/>
                        </a:lnTo>
                        <a:lnTo>
                          <a:pt x="1872" y="3510"/>
                        </a:lnTo>
                        <a:lnTo>
                          <a:pt x="1735" y="3546"/>
                        </a:lnTo>
                        <a:lnTo>
                          <a:pt x="1597" y="3587"/>
                        </a:lnTo>
                        <a:lnTo>
                          <a:pt x="1459" y="3631"/>
                        </a:lnTo>
                        <a:lnTo>
                          <a:pt x="1320" y="3678"/>
                        </a:lnTo>
                        <a:lnTo>
                          <a:pt x="1183" y="3730"/>
                        </a:lnTo>
                        <a:lnTo>
                          <a:pt x="1047" y="3786"/>
                        </a:lnTo>
                        <a:lnTo>
                          <a:pt x="916" y="3845"/>
                        </a:lnTo>
                        <a:lnTo>
                          <a:pt x="788" y="3909"/>
                        </a:lnTo>
                        <a:lnTo>
                          <a:pt x="666" y="3976"/>
                        </a:lnTo>
                        <a:lnTo>
                          <a:pt x="551" y="4048"/>
                        </a:lnTo>
                        <a:lnTo>
                          <a:pt x="444" y="4125"/>
                        </a:lnTo>
                        <a:lnTo>
                          <a:pt x="346" y="4207"/>
                        </a:lnTo>
                        <a:lnTo>
                          <a:pt x="257" y="4293"/>
                        </a:lnTo>
                        <a:lnTo>
                          <a:pt x="180" y="4383"/>
                        </a:lnTo>
                        <a:lnTo>
                          <a:pt x="115" y="4479"/>
                        </a:lnTo>
                        <a:lnTo>
                          <a:pt x="63" y="4579"/>
                        </a:lnTo>
                        <a:lnTo>
                          <a:pt x="26" y="4684"/>
                        </a:lnTo>
                        <a:lnTo>
                          <a:pt x="5" y="4795"/>
                        </a:lnTo>
                        <a:lnTo>
                          <a:pt x="0" y="4911"/>
                        </a:lnTo>
                        <a:lnTo>
                          <a:pt x="8" y="5027"/>
                        </a:lnTo>
                        <a:lnTo>
                          <a:pt x="27" y="5140"/>
                        </a:lnTo>
                        <a:lnTo>
                          <a:pt x="57" y="5247"/>
                        </a:lnTo>
                        <a:lnTo>
                          <a:pt x="95" y="5350"/>
                        </a:lnTo>
                        <a:lnTo>
                          <a:pt x="141" y="5449"/>
                        </a:lnTo>
                        <a:lnTo>
                          <a:pt x="196" y="5543"/>
                        </a:lnTo>
                        <a:lnTo>
                          <a:pt x="258" y="5634"/>
                        </a:lnTo>
                        <a:lnTo>
                          <a:pt x="327" y="5720"/>
                        </a:lnTo>
                        <a:lnTo>
                          <a:pt x="403" y="5804"/>
                        </a:lnTo>
                        <a:lnTo>
                          <a:pt x="485" y="5881"/>
                        </a:lnTo>
                        <a:lnTo>
                          <a:pt x="572" y="5956"/>
                        </a:lnTo>
                        <a:lnTo>
                          <a:pt x="665" y="6026"/>
                        </a:lnTo>
                        <a:lnTo>
                          <a:pt x="761" y="6092"/>
                        </a:lnTo>
                        <a:lnTo>
                          <a:pt x="861" y="6155"/>
                        </a:lnTo>
                        <a:lnTo>
                          <a:pt x="965" y="6213"/>
                        </a:lnTo>
                        <a:lnTo>
                          <a:pt x="1072" y="6268"/>
                        </a:lnTo>
                        <a:lnTo>
                          <a:pt x="1179" y="6320"/>
                        </a:lnTo>
                        <a:lnTo>
                          <a:pt x="1290" y="6367"/>
                        </a:lnTo>
                        <a:lnTo>
                          <a:pt x="1402" y="6411"/>
                        </a:lnTo>
                        <a:lnTo>
                          <a:pt x="1514" y="6451"/>
                        </a:lnTo>
                        <a:lnTo>
                          <a:pt x="1626" y="6488"/>
                        </a:lnTo>
                        <a:lnTo>
                          <a:pt x="1739" y="6522"/>
                        </a:lnTo>
                        <a:lnTo>
                          <a:pt x="1849" y="6551"/>
                        </a:lnTo>
                        <a:lnTo>
                          <a:pt x="1959" y="6578"/>
                        </a:lnTo>
                        <a:lnTo>
                          <a:pt x="2066" y="6601"/>
                        </a:lnTo>
                        <a:lnTo>
                          <a:pt x="2171" y="6621"/>
                        </a:lnTo>
                        <a:lnTo>
                          <a:pt x="2272" y="6638"/>
                        </a:lnTo>
                        <a:lnTo>
                          <a:pt x="2371" y="6652"/>
                        </a:lnTo>
                        <a:lnTo>
                          <a:pt x="2464" y="6662"/>
                        </a:lnTo>
                        <a:lnTo>
                          <a:pt x="2554" y="6670"/>
                        </a:lnTo>
                        <a:lnTo>
                          <a:pt x="2639" y="6674"/>
                        </a:lnTo>
                        <a:lnTo>
                          <a:pt x="2718" y="6675"/>
                        </a:lnTo>
                        <a:lnTo>
                          <a:pt x="2788" y="6675"/>
                        </a:lnTo>
                        <a:lnTo>
                          <a:pt x="2890" y="6675"/>
                        </a:lnTo>
                        <a:lnTo>
                          <a:pt x="3019" y="6675"/>
                        </a:lnTo>
                        <a:lnTo>
                          <a:pt x="3178" y="6675"/>
                        </a:lnTo>
                        <a:lnTo>
                          <a:pt x="3360" y="6675"/>
                        </a:lnTo>
                        <a:lnTo>
                          <a:pt x="3568" y="6675"/>
                        </a:lnTo>
                        <a:lnTo>
                          <a:pt x="3799" y="6675"/>
                        </a:lnTo>
                        <a:lnTo>
                          <a:pt x="4050" y="6675"/>
                        </a:lnTo>
                        <a:lnTo>
                          <a:pt x="4321" y="6675"/>
                        </a:lnTo>
                        <a:lnTo>
                          <a:pt x="4611" y="6675"/>
                        </a:lnTo>
                        <a:lnTo>
                          <a:pt x="4917" y="6675"/>
                        </a:lnTo>
                        <a:lnTo>
                          <a:pt x="5239" y="6675"/>
                        </a:lnTo>
                        <a:lnTo>
                          <a:pt x="5574" y="6675"/>
                        </a:lnTo>
                        <a:lnTo>
                          <a:pt x="5922" y="6675"/>
                        </a:lnTo>
                        <a:lnTo>
                          <a:pt x="6279" y="6675"/>
                        </a:lnTo>
                        <a:lnTo>
                          <a:pt x="6647" y="6675"/>
                        </a:lnTo>
                        <a:lnTo>
                          <a:pt x="6333" y="6082"/>
                        </a:lnTo>
                        <a:lnTo>
                          <a:pt x="6331" y="6073"/>
                        </a:lnTo>
                        <a:lnTo>
                          <a:pt x="6325" y="6049"/>
                        </a:lnTo>
                        <a:lnTo>
                          <a:pt x="6316" y="6011"/>
                        </a:lnTo>
                        <a:lnTo>
                          <a:pt x="6307" y="5962"/>
                        </a:lnTo>
                        <a:lnTo>
                          <a:pt x="6304" y="5934"/>
                        </a:lnTo>
                        <a:lnTo>
                          <a:pt x="6300" y="5904"/>
                        </a:lnTo>
                        <a:lnTo>
                          <a:pt x="6297" y="5871"/>
                        </a:lnTo>
                        <a:lnTo>
                          <a:pt x="6296" y="5838"/>
                        </a:lnTo>
                        <a:lnTo>
                          <a:pt x="6296" y="5804"/>
                        </a:lnTo>
                        <a:lnTo>
                          <a:pt x="6298" y="5769"/>
                        </a:lnTo>
                        <a:lnTo>
                          <a:pt x="6302" y="5733"/>
                        </a:lnTo>
                        <a:lnTo>
                          <a:pt x="6307" y="5696"/>
                        </a:lnTo>
                        <a:lnTo>
                          <a:pt x="6314" y="5660"/>
                        </a:lnTo>
                        <a:lnTo>
                          <a:pt x="6325" y="5624"/>
                        </a:lnTo>
                        <a:lnTo>
                          <a:pt x="6337" y="5588"/>
                        </a:lnTo>
                        <a:lnTo>
                          <a:pt x="6353" y="5553"/>
                        </a:lnTo>
                        <a:lnTo>
                          <a:pt x="6372" y="5519"/>
                        </a:lnTo>
                        <a:lnTo>
                          <a:pt x="6394" y="5486"/>
                        </a:lnTo>
                        <a:lnTo>
                          <a:pt x="6421" y="5456"/>
                        </a:lnTo>
                        <a:lnTo>
                          <a:pt x="6450" y="5427"/>
                        </a:lnTo>
                        <a:lnTo>
                          <a:pt x="6484" y="5401"/>
                        </a:lnTo>
                        <a:lnTo>
                          <a:pt x="6522" y="5376"/>
                        </a:lnTo>
                        <a:lnTo>
                          <a:pt x="6565" y="5355"/>
                        </a:lnTo>
                        <a:lnTo>
                          <a:pt x="6613" y="5336"/>
                        </a:lnTo>
                        <a:lnTo>
                          <a:pt x="6665" y="5320"/>
                        </a:lnTo>
                        <a:lnTo>
                          <a:pt x="6724" y="5309"/>
                        </a:lnTo>
                        <a:lnTo>
                          <a:pt x="6786" y="5301"/>
                        </a:lnTo>
                        <a:lnTo>
                          <a:pt x="6855" y="5297"/>
                        </a:lnTo>
                        <a:lnTo>
                          <a:pt x="7015" y="5295"/>
                        </a:lnTo>
                        <a:lnTo>
                          <a:pt x="7204" y="5293"/>
                        </a:lnTo>
                        <a:lnTo>
                          <a:pt x="7416" y="5292"/>
                        </a:lnTo>
                        <a:lnTo>
                          <a:pt x="7645" y="5291"/>
                        </a:lnTo>
                        <a:lnTo>
                          <a:pt x="7887" y="5291"/>
                        </a:lnTo>
                        <a:lnTo>
                          <a:pt x="8136" y="5291"/>
                        </a:lnTo>
                        <a:lnTo>
                          <a:pt x="8387" y="5291"/>
                        </a:lnTo>
                        <a:lnTo>
                          <a:pt x="8635" y="5292"/>
                        </a:lnTo>
                        <a:lnTo>
                          <a:pt x="8874" y="5292"/>
                        </a:lnTo>
                        <a:lnTo>
                          <a:pt x="9097" y="5293"/>
                        </a:lnTo>
                        <a:lnTo>
                          <a:pt x="9302" y="5294"/>
                        </a:lnTo>
                        <a:lnTo>
                          <a:pt x="9481" y="5295"/>
                        </a:lnTo>
                        <a:lnTo>
                          <a:pt x="9630" y="5296"/>
                        </a:lnTo>
                        <a:lnTo>
                          <a:pt x="9743" y="5297"/>
                        </a:lnTo>
                        <a:lnTo>
                          <a:pt x="9815" y="5297"/>
                        </a:lnTo>
                        <a:lnTo>
                          <a:pt x="9840" y="5297"/>
                        </a:lnTo>
                        <a:lnTo>
                          <a:pt x="10345" y="6675"/>
                        </a:lnTo>
                        <a:lnTo>
                          <a:pt x="10759" y="6675"/>
                        </a:lnTo>
                        <a:lnTo>
                          <a:pt x="11161" y="6675"/>
                        </a:lnTo>
                        <a:lnTo>
                          <a:pt x="11550" y="6675"/>
                        </a:lnTo>
                        <a:lnTo>
                          <a:pt x="11925" y="6675"/>
                        </a:lnTo>
                        <a:lnTo>
                          <a:pt x="12281" y="6675"/>
                        </a:lnTo>
                        <a:lnTo>
                          <a:pt x="12618" y="6675"/>
                        </a:lnTo>
                        <a:lnTo>
                          <a:pt x="12932" y="6675"/>
                        </a:lnTo>
                        <a:lnTo>
                          <a:pt x="13223" y="6675"/>
                        </a:lnTo>
                        <a:lnTo>
                          <a:pt x="13488" y="6675"/>
                        </a:lnTo>
                        <a:lnTo>
                          <a:pt x="13724" y="6675"/>
                        </a:lnTo>
                        <a:lnTo>
                          <a:pt x="13930" y="6675"/>
                        </a:lnTo>
                        <a:lnTo>
                          <a:pt x="14104" y="6675"/>
                        </a:lnTo>
                        <a:lnTo>
                          <a:pt x="14243" y="6675"/>
                        </a:lnTo>
                        <a:lnTo>
                          <a:pt x="14344" y="6675"/>
                        </a:lnTo>
                        <a:lnTo>
                          <a:pt x="14407" y="6675"/>
                        </a:lnTo>
                        <a:lnTo>
                          <a:pt x="14428" y="6675"/>
                        </a:lnTo>
                        <a:lnTo>
                          <a:pt x="14448" y="6673"/>
                        </a:lnTo>
                        <a:lnTo>
                          <a:pt x="14504" y="6665"/>
                        </a:lnTo>
                        <a:lnTo>
                          <a:pt x="14545" y="6659"/>
                        </a:lnTo>
                        <a:lnTo>
                          <a:pt x="14593" y="6652"/>
                        </a:lnTo>
                        <a:lnTo>
                          <a:pt x="14648" y="6642"/>
                        </a:lnTo>
                        <a:lnTo>
                          <a:pt x="14709" y="6632"/>
                        </a:lnTo>
                        <a:lnTo>
                          <a:pt x="14776" y="6619"/>
                        </a:lnTo>
                        <a:lnTo>
                          <a:pt x="14848" y="6604"/>
                        </a:lnTo>
                        <a:lnTo>
                          <a:pt x="14924" y="6587"/>
                        </a:lnTo>
                        <a:lnTo>
                          <a:pt x="15005" y="6568"/>
                        </a:lnTo>
                        <a:lnTo>
                          <a:pt x="15089" y="6547"/>
                        </a:lnTo>
                        <a:lnTo>
                          <a:pt x="15176" y="6524"/>
                        </a:lnTo>
                        <a:lnTo>
                          <a:pt x="15265" y="6497"/>
                        </a:lnTo>
                        <a:lnTo>
                          <a:pt x="15357" y="6469"/>
                        </a:lnTo>
                        <a:lnTo>
                          <a:pt x="15448" y="6438"/>
                        </a:lnTo>
                        <a:lnTo>
                          <a:pt x="15540" y="6404"/>
                        </a:lnTo>
                        <a:lnTo>
                          <a:pt x="15633" y="6368"/>
                        </a:lnTo>
                        <a:lnTo>
                          <a:pt x="15725" y="6329"/>
                        </a:lnTo>
                        <a:lnTo>
                          <a:pt x="15816" y="6287"/>
                        </a:lnTo>
                        <a:lnTo>
                          <a:pt x="15904" y="6241"/>
                        </a:lnTo>
                        <a:lnTo>
                          <a:pt x="15991" y="6193"/>
                        </a:lnTo>
                        <a:lnTo>
                          <a:pt x="16075" y="6141"/>
                        </a:lnTo>
                        <a:lnTo>
                          <a:pt x="16155" y="6087"/>
                        </a:lnTo>
                        <a:lnTo>
                          <a:pt x="16231" y="6028"/>
                        </a:lnTo>
                        <a:lnTo>
                          <a:pt x="16303" y="5966"/>
                        </a:lnTo>
                        <a:lnTo>
                          <a:pt x="16369" y="5901"/>
                        </a:lnTo>
                        <a:lnTo>
                          <a:pt x="16430" y="5832"/>
                        </a:lnTo>
                        <a:lnTo>
                          <a:pt x="16484" y="5759"/>
                        </a:lnTo>
                        <a:lnTo>
                          <a:pt x="16532" y="5682"/>
                        </a:lnTo>
                        <a:lnTo>
                          <a:pt x="16571" y="5602"/>
                        </a:lnTo>
                        <a:lnTo>
                          <a:pt x="16606" y="5516"/>
                        </a:lnTo>
                        <a:lnTo>
                          <a:pt x="16638" y="5424"/>
                        </a:lnTo>
                        <a:lnTo>
                          <a:pt x="16668" y="5326"/>
                        </a:lnTo>
                        <a:lnTo>
                          <a:pt x="16695" y="5223"/>
                        </a:lnTo>
                        <a:lnTo>
                          <a:pt x="16721" y="5116"/>
                        </a:lnTo>
                        <a:lnTo>
                          <a:pt x="16744" y="5004"/>
                        </a:lnTo>
                        <a:lnTo>
                          <a:pt x="16765" y="4890"/>
                        </a:lnTo>
                        <a:lnTo>
                          <a:pt x="16785" y="4770"/>
                        </a:lnTo>
                        <a:lnTo>
                          <a:pt x="16802" y="4650"/>
                        </a:lnTo>
                        <a:lnTo>
                          <a:pt x="16817" y="4526"/>
                        </a:lnTo>
                        <a:lnTo>
                          <a:pt x="16830" y="4400"/>
                        </a:lnTo>
                        <a:lnTo>
                          <a:pt x="16842" y="4273"/>
                        </a:lnTo>
                        <a:lnTo>
                          <a:pt x="16853" y="4146"/>
                        </a:lnTo>
                        <a:lnTo>
                          <a:pt x="16861" y="4017"/>
                        </a:lnTo>
                        <a:lnTo>
                          <a:pt x="16867" y="3889"/>
                        </a:lnTo>
                        <a:lnTo>
                          <a:pt x="16873" y="3760"/>
                        </a:lnTo>
                        <a:lnTo>
                          <a:pt x="16876" y="3633"/>
                        </a:lnTo>
                        <a:lnTo>
                          <a:pt x="16879" y="3508"/>
                        </a:lnTo>
                        <a:lnTo>
                          <a:pt x="16880" y="3383"/>
                        </a:lnTo>
                        <a:lnTo>
                          <a:pt x="16880" y="3262"/>
                        </a:lnTo>
                        <a:lnTo>
                          <a:pt x="16878" y="3143"/>
                        </a:lnTo>
                        <a:lnTo>
                          <a:pt x="16876" y="3027"/>
                        </a:lnTo>
                        <a:lnTo>
                          <a:pt x="16872" y="2916"/>
                        </a:lnTo>
                        <a:lnTo>
                          <a:pt x="16867" y="2807"/>
                        </a:lnTo>
                        <a:lnTo>
                          <a:pt x="16861" y="2704"/>
                        </a:lnTo>
                        <a:lnTo>
                          <a:pt x="16855" y="2606"/>
                        </a:lnTo>
                        <a:lnTo>
                          <a:pt x="16847" y="2513"/>
                        </a:lnTo>
                        <a:lnTo>
                          <a:pt x="16840" y="2426"/>
                        </a:lnTo>
                        <a:lnTo>
                          <a:pt x="16830" y="2347"/>
                        </a:lnTo>
                        <a:lnTo>
                          <a:pt x="16821" y="2273"/>
                        </a:lnTo>
                        <a:lnTo>
                          <a:pt x="16811" y="2207"/>
                        </a:lnTo>
                        <a:lnTo>
                          <a:pt x="16801" y="2149"/>
                        </a:lnTo>
                        <a:lnTo>
                          <a:pt x="16777" y="2030"/>
                        </a:lnTo>
                        <a:lnTo>
                          <a:pt x="16747" y="1891"/>
                        </a:lnTo>
                        <a:lnTo>
                          <a:pt x="16730" y="1816"/>
                        </a:lnTo>
                        <a:lnTo>
                          <a:pt x="16712" y="1738"/>
                        </a:lnTo>
                        <a:lnTo>
                          <a:pt x="16691" y="1655"/>
                        </a:lnTo>
                        <a:lnTo>
                          <a:pt x="16669" y="1571"/>
                        </a:lnTo>
                        <a:lnTo>
                          <a:pt x="16644" y="1484"/>
                        </a:lnTo>
                        <a:lnTo>
                          <a:pt x="16617" y="1396"/>
                        </a:lnTo>
                        <a:lnTo>
                          <a:pt x="16588" y="1306"/>
                        </a:lnTo>
                        <a:lnTo>
                          <a:pt x="16556" y="1216"/>
                        </a:lnTo>
                        <a:lnTo>
                          <a:pt x="16522" y="1127"/>
                        </a:lnTo>
                        <a:lnTo>
                          <a:pt x="16485" y="1037"/>
                        </a:lnTo>
                        <a:lnTo>
                          <a:pt x="16446" y="948"/>
                        </a:lnTo>
                        <a:lnTo>
                          <a:pt x="16404" y="859"/>
                        </a:lnTo>
                        <a:lnTo>
                          <a:pt x="16358" y="773"/>
                        </a:lnTo>
                        <a:lnTo>
                          <a:pt x="16309" y="689"/>
                        </a:lnTo>
                        <a:lnTo>
                          <a:pt x="16258" y="607"/>
                        </a:lnTo>
                        <a:lnTo>
                          <a:pt x="16203" y="529"/>
                        </a:lnTo>
                        <a:lnTo>
                          <a:pt x="16144" y="454"/>
                        </a:lnTo>
                        <a:lnTo>
                          <a:pt x="16081" y="383"/>
                        </a:lnTo>
                        <a:lnTo>
                          <a:pt x="16015" y="318"/>
                        </a:lnTo>
                        <a:lnTo>
                          <a:pt x="15945" y="255"/>
                        </a:lnTo>
                        <a:lnTo>
                          <a:pt x="15871" y="200"/>
                        </a:lnTo>
                        <a:lnTo>
                          <a:pt x="15793" y="149"/>
                        </a:lnTo>
                        <a:lnTo>
                          <a:pt x="15711" y="106"/>
                        </a:lnTo>
                        <a:lnTo>
                          <a:pt x="15623" y="69"/>
                        </a:lnTo>
                        <a:lnTo>
                          <a:pt x="15533" y="41"/>
                        </a:lnTo>
                        <a:lnTo>
                          <a:pt x="15437" y="18"/>
                        </a:lnTo>
                        <a:lnTo>
                          <a:pt x="15337" y="6"/>
                        </a:lnTo>
                        <a:lnTo>
                          <a:pt x="15232" y="0"/>
                        </a:lnTo>
                        <a:lnTo>
                          <a:pt x="15127" y="6"/>
                        </a:lnTo>
                        <a:lnTo>
                          <a:pt x="15026" y="18"/>
                        </a:lnTo>
                        <a:lnTo>
                          <a:pt x="14930" y="38"/>
                        </a:lnTo>
                        <a:lnTo>
                          <a:pt x="14840" y="66"/>
                        </a:lnTo>
                        <a:lnTo>
                          <a:pt x="14753" y="101"/>
                        </a:lnTo>
                        <a:lnTo>
                          <a:pt x="14671" y="142"/>
                        </a:lnTo>
                        <a:lnTo>
                          <a:pt x="14593" y="189"/>
                        </a:lnTo>
                        <a:lnTo>
                          <a:pt x="14520" y="241"/>
                        </a:lnTo>
                        <a:lnTo>
                          <a:pt x="14449" y="299"/>
                        </a:lnTo>
                        <a:lnTo>
                          <a:pt x="14384" y="361"/>
                        </a:lnTo>
                        <a:lnTo>
                          <a:pt x="14323" y="428"/>
                        </a:lnTo>
                        <a:lnTo>
                          <a:pt x="14265" y="496"/>
                        </a:lnTo>
                        <a:lnTo>
                          <a:pt x="14211" y="569"/>
                        </a:lnTo>
                        <a:lnTo>
                          <a:pt x="14160" y="645"/>
                        </a:lnTo>
                        <a:lnTo>
                          <a:pt x="14113" y="723"/>
                        </a:lnTo>
                        <a:lnTo>
                          <a:pt x="14069" y="802"/>
                        </a:lnTo>
                        <a:lnTo>
                          <a:pt x="14028" y="882"/>
                        </a:lnTo>
                        <a:lnTo>
                          <a:pt x="13991" y="964"/>
                        </a:lnTo>
                        <a:lnTo>
                          <a:pt x="13957" y="1045"/>
                        </a:lnTo>
                        <a:lnTo>
                          <a:pt x="13925" y="1127"/>
                        </a:lnTo>
                        <a:lnTo>
                          <a:pt x="13896" y="1208"/>
                        </a:lnTo>
                        <a:lnTo>
                          <a:pt x="13871" y="1287"/>
                        </a:lnTo>
                        <a:lnTo>
                          <a:pt x="13848" y="1366"/>
                        </a:lnTo>
                        <a:lnTo>
                          <a:pt x="13827" y="1442"/>
                        </a:lnTo>
                        <a:lnTo>
                          <a:pt x="13809" y="1515"/>
                        </a:lnTo>
                        <a:lnTo>
                          <a:pt x="13792" y="1585"/>
                        </a:lnTo>
                        <a:lnTo>
                          <a:pt x="13778" y="1652"/>
                        </a:lnTo>
                        <a:lnTo>
                          <a:pt x="13767" y="1716"/>
                        </a:lnTo>
                        <a:lnTo>
                          <a:pt x="13757" y="1774"/>
                        </a:lnTo>
                        <a:lnTo>
                          <a:pt x="13750" y="1828"/>
                        </a:lnTo>
                        <a:lnTo>
                          <a:pt x="13743" y="1876"/>
                        </a:lnTo>
                        <a:lnTo>
                          <a:pt x="13739" y="1919"/>
                        </a:lnTo>
                        <a:lnTo>
                          <a:pt x="13731" y="2004"/>
                        </a:lnTo>
                        <a:lnTo>
                          <a:pt x="13718" y="2099"/>
                        </a:lnTo>
                        <a:lnTo>
                          <a:pt x="13703" y="2203"/>
                        </a:lnTo>
                        <a:lnTo>
                          <a:pt x="13687" y="2313"/>
                        </a:lnTo>
                        <a:lnTo>
                          <a:pt x="13669" y="2426"/>
                        </a:lnTo>
                        <a:lnTo>
                          <a:pt x="13650" y="2541"/>
                        </a:lnTo>
                        <a:lnTo>
                          <a:pt x="13630" y="2656"/>
                        </a:lnTo>
                        <a:lnTo>
                          <a:pt x="13610" y="2768"/>
                        </a:lnTo>
                        <a:lnTo>
                          <a:pt x="13591" y="2874"/>
                        </a:lnTo>
                        <a:lnTo>
                          <a:pt x="13572" y="2974"/>
                        </a:lnTo>
                        <a:lnTo>
                          <a:pt x="13555" y="3065"/>
                        </a:lnTo>
                        <a:lnTo>
                          <a:pt x="13540" y="3143"/>
                        </a:lnTo>
                        <a:lnTo>
                          <a:pt x="13527" y="3209"/>
                        </a:lnTo>
                        <a:lnTo>
                          <a:pt x="13518" y="3257"/>
                        </a:lnTo>
                        <a:lnTo>
                          <a:pt x="13511" y="3289"/>
                        </a:lnTo>
                        <a:lnTo>
                          <a:pt x="13509" y="3300"/>
                        </a:lnTo>
                        <a:close/>
                        <a:moveTo>
                          <a:pt x="13009" y="3734"/>
                        </a:moveTo>
                        <a:lnTo>
                          <a:pt x="13293" y="3734"/>
                        </a:lnTo>
                        <a:lnTo>
                          <a:pt x="13305" y="3735"/>
                        </a:lnTo>
                        <a:lnTo>
                          <a:pt x="13315" y="3736"/>
                        </a:lnTo>
                        <a:lnTo>
                          <a:pt x="13326" y="3739"/>
                        </a:lnTo>
                        <a:lnTo>
                          <a:pt x="13336" y="3744"/>
                        </a:lnTo>
                        <a:lnTo>
                          <a:pt x="13346" y="3748"/>
                        </a:lnTo>
                        <a:lnTo>
                          <a:pt x="13354" y="3753"/>
                        </a:lnTo>
                        <a:lnTo>
                          <a:pt x="13363" y="3760"/>
                        </a:lnTo>
                        <a:lnTo>
                          <a:pt x="13371" y="3767"/>
                        </a:lnTo>
                        <a:lnTo>
                          <a:pt x="13378" y="3774"/>
                        </a:lnTo>
                        <a:lnTo>
                          <a:pt x="13385" y="3784"/>
                        </a:lnTo>
                        <a:lnTo>
                          <a:pt x="13390" y="3792"/>
                        </a:lnTo>
                        <a:lnTo>
                          <a:pt x="13394" y="3802"/>
                        </a:lnTo>
                        <a:lnTo>
                          <a:pt x="13399" y="3812"/>
                        </a:lnTo>
                        <a:lnTo>
                          <a:pt x="13401" y="3823"/>
                        </a:lnTo>
                        <a:lnTo>
                          <a:pt x="13403" y="3834"/>
                        </a:lnTo>
                        <a:lnTo>
                          <a:pt x="13404" y="3845"/>
                        </a:lnTo>
                        <a:lnTo>
                          <a:pt x="13404" y="4400"/>
                        </a:lnTo>
                        <a:lnTo>
                          <a:pt x="13403" y="4412"/>
                        </a:lnTo>
                        <a:lnTo>
                          <a:pt x="13401" y="4424"/>
                        </a:lnTo>
                        <a:lnTo>
                          <a:pt x="13399" y="4434"/>
                        </a:lnTo>
                        <a:lnTo>
                          <a:pt x="13394" y="4444"/>
                        </a:lnTo>
                        <a:lnTo>
                          <a:pt x="13390" y="4453"/>
                        </a:lnTo>
                        <a:lnTo>
                          <a:pt x="13385" y="4463"/>
                        </a:lnTo>
                        <a:lnTo>
                          <a:pt x="13378" y="4471"/>
                        </a:lnTo>
                        <a:lnTo>
                          <a:pt x="13371" y="4479"/>
                        </a:lnTo>
                        <a:lnTo>
                          <a:pt x="13363" y="4486"/>
                        </a:lnTo>
                        <a:lnTo>
                          <a:pt x="13354" y="4492"/>
                        </a:lnTo>
                        <a:lnTo>
                          <a:pt x="13346" y="4499"/>
                        </a:lnTo>
                        <a:lnTo>
                          <a:pt x="13336" y="4503"/>
                        </a:lnTo>
                        <a:lnTo>
                          <a:pt x="13326" y="4507"/>
                        </a:lnTo>
                        <a:lnTo>
                          <a:pt x="13315" y="4509"/>
                        </a:lnTo>
                        <a:lnTo>
                          <a:pt x="13305" y="4511"/>
                        </a:lnTo>
                        <a:lnTo>
                          <a:pt x="13293" y="4511"/>
                        </a:lnTo>
                        <a:lnTo>
                          <a:pt x="13009" y="4511"/>
                        </a:lnTo>
                        <a:lnTo>
                          <a:pt x="12998" y="4511"/>
                        </a:lnTo>
                        <a:lnTo>
                          <a:pt x="12987" y="4509"/>
                        </a:lnTo>
                        <a:lnTo>
                          <a:pt x="12977" y="4507"/>
                        </a:lnTo>
                        <a:lnTo>
                          <a:pt x="12966" y="4503"/>
                        </a:lnTo>
                        <a:lnTo>
                          <a:pt x="12956" y="4499"/>
                        </a:lnTo>
                        <a:lnTo>
                          <a:pt x="12947" y="4492"/>
                        </a:lnTo>
                        <a:lnTo>
                          <a:pt x="12939" y="4486"/>
                        </a:lnTo>
                        <a:lnTo>
                          <a:pt x="12931" y="4479"/>
                        </a:lnTo>
                        <a:lnTo>
                          <a:pt x="12924" y="4471"/>
                        </a:lnTo>
                        <a:lnTo>
                          <a:pt x="12917" y="4463"/>
                        </a:lnTo>
                        <a:lnTo>
                          <a:pt x="12912" y="4453"/>
                        </a:lnTo>
                        <a:lnTo>
                          <a:pt x="12908" y="4444"/>
                        </a:lnTo>
                        <a:lnTo>
                          <a:pt x="12904" y="4434"/>
                        </a:lnTo>
                        <a:lnTo>
                          <a:pt x="12902" y="4424"/>
                        </a:lnTo>
                        <a:lnTo>
                          <a:pt x="12899" y="4412"/>
                        </a:lnTo>
                        <a:lnTo>
                          <a:pt x="12899" y="4400"/>
                        </a:lnTo>
                        <a:lnTo>
                          <a:pt x="12899" y="3845"/>
                        </a:lnTo>
                        <a:lnTo>
                          <a:pt x="12899" y="3834"/>
                        </a:lnTo>
                        <a:lnTo>
                          <a:pt x="12902" y="3823"/>
                        </a:lnTo>
                        <a:lnTo>
                          <a:pt x="12904" y="3812"/>
                        </a:lnTo>
                        <a:lnTo>
                          <a:pt x="12908" y="3802"/>
                        </a:lnTo>
                        <a:lnTo>
                          <a:pt x="12912" y="3792"/>
                        </a:lnTo>
                        <a:lnTo>
                          <a:pt x="12917" y="3784"/>
                        </a:lnTo>
                        <a:lnTo>
                          <a:pt x="12924" y="3774"/>
                        </a:lnTo>
                        <a:lnTo>
                          <a:pt x="12931" y="3767"/>
                        </a:lnTo>
                        <a:lnTo>
                          <a:pt x="12939" y="3760"/>
                        </a:lnTo>
                        <a:lnTo>
                          <a:pt x="12947" y="3753"/>
                        </a:lnTo>
                        <a:lnTo>
                          <a:pt x="12956" y="3748"/>
                        </a:lnTo>
                        <a:lnTo>
                          <a:pt x="12966" y="3744"/>
                        </a:lnTo>
                        <a:lnTo>
                          <a:pt x="12977" y="3739"/>
                        </a:lnTo>
                        <a:lnTo>
                          <a:pt x="12987" y="3736"/>
                        </a:lnTo>
                        <a:lnTo>
                          <a:pt x="12998" y="3735"/>
                        </a:lnTo>
                        <a:lnTo>
                          <a:pt x="13009" y="3734"/>
                        </a:lnTo>
                        <a:close/>
                        <a:moveTo>
                          <a:pt x="12158" y="3734"/>
                        </a:moveTo>
                        <a:lnTo>
                          <a:pt x="12442" y="3734"/>
                        </a:lnTo>
                        <a:lnTo>
                          <a:pt x="12453" y="3735"/>
                        </a:lnTo>
                        <a:lnTo>
                          <a:pt x="12464" y="3736"/>
                        </a:lnTo>
                        <a:lnTo>
                          <a:pt x="12474" y="3739"/>
                        </a:lnTo>
                        <a:lnTo>
                          <a:pt x="12485" y="3744"/>
                        </a:lnTo>
                        <a:lnTo>
                          <a:pt x="12494" y="3748"/>
                        </a:lnTo>
                        <a:lnTo>
                          <a:pt x="12504" y="3753"/>
                        </a:lnTo>
                        <a:lnTo>
                          <a:pt x="12512" y="3760"/>
                        </a:lnTo>
                        <a:lnTo>
                          <a:pt x="12520" y="3767"/>
                        </a:lnTo>
                        <a:lnTo>
                          <a:pt x="12527" y="3774"/>
                        </a:lnTo>
                        <a:lnTo>
                          <a:pt x="12533" y="3784"/>
                        </a:lnTo>
                        <a:lnTo>
                          <a:pt x="12539" y="3792"/>
                        </a:lnTo>
                        <a:lnTo>
                          <a:pt x="12543" y="3802"/>
                        </a:lnTo>
                        <a:lnTo>
                          <a:pt x="12547" y="3812"/>
                        </a:lnTo>
                        <a:lnTo>
                          <a:pt x="12550" y="3823"/>
                        </a:lnTo>
                        <a:lnTo>
                          <a:pt x="12551" y="3834"/>
                        </a:lnTo>
                        <a:lnTo>
                          <a:pt x="12552" y="3845"/>
                        </a:lnTo>
                        <a:lnTo>
                          <a:pt x="12552" y="4400"/>
                        </a:lnTo>
                        <a:lnTo>
                          <a:pt x="12551" y="4412"/>
                        </a:lnTo>
                        <a:lnTo>
                          <a:pt x="12550" y="4424"/>
                        </a:lnTo>
                        <a:lnTo>
                          <a:pt x="12547" y="4434"/>
                        </a:lnTo>
                        <a:lnTo>
                          <a:pt x="12543" y="4444"/>
                        </a:lnTo>
                        <a:lnTo>
                          <a:pt x="12539" y="4453"/>
                        </a:lnTo>
                        <a:lnTo>
                          <a:pt x="12533" y="4463"/>
                        </a:lnTo>
                        <a:lnTo>
                          <a:pt x="12527" y="4471"/>
                        </a:lnTo>
                        <a:lnTo>
                          <a:pt x="12520" y="4479"/>
                        </a:lnTo>
                        <a:lnTo>
                          <a:pt x="12512" y="4486"/>
                        </a:lnTo>
                        <a:lnTo>
                          <a:pt x="12504" y="4492"/>
                        </a:lnTo>
                        <a:lnTo>
                          <a:pt x="12494" y="4499"/>
                        </a:lnTo>
                        <a:lnTo>
                          <a:pt x="12485" y="4503"/>
                        </a:lnTo>
                        <a:lnTo>
                          <a:pt x="12474" y="4507"/>
                        </a:lnTo>
                        <a:lnTo>
                          <a:pt x="12464" y="4509"/>
                        </a:lnTo>
                        <a:lnTo>
                          <a:pt x="12453" y="4511"/>
                        </a:lnTo>
                        <a:lnTo>
                          <a:pt x="12442" y="4511"/>
                        </a:lnTo>
                        <a:lnTo>
                          <a:pt x="12158" y="4511"/>
                        </a:lnTo>
                        <a:lnTo>
                          <a:pt x="12147" y="4511"/>
                        </a:lnTo>
                        <a:lnTo>
                          <a:pt x="12136" y="4509"/>
                        </a:lnTo>
                        <a:lnTo>
                          <a:pt x="12125" y="4507"/>
                        </a:lnTo>
                        <a:lnTo>
                          <a:pt x="12116" y="4503"/>
                        </a:lnTo>
                        <a:lnTo>
                          <a:pt x="12105" y="4499"/>
                        </a:lnTo>
                        <a:lnTo>
                          <a:pt x="12097" y="4492"/>
                        </a:lnTo>
                        <a:lnTo>
                          <a:pt x="12088" y="4486"/>
                        </a:lnTo>
                        <a:lnTo>
                          <a:pt x="12080" y="4479"/>
                        </a:lnTo>
                        <a:lnTo>
                          <a:pt x="12072" y="4471"/>
                        </a:lnTo>
                        <a:lnTo>
                          <a:pt x="12066" y="4463"/>
                        </a:lnTo>
                        <a:lnTo>
                          <a:pt x="12061" y="4453"/>
                        </a:lnTo>
                        <a:lnTo>
                          <a:pt x="12057" y="4444"/>
                        </a:lnTo>
                        <a:lnTo>
                          <a:pt x="12052" y="4434"/>
                        </a:lnTo>
                        <a:lnTo>
                          <a:pt x="12050" y="4424"/>
                        </a:lnTo>
                        <a:lnTo>
                          <a:pt x="12048" y="4412"/>
                        </a:lnTo>
                        <a:lnTo>
                          <a:pt x="12048" y="4400"/>
                        </a:lnTo>
                        <a:lnTo>
                          <a:pt x="12048" y="3845"/>
                        </a:lnTo>
                        <a:lnTo>
                          <a:pt x="12048" y="3834"/>
                        </a:lnTo>
                        <a:lnTo>
                          <a:pt x="12050" y="3823"/>
                        </a:lnTo>
                        <a:lnTo>
                          <a:pt x="12052" y="3812"/>
                        </a:lnTo>
                        <a:lnTo>
                          <a:pt x="12057" y="3802"/>
                        </a:lnTo>
                        <a:lnTo>
                          <a:pt x="12061" y="3792"/>
                        </a:lnTo>
                        <a:lnTo>
                          <a:pt x="12066" y="3784"/>
                        </a:lnTo>
                        <a:lnTo>
                          <a:pt x="12072" y="3774"/>
                        </a:lnTo>
                        <a:lnTo>
                          <a:pt x="12080" y="3767"/>
                        </a:lnTo>
                        <a:lnTo>
                          <a:pt x="12088" y="3760"/>
                        </a:lnTo>
                        <a:lnTo>
                          <a:pt x="12097" y="3753"/>
                        </a:lnTo>
                        <a:lnTo>
                          <a:pt x="12105" y="3748"/>
                        </a:lnTo>
                        <a:lnTo>
                          <a:pt x="12116" y="3744"/>
                        </a:lnTo>
                        <a:lnTo>
                          <a:pt x="12125" y="3739"/>
                        </a:lnTo>
                        <a:lnTo>
                          <a:pt x="12136" y="3736"/>
                        </a:lnTo>
                        <a:lnTo>
                          <a:pt x="12147" y="3735"/>
                        </a:lnTo>
                        <a:lnTo>
                          <a:pt x="12158" y="3734"/>
                        </a:lnTo>
                        <a:close/>
                        <a:moveTo>
                          <a:pt x="11306" y="3734"/>
                        </a:moveTo>
                        <a:lnTo>
                          <a:pt x="11591" y="3734"/>
                        </a:lnTo>
                        <a:lnTo>
                          <a:pt x="11602" y="3735"/>
                        </a:lnTo>
                        <a:lnTo>
                          <a:pt x="11612" y="3736"/>
                        </a:lnTo>
                        <a:lnTo>
                          <a:pt x="11623" y="3739"/>
                        </a:lnTo>
                        <a:lnTo>
                          <a:pt x="11633" y="3744"/>
                        </a:lnTo>
                        <a:lnTo>
                          <a:pt x="11643" y="3748"/>
                        </a:lnTo>
                        <a:lnTo>
                          <a:pt x="11652" y="3753"/>
                        </a:lnTo>
                        <a:lnTo>
                          <a:pt x="11661" y="3760"/>
                        </a:lnTo>
                        <a:lnTo>
                          <a:pt x="11668" y="3767"/>
                        </a:lnTo>
                        <a:lnTo>
                          <a:pt x="11676" y="3774"/>
                        </a:lnTo>
                        <a:lnTo>
                          <a:pt x="11682" y="3784"/>
                        </a:lnTo>
                        <a:lnTo>
                          <a:pt x="11687" y="3792"/>
                        </a:lnTo>
                        <a:lnTo>
                          <a:pt x="11693" y="3802"/>
                        </a:lnTo>
                        <a:lnTo>
                          <a:pt x="11696" y="3812"/>
                        </a:lnTo>
                        <a:lnTo>
                          <a:pt x="11699" y="3823"/>
                        </a:lnTo>
                        <a:lnTo>
                          <a:pt x="11700" y="3834"/>
                        </a:lnTo>
                        <a:lnTo>
                          <a:pt x="11701" y="3845"/>
                        </a:lnTo>
                        <a:lnTo>
                          <a:pt x="11701" y="4400"/>
                        </a:lnTo>
                        <a:lnTo>
                          <a:pt x="11700" y="4412"/>
                        </a:lnTo>
                        <a:lnTo>
                          <a:pt x="11699" y="4424"/>
                        </a:lnTo>
                        <a:lnTo>
                          <a:pt x="11696" y="4434"/>
                        </a:lnTo>
                        <a:lnTo>
                          <a:pt x="11693" y="4444"/>
                        </a:lnTo>
                        <a:lnTo>
                          <a:pt x="11687" y="4453"/>
                        </a:lnTo>
                        <a:lnTo>
                          <a:pt x="11682" y="4463"/>
                        </a:lnTo>
                        <a:lnTo>
                          <a:pt x="11676" y="4471"/>
                        </a:lnTo>
                        <a:lnTo>
                          <a:pt x="11668" y="4479"/>
                        </a:lnTo>
                        <a:lnTo>
                          <a:pt x="11661" y="4486"/>
                        </a:lnTo>
                        <a:lnTo>
                          <a:pt x="11652" y="4492"/>
                        </a:lnTo>
                        <a:lnTo>
                          <a:pt x="11643" y="4499"/>
                        </a:lnTo>
                        <a:lnTo>
                          <a:pt x="11633" y="4503"/>
                        </a:lnTo>
                        <a:lnTo>
                          <a:pt x="11623" y="4507"/>
                        </a:lnTo>
                        <a:lnTo>
                          <a:pt x="11612" y="4509"/>
                        </a:lnTo>
                        <a:lnTo>
                          <a:pt x="11602" y="4511"/>
                        </a:lnTo>
                        <a:lnTo>
                          <a:pt x="11591" y="4511"/>
                        </a:lnTo>
                        <a:lnTo>
                          <a:pt x="11306" y="4511"/>
                        </a:lnTo>
                        <a:lnTo>
                          <a:pt x="11296" y="4511"/>
                        </a:lnTo>
                        <a:lnTo>
                          <a:pt x="11284" y="4509"/>
                        </a:lnTo>
                        <a:lnTo>
                          <a:pt x="11274" y="4507"/>
                        </a:lnTo>
                        <a:lnTo>
                          <a:pt x="11264" y="4503"/>
                        </a:lnTo>
                        <a:lnTo>
                          <a:pt x="11254" y="4499"/>
                        </a:lnTo>
                        <a:lnTo>
                          <a:pt x="11245" y="4492"/>
                        </a:lnTo>
                        <a:lnTo>
                          <a:pt x="11237" y="4486"/>
                        </a:lnTo>
                        <a:lnTo>
                          <a:pt x="11229" y="4479"/>
                        </a:lnTo>
                        <a:lnTo>
                          <a:pt x="11222" y="4471"/>
                        </a:lnTo>
                        <a:lnTo>
                          <a:pt x="11216" y="4463"/>
                        </a:lnTo>
                        <a:lnTo>
                          <a:pt x="11209" y="4453"/>
                        </a:lnTo>
                        <a:lnTo>
                          <a:pt x="11205" y="4444"/>
                        </a:lnTo>
                        <a:lnTo>
                          <a:pt x="11201" y="4434"/>
                        </a:lnTo>
                        <a:lnTo>
                          <a:pt x="11199" y="4424"/>
                        </a:lnTo>
                        <a:lnTo>
                          <a:pt x="11197" y="4412"/>
                        </a:lnTo>
                        <a:lnTo>
                          <a:pt x="11197" y="4400"/>
                        </a:lnTo>
                        <a:lnTo>
                          <a:pt x="11197" y="3845"/>
                        </a:lnTo>
                        <a:lnTo>
                          <a:pt x="11197" y="3834"/>
                        </a:lnTo>
                        <a:lnTo>
                          <a:pt x="11199" y="3823"/>
                        </a:lnTo>
                        <a:lnTo>
                          <a:pt x="11201" y="3812"/>
                        </a:lnTo>
                        <a:lnTo>
                          <a:pt x="11205" y="3802"/>
                        </a:lnTo>
                        <a:lnTo>
                          <a:pt x="11209" y="3792"/>
                        </a:lnTo>
                        <a:lnTo>
                          <a:pt x="11216" y="3784"/>
                        </a:lnTo>
                        <a:lnTo>
                          <a:pt x="11222" y="3774"/>
                        </a:lnTo>
                        <a:lnTo>
                          <a:pt x="11229" y="3767"/>
                        </a:lnTo>
                        <a:lnTo>
                          <a:pt x="11237" y="3760"/>
                        </a:lnTo>
                        <a:lnTo>
                          <a:pt x="11245" y="3753"/>
                        </a:lnTo>
                        <a:lnTo>
                          <a:pt x="11254" y="3748"/>
                        </a:lnTo>
                        <a:lnTo>
                          <a:pt x="11264" y="3744"/>
                        </a:lnTo>
                        <a:lnTo>
                          <a:pt x="11274" y="3739"/>
                        </a:lnTo>
                        <a:lnTo>
                          <a:pt x="11284" y="3736"/>
                        </a:lnTo>
                        <a:lnTo>
                          <a:pt x="11296" y="3735"/>
                        </a:lnTo>
                        <a:lnTo>
                          <a:pt x="11306" y="3734"/>
                        </a:lnTo>
                        <a:close/>
                        <a:moveTo>
                          <a:pt x="10456" y="3734"/>
                        </a:moveTo>
                        <a:lnTo>
                          <a:pt x="10740" y="3734"/>
                        </a:lnTo>
                        <a:lnTo>
                          <a:pt x="10750" y="3735"/>
                        </a:lnTo>
                        <a:lnTo>
                          <a:pt x="10762" y="3736"/>
                        </a:lnTo>
                        <a:lnTo>
                          <a:pt x="10772" y="3739"/>
                        </a:lnTo>
                        <a:lnTo>
                          <a:pt x="10782" y="3744"/>
                        </a:lnTo>
                        <a:lnTo>
                          <a:pt x="10792" y="3748"/>
                        </a:lnTo>
                        <a:lnTo>
                          <a:pt x="10801" y="3753"/>
                        </a:lnTo>
                        <a:lnTo>
                          <a:pt x="10810" y="3760"/>
                        </a:lnTo>
                        <a:lnTo>
                          <a:pt x="10818" y="3767"/>
                        </a:lnTo>
                        <a:lnTo>
                          <a:pt x="10824" y="3774"/>
                        </a:lnTo>
                        <a:lnTo>
                          <a:pt x="10831" y="3784"/>
                        </a:lnTo>
                        <a:lnTo>
                          <a:pt x="10836" y="3792"/>
                        </a:lnTo>
                        <a:lnTo>
                          <a:pt x="10841" y="3802"/>
                        </a:lnTo>
                        <a:lnTo>
                          <a:pt x="10844" y="3812"/>
                        </a:lnTo>
                        <a:lnTo>
                          <a:pt x="10848" y="3823"/>
                        </a:lnTo>
                        <a:lnTo>
                          <a:pt x="10850" y="3834"/>
                        </a:lnTo>
                        <a:lnTo>
                          <a:pt x="10850" y="3845"/>
                        </a:lnTo>
                        <a:lnTo>
                          <a:pt x="10850" y="4400"/>
                        </a:lnTo>
                        <a:lnTo>
                          <a:pt x="10850" y="4412"/>
                        </a:lnTo>
                        <a:lnTo>
                          <a:pt x="10848" y="4424"/>
                        </a:lnTo>
                        <a:lnTo>
                          <a:pt x="10844" y="4434"/>
                        </a:lnTo>
                        <a:lnTo>
                          <a:pt x="10841" y="4444"/>
                        </a:lnTo>
                        <a:lnTo>
                          <a:pt x="10836" y="4453"/>
                        </a:lnTo>
                        <a:lnTo>
                          <a:pt x="10831" y="4463"/>
                        </a:lnTo>
                        <a:lnTo>
                          <a:pt x="10824" y="4471"/>
                        </a:lnTo>
                        <a:lnTo>
                          <a:pt x="10818" y="4479"/>
                        </a:lnTo>
                        <a:lnTo>
                          <a:pt x="10810" y="4486"/>
                        </a:lnTo>
                        <a:lnTo>
                          <a:pt x="10801" y="4492"/>
                        </a:lnTo>
                        <a:lnTo>
                          <a:pt x="10792" y="4499"/>
                        </a:lnTo>
                        <a:lnTo>
                          <a:pt x="10782" y="4503"/>
                        </a:lnTo>
                        <a:lnTo>
                          <a:pt x="10772" y="4507"/>
                        </a:lnTo>
                        <a:lnTo>
                          <a:pt x="10762" y="4509"/>
                        </a:lnTo>
                        <a:lnTo>
                          <a:pt x="10750" y="4511"/>
                        </a:lnTo>
                        <a:lnTo>
                          <a:pt x="10740" y="4511"/>
                        </a:lnTo>
                        <a:lnTo>
                          <a:pt x="10456" y="4511"/>
                        </a:lnTo>
                        <a:lnTo>
                          <a:pt x="10445" y="4511"/>
                        </a:lnTo>
                        <a:lnTo>
                          <a:pt x="10434" y="4509"/>
                        </a:lnTo>
                        <a:lnTo>
                          <a:pt x="10422" y="4507"/>
                        </a:lnTo>
                        <a:lnTo>
                          <a:pt x="10413" y="4503"/>
                        </a:lnTo>
                        <a:lnTo>
                          <a:pt x="10403" y="4499"/>
                        </a:lnTo>
                        <a:lnTo>
                          <a:pt x="10394" y="4492"/>
                        </a:lnTo>
                        <a:lnTo>
                          <a:pt x="10385" y="4486"/>
                        </a:lnTo>
                        <a:lnTo>
                          <a:pt x="10378" y="4479"/>
                        </a:lnTo>
                        <a:lnTo>
                          <a:pt x="10371" y="4471"/>
                        </a:lnTo>
                        <a:lnTo>
                          <a:pt x="10364" y="4463"/>
                        </a:lnTo>
                        <a:lnTo>
                          <a:pt x="10358" y="4453"/>
                        </a:lnTo>
                        <a:lnTo>
                          <a:pt x="10354" y="4444"/>
                        </a:lnTo>
                        <a:lnTo>
                          <a:pt x="10351" y="4434"/>
                        </a:lnTo>
                        <a:lnTo>
                          <a:pt x="10347" y="4424"/>
                        </a:lnTo>
                        <a:lnTo>
                          <a:pt x="10346" y="4412"/>
                        </a:lnTo>
                        <a:lnTo>
                          <a:pt x="10345" y="4400"/>
                        </a:lnTo>
                        <a:lnTo>
                          <a:pt x="10345" y="3845"/>
                        </a:lnTo>
                        <a:lnTo>
                          <a:pt x="10346" y="3834"/>
                        </a:lnTo>
                        <a:lnTo>
                          <a:pt x="10347" y="3823"/>
                        </a:lnTo>
                        <a:lnTo>
                          <a:pt x="10351" y="3812"/>
                        </a:lnTo>
                        <a:lnTo>
                          <a:pt x="10354" y="3802"/>
                        </a:lnTo>
                        <a:lnTo>
                          <a:pt x="10358" y="3792"/>
                        </a:lnTo>
                        <a:lnTo>
                          <a:pt x="10364" y="3784"/>
                        </a:lnTo>
                        <a:lnTo>
                          <a:pt x="10371" y="3774"/>
                        </a:lnTo>
                        <a:lnTo>
                          <a:pt x="10378" y="3767"/>
                        </a:lnTo>
                        <a:lnTo>
                          <a:pt x="10385" y="3760"/>
                        </a:lnTo>
                        <a:lnTo>
                          <a:pt x="10394" y="3753"/>
                        </a:lnTo>
                        <a:lnTo>
                          <a:pt x="10403" y="3748"/>
                        </a:lnTo>
                        <a:lnTo>
                          <a:pt x="10413" y="3744"/>
                        </a:lnTo>
                        <a:lnTo>
                          <a:pt x="10422" y="3739"/>
                        </a:lnTo>
                        <a:lnTo>
                          <a:pt x="10434" y="3736"/>
                        </a:lnTo>
                        <a:lnTo>
                          <a:pt x="10445" y="3735"/>
                        </a:lnTo>
                        <a:lnTo>
                          <a:pt x="10456" y="3734"/>
                        </a:lnTo>
                        <a:close/>
                        <a:moveTo>
                          <a:pt x="9605" y="3734"/>
                        </a:moveTo>
                        <a:lnTo>
                          <a:pt x="9889" y="3734"/>
                        </a:lnTo>
                        <a:lnTo>
                          <a:pt x="9899" y="3735"/>
                        </a:lnTo>
                        <a:lnTo>
                          <a:pt x="9911" y="3736"/>
                        </a:lnTo>
                        <a:lnTo>
                          <a:pt x="9921" y="3739"/>
                        </a:lnTo>
                        <a:lnTo>
                          <a:pt x="9931" y="3744"/>
                        </a:lnTo>
                        <a:lnTo>
                          <a:pt x="9940" y="3748"/>
                        </a:lnTo>
                        <a:lnTo>
                          <a:pt x="9950" y="3753"/>
                        </a:lnTo>
                        <a:lnTo>
                          <a:pt x="9958" y="3760"/>
                        </a:lnTo>
                        <a:lnTo>
                          <a:pt x="9967" y="3767"/>
                        </a:lnTo>
                        <a:lnTo>
                          <a:pt x="9973" y="3774"/>
                        </a:lnTo>
                        <a:lnTo>
                          <a:pt x="9979" y="3784"/>
                        </a:lnTo>
                        <a:lnTo>
                          <a:pt x="9986" y="3792"/>
                        </a:lnTo>
                        <a:lnTo>
                          <a:pt x="9990" y="3802"/>
                        </a:lnTo>
                        <a:lnTo>
                          <a:pt x="9993" y="3812"/>
                        </a:lnTo>
                        <a:lnTo>
                          <a:pt x="9996" y="3823"/>
                        </a:lnTo>
                        <a:lnTo>
                          <a:pt x="9998" y="3834"/>
                        </a:lnTo>
                        <a:lnTo>
                          <a:pt x="9999" y="3845"/>
                        </a:lnTo>
                        <a:lnTo>
                          <a:pt x="9999" y="4400"/>
                        </a:lnTo>
                        <a:lnTo>
                          <a:pt x="9998" y="4412"/>
                        </a:lnTo>
                        <a:lnTo>
                          <a:pt x="9996" y="4424"/>
                        </a:lnTo>
                        <a:lnTo>
                          <a:pt x="9993" y="4434"/>
                        </a:lnTo>
                        <a:lnTo>
                          <a:pt x="9990" y="4444"/>
                        </a:lnTo>
                        <a:lnTo>
                          <a:pt x="9986" y="4453"/>
                        </a:lnTo>
                        <a:lnTo>
                          <a:pt x="9979" y="4463"/>
                        </a:lnTo>
                        <a:lnTo>
                          <a:pt x="9973" y="4471"/>
                        </a:lnTo>
                        <a:lnTo>
                          <a:pt x="9967" y="4479"/>
                        </a:lnTo>
                        <a:lnTo>
                          <a:pt x="9958" y="4486"/>
                        </a:lnTo>
                        <a:lnTo>
                          <a:pt x="9950" y="4492"/>
                        </a:lnTo>
                        <a:lnTo>
                          <a:pt x="9940" y="4499"/>
                        </a:lnTo>
                        <a:lnTo>
                          <a:pt x="9931" y="4503"/>
                        </a:lnTo>
                        <a:lnTo>
                          <a:pt x="9921" y="4507"/>
                        </a:lnTo>
                        <a:lnTo>
                          <a:pt x="9911" y="4509"/>
                        </a:lnTo>
                        <a:lnTo>
                          <a:pt x="9899" y="4511"/>
                        </a:lnTo>
                        <a:lnTo>
                          <a:pt x="9889" y="4511"/>
                        </a:lnTo>
                        <a:lnTo>
                          <a:pt x="9605" y="4511"/>
                        </a:lnTo>
                        <a:lnTo>
                          <a:pt x="9593" y="4511"/>
                        </a:lnTo>
                        <a:lnTo>
                          <a:pt x="9583" y="4509"/>
                        </a:lnTo>
                        <a:lnTo>
                          <a:pt x="9572" y="4507"/>
                        </a:lnTo>
                        <a:lnTo>
                          <a:pt x="9561" y="4503"/>
                        </a:lnTo>
                        <a:lnTo>
                          <a:pt x="9552" y="4499"/>
                        </a:lnTo>
                        <a:lnTo>
                          <a:pt x="9542" y="4492"/>
                        </a:lnTo>
                        <a:lnTo>
                          <a:pt x="9534" y="4486"/>
                        </a:lnTo>
                        <a:lnTo>
                          <a:pt x="9527" y="4479"/>
                        </a:lnTo>
                        <a:lnTo>
                          <a:pt x="9519" y="4471"/>
                        </a:lnTo>
                        <a:lnTo>
                          <a:pt x="9513" y="4463"/>
                        </a:lnTo>
                        <a:lnTo>
                          <a:pt x="9508" y="4453"/>
                        </a:lnTo>
                        <a:lnTo>
                          <a:pt x="9502" y="4444"/>
                        </a:lnTo>
                        <a:lnTo>
                          <a:pt x="9499" y="4434"/>
                        </a:lnTo>
                        <a:lnTo>
                          <a:pt x="9496" y="4424"/>
                        </a:lnTo>
                        <a:lnTo>
                          <a:pt x="9495" y="4412"/>
                        </a:lnTo>
                        <a:lnTo>
                          <a:pt x="9494" y="4400"/>
                        </a:lnTo>
                        <a:lnTo>
                          <a:pt x="9494" y="3845"/>
                        </a:lnTo>
                        <a:lnTo>
                          <a:pt x="9495" y="3834"/>
                        </a:lnTo>
                        <a:lnTo>
                          <a:pt x="9496" y="3823"/>
                        </a:lnTo>
                        <a:lnTo>
                          <a:pt x="9499" y="3812"/>
                        </a:lnTo>
                        <a:lnTo>
                          <a:pt x="9502" y="3802"/>
                        </a:lnTo>
                        <a:lnTo>
                          <a:pt x="9508" y="3792"/>
                        </a:lnTo>
                        <a:lnTo>
                          <a:pt x="9513" y="3784"/>
                        </a:lnTo>
                        <a:lnTo>
                          <a:pt x="9519" y="3774"/>
                        </a:lnTo>
                        <a:lnTo>
                          <a:pt x="9527" y="3767"/>
                        </a:lnTo>
                        <a:lnTo>
                          <a:pt x="9534" y="3760"/>
                        </a:lnTo>
                        <a:lnTo>
                          <a:pt x="9542" y="3753"/>
                        </a:lnTo>
                        <a:lnTo>
                          <a:pt x="9552" y="3748"/>
                        </a:lnTo>
                        <a:lnTo>
                          <a:pt x="9561" y="3744"/>
                        </a:lnTo>
                        <a:lnTo>
                          <a:pt x="9572" y="3739"/>
                        </a:lnTo>
                        <a:lnTo>
                          <a:pt x="9583" y="3736"/>
                        </a:lnTo>
                        <a:lnTo>
                          <a:pt x="9593" y="3735"/>
                        </a:lnTo>
                        <a:lnTo>
                          <a:pt x="9605" y="3734"/>
                        </a:lnTo>
                        <a:close/>
                        <a:moveTo>
                          <a:pt x="8753" y="3734"/>
                        </a:moveTo>
                        <a:lnTo>
                          <a:pt x="9037" y="3734"/>
                        </a:lnTo>
                        <a:lnTo>
                          <a:pt x="9049" y="3735"/>
                        </a:lnTo>
                        <a:lnTo>
                          <a:pt x="9059" y="3736"/>
                        </a:lnTo>
                        <a:lnTo>
                          <a:pt x="9070" y="3739"/>
                        </a:lnTo>
                        <a:lnTo>
                          <a:pt x="9080" y="3744"/>
                        </a:lnTo>
                        <a:lnTo>
                          <a:pt x="9090" y="3748"/>
                        </a:lnTo>
                        <a:lnTo>
                          <a:pt x="9098" y="3753"/>
                        </a:lnTo>
                        <a:lnTo>
                          <a:pt x="9107" y="3760"/>
                        </a:lnTo>
                        <a:lnTo>
                          <a:pt x="9115" y="3767"/>
                        </a:lnTo>
                        <a:lnTo>
                          <a:pt x="9123" y="3774"/>
                        </a:lnTo>
                        <a:lnTo>
                          <a:pt x="9129" y="3784"/>
                        </a:lnTo>
                        <a:lnTo>
                          <a:pt x="9134" y="3792"/>
                        </a:lnTo>
                        <a:lnTo>
                          <a:pt x="9138" y="3802"/>
                        </a:lnTo>
                        <a:lnTo>
                          <a:pt x="9143" y="3812"/>
                        </a:lnTo>
                        <a:lnTo>
                          <a:pt x="9145" y="3823"/>
                        </a:lnTo>
                        <a:lnTo>
                          <a:pt x="9147" y="3834"/>
                        </a:lnTo>
                        <a:lnTo>
                          <a:pt x="9148" y="3845"/>
                        </a:lnTo>
                        <a:lnTo>
                          <a:pt x="9148" y="4400"/>
                        </a:lnTo>
                        <a:lnTo>
                          <a:pt x="9147" y="4412"/>
                        </a:lnTo>
                        <a:lnTo>
                          <a:pt x="9145" y="4424"/>
                        </a:lnTo>
                        <a:lnTo>
                          <a:pt x="9143" y="4434"/>
                        </a:lnTo>
                        <a:lnTo>
                          <a:pt x="9138" y="4444"/>
                        </a:lnTo>
                        <a:lnTo>
                          <a:pt x="9134" y="4453"/>
                        </a:lnTo>
                        <a:lnTo>
                          <a:pt x="9129" y="4463"/>
                        </a:lnTo>
                        <a:lnTo>
                          <a:pt x="9123" y="4471"/>
                        </a:lnTo>
                        <a:lnTo>
                          <a:pt x="9115" y="4479"/>
                        </a:lnTo>
                        <a:lnTo>
                          <a:pt x="9107" y="4486"/>
                        </a:lnTo>
                        <a:lnTo>
                          <a:pt x="9098" y="4492"/>
                        </a:lnTo>
                        <a:lnTo>
                          <a:pt x="9090" y="4499"/>
                        </a:lnTo>
                        <a:lnTo>
                          <a:pt x="9080" y="4503"/>
                        </a:lnTo>
                        <a:lnTo>
                          <a:pt x="9070" y="4507"/>
                        </a:lnTo>
                        <a:lnTo>
                          <a:pt x="9059" y="4509"/>
                        </a:lnTo>
                        <a:lnTo>
                          <a:pt x="9049" y="4511"/>
                        </a:lnTo>
                        <a:lnTo>
                          <a:pt x="9037" y="4511"/>
                        </a:lnTo>
                        <a:lnTo>
                          <a:pt x="8753" y="4511"/>
                        </a:lnTo>
                        <a:lnTo>
                          <a:pt x="8742" y="4511"/>
                        </a:lnTo>
                        <a:lnTo>
                          <a:pt x="8731" y="4509"/>
                        </a:lnTo>
                        <a:lnTo>
                          <a:pt x="8721" y="4507"/>
                        </a:lnTo>
                        <a:lnTo>
                          <a:pt x="8710" y="4503"/>
                        </a:lnTo>
                        <a:lnTo>
                          <a:pt x="8701" y="4499"/>
                        </a:lnTo>
                        <a:lnTo>
                          <a:pt x="8691" y="4492"/>
                        </a:lnTo>
                        <a:lnTo>
                          <a:pt x="8683" y="4486"/>
                        </a:lnTo>
                        <a:lnTo>
                          <a:pt x="8675" y="4479"/>
                        </a:lnTo>
                        <a:lnTo>
                          <a:pt x="8668" y="4471"/>
                        </a:lnTo>
                        <a:lnTo>
                          <a:pt x="8662" y="4463"/>
                        </a:lnTo>
                        <a:lnTo>
                          <a:pt x="8656" y="4453"/>
                        </a:lnTo>
                        <a:lnTo>
                          <a:pt x="8652" y="4444"/>
                        </a:lnTo>
                        <a:lnTo>
                          <a:pt x="8648" y="4434"/>
                        </a:lnTo>
                        <a:lnTo>
                          <a:pt x="8646" y="4424"/>
                        </a:lnTo>
                        <a:lnTo>
                          <a:pt x="8644" y="4412"/>
                        </a:lnTo>
                        <a:lnTo>
                          <a:pt x="8644" y="4400"/>
                        </a:lnTo>
                        <a:lnTo>
                          <a:pt x="8644" y="3845"/>
                        </a:lnTo>
                        <a:lnTo>
                          <a:pt x="8644" y="3834"/>
                        </a:lnTo>
                        <a:lnTo>
                          <a:pt x="8646" y="3823"/>
                        </a:lnTo>
                        <a:lnTo>
                          <a:pt x="8648" y="3812"/>
                        </a:lnTo>
                        <a:lnTo>
                          <a:pt x="8652" y="3802"/>
                        </a:lnTo>
                        <a:lnTo>
                          <a:pt x="8656" y="3792"/>
                        </a:lnTo>
                        <a:lnTo>
                          <a:pt x="8662" y="3784"/>
                        </a:lnTo>
                        <a:lnTo>
                          <a:pt x="8668" y="3774"/>
                        </a:lnTo>
                        <a:lnTo>
                          <a:pt x="8675" y="3767"/>
                        </a:lnTo>
                        <a:lnTo>
                          <a:pt x="8683" y="3760"/>
                        </a:lnTo>
                        <a:lnTo>
                          <a:pt x="8691" y="3753"/>
                        </a:lnTo>
                        <a:lnTo>
                          <a:pt x="8701" y="3748"/>
                        </a:lnTo>
                        <a:lnTo>
                          <a:pt x="8710" y="3744"/>
                        </a:lnTo>
                        <a:lnTo>
                          <a:pt x="8721" y="3739"/>
                        </a:lnTo>
                        <a:lnTo>
                          <a:pt x="8731" y="3736"/>
                        </a:lnTo>
                        <a:lnTo>
                          <a:pt x="8742" y="3735"/>
                        </a:lnTo>
                        <a:lnTo>
                          <a:pt x="8753" y="3734"/>
                        </a:lnTo>
                        <a:close/>
                        <a:moveTo>
                          <a:pt x="7902" y="3734"/>
                        </a:moveTo>
                        <a:lnTo>
                          <a:pt x="8186" y="3734"/>
                        </a:lnTo>
                        <a:lnTo>
                          <a:pt x="8197" y="3735"/>
                        </a:lnTo>
                        <a:lnTo>
                          <a:pt x="8208" y="3736"/>
                        </a:lnTo>
                        <a:lnTo>
                          <a:pt x="8218" y="3739"/>
                        </a:lnTo>
                        <a:lnTo>
                          <a:pt x="8229" y="3744"/>
                        </a:lnTo>
                        <a:lnTo>
                          <a:pt x="8238" y="3748"/>
                        </a:lnTo>
                        <a:lnTo>
                          <a:pt x="8248" y="3753"/>
                        </a:lnTo>
                        <a:lnTo>
                          <a:pt x="8256" y="3760"/>
                        </a:lnTo>
                        <a:lnTo>
                          <a:pt x="8264" y="3767"/>
                        </a:lnTo>
                        <a:lnTo>
                          <a:pt x="8271" y="3774"/>
                        </a:lnTo>
                        <a:lnTo>
                          <a:pt x="8278" y="3784"/>
                        </a:lnTo>
                        <a:lnTo>
                          <a:pt x="8283" y="3792"/>
                        </a:lnTo>
                        <a:lnTo>
                          <a:pt x="8288" y="3802"/>
                        </a:lnTo>
                        <a:lnTo>
                          <a:pt x="8291" y="3812"/>
                        </a:lnTo>
                        <a:lnTo>
                          <a:pt x="8294" y="3823"/>
                        </a:lnTo>
                        <a:lnTo>
                          <a:pt x="8295" y="3834"/>
                        </a:lnTo>
                        <a:lnTo>
                          <a:pt x="8297" y="3845"/>
                        </a:lnTo>
                        <a:lnTo>
                          <a:pt x="8297" y="4400"/>
                        </a:lnTo>
                        <a:lnTo>
                          <a:pt x="8295" y="4412"/>
                        </a:lnTo>
                        <a:lnTo>
                          <a:pt x="8294" y="4424"/>
                        </a:lnTo>
                        <a:lnTo>
                          <a:pt x="8291" y="4434"/>
                        </a:lnTo>
                        <a:lnTo>
                          <a:pt x="8288" y="4444"/>
                        </a:lnTo>
                        <a:lnTo>
                          <a:pt x="8283" y="4453"/>
                        </a:lnTo>
                        <a:lnTo>
                          <a:pt x="8278" y="4463"/>
                        </a:lnTo>
                        <a:lnTo>
                          <a:pt x="8271" y="4471"/>
                        </a:lnTo>
                        <a:lnTo>
                          <a:pt x="8264" y="4479"/>
                        </a:lnTo>
                        <a:lnTo>
                          <a:pt x="8256" y="4486"/>
                        </a:lnTo>
                        <a:lnTo>
                          <a:pt x="8248" y="4492"/>
                        </a:lnTo>
                        <a:lnTo>
                          <a:pt x="8238" y="4499"/>
                        </a:lnTo>
                        <a:lnTo>
                          <a:pt x="8229" y="4503"/>
                        </a:lnTo>
                        <a:lnTo>
                          <a:pt x="8218" y="4507"/>
                        </a:lnTo>
                        <a:lnTo>
                          <a:pt x="8208" y="4509"/>
                        </a:lnTo>
                        <a:lnTo>
                          <a:pt x="8197" y="4511"/>
                        </a:lnTo>
                        <a:lnTo>
                          <a:pt x="8186" y="4511"/>
                        </a:lnTo>
                        <a:lnTo>
                          <a:pt x="7902" y="4511"/>
                        </a:lnTo>
                        <a:lnTo>
                          <a:pt x="7891" y="4511"/>
                        </a:lnTo>
                        <a:lnTo>
                          <a:pt x="7880" y="4509"/>
                        </a:lnTo>
                        <a:lnTo>
                          <a:pt x="7869" y="4507"/>
                        </a:lnTo>
                        <a:lnTo>
                          <a:pt x="7860" y="4503"/>
                        </a:lnTo>
                        <a:lnTo>
                          <a:pt x="7849" y="4499"/>
                        </a:lnTo>
                        <a:lnTo>
                          <a:pt x="7841" y="4492"/>
                        </a:lnTo>
                        <a:lnTo>
                          <a:pt x="7832" y="4486"/>
                        </a:lnTo>
                        <a:lnTo>
                          <a:pt x="7824" y="4479"/>
                        </a:lnTo>
                        <a:lnTo>
                          <a:pt x="7816" y="4471"/>
                        </a:lnTo>
                        <a:lnTo>
                          <a:pt x="7811" y="4463"/>
                        </a:lnTo>
                        <a:lnTo>
                          <a:pt x="7805" y="4453"/>
                        </a:lnTo>
                        <a:lnTo>
                          <a:pt x="7801" y="4444"/>
                        </a:lnTo>
                        <a:lnTo>
                          <a:pt x="7796" y="4434"/>
                        </a:lnTo>
                        <a:lnTo>
                          <a:pt x="7794" y="4424"/>
                        </a:lnTo>
                        <a:lnTo>
                          <a:pt x="7792" y="4412"/>
                        </a:lnTo>
                        <a:lnTo>
                          <a:pt x="7792" y="4400"/>
                        </a:lnTo>
                        <a:lnTo>
                          <a:pt x="7792" y="3845"/>
                        </a:lnTo>
                        <a:lnTo>
                          <a:pt x="7792" y="3834"/>
                        </a:lnTo>
                        <a:lnTo>
                          <a:pt x="7794" y="3823"/>
                        </a:lnTo>
                        <a:lnTo>
                          <a:pt x="7796" y="3812"/>
                        </a:lnTo>
                        <a:lnTo>
                          <a:pt x="7801" y="3802"/>
                        </a:lnTo>
                        <a:lnTo>
                          <a:pt x="7805" y="3792"/>
                        </a:lnTo>
                        <a:lnTo>
                          <a:pt x="7811" y="3784"/>
                        </a:lnTo>
                        <a:lnTo>
                          <a:pt x="7816" y="3774"/>
                        </a:lnTo>
                        <a:lnTo>
                          <a:pt x="7824" y="3767"/>
                        </a:lnTo>
                        <a:lnTo>
                          <a:pt x="7832" y="3760"/>
                        </a:lnTo>
                        <a:lnTo>
                          <a:pt x="7841" y="3753"/>
                        </a:lnTo>
                        <a:lnTo>
                          <a:pt x="7849" y="3748"/>
                        </a:lnTo>
                        <a:lnTo>
                          <a:pt x="7860" y="3744"/>
                        </a:lnTo>
                        <a:lnTo>
                          <a:pt x="7869" y="3739"/>
                        </a:lnTo>
                        <a:lnTo>
                          <a:pt x="7880" y="3736"/>
                        </a:lnTo>
                        <a:lnTo>
                          <a:pt x="7891" y="3735"/>
                        </a:lnTo>
                        <a:lnTo>
                          <a:pt x="7902" y="3734"/>
                        </a:lnTo>
                        <a:close/>
                        <a:moveTo>
                          <a:pt x="7052" y="3734"/>
                        </a:moveTo>
                        <a:lnTo>
                          <a:pt x="7335" y="3734"/>
                        </a:lnTo>
                        <a:lnTo>
                          <a:pt x="7346" y="3735"/>
                        </a:lnTo>
                        <a:lnTo>
                          <a:pt x="7357" y="3736"/>
                        </a:lnTo>
                        <a:lnTo>
                          <a:pt x="7367" y="3739"/>
                        </a:lnTo>
                        <a:lnTo>
                          <a:pt x="7378" y="3744"/>
                        </a:lnTo>
                        <a:lnTo>
                          <a:pt x="7387" y="3748"/>
                        </a:lnTo>
                        <a:lnTo>
                          <a:pt x="7397" y="3753"/>
                        </a:lnTo>
                        <a:lnTo>
                          <a:pt x="7405" y="3760"/>
                        </a:lnTo>
                        <a:lnTo>
                          <a:pt x="7412" y="3767"/>
                        </a:lnTo>
                        <a:lnTo>
                          <a:pt x="7420" y="3774"/>
                        </a:lnTo>
                        <a:lnTo>
                          <a:pt x="7426" y="3784"/>
                        </a:lnTo>
                        <a:lnTo>
                          <a:pt x="7431" y="3792"/>
                        </a:lnTo>
                        <a:lnTo>
                          <a:pt x="7437" y="3802"/>
                        </a:lnTo>
                        <a:lnTo>
                          <a:pt x="7440" y="3812"/>
                        </a:lnTo>
                        <a:lnTo>
                          <a:pt x="7443" y="3823"/>
                        </a:lnTo>
                        <a:lnTo>
                          <a:pt x="7444" y="3834"/>
                        </a:lnTo>
                        <a:lnTo>
                          <a:pt x="7445" y="3845"/>
                        </a:lnTo>
                        <a:lnTo>
                          <a:pt x="7445" y="4400"/>
                        </a:lnTo>
                        <a:lnTo>
                          <a:pt x="7444" y="4412"/>
                        </a:lnTo>
                        <a:lnTo>
                          <a:pt x="7443" y="4424"/>
                        </a:lnTo>
                        <a:lnTo>
                          <a:pt x="7440" y="4434"/>
                        </a:lnTo>
                        <a:lnTo>
                          <a:pt x="7437" y="4444"/>
                        </a:lnTo>
                        <a:lnTo>
                          <a:pt x="7431" y="4453"/>
                        </a:lnTo>
                        <a:lnTo>
                          <a:pt x="7426" y="4463"/>
                        </a:lnTo>
                        <a:lnTo>
                          <a:pt x="7420" y="4471"/>
                        </a:lnTo>
                        <a:lnTo>
                          <a:pt x="7412" y="4479"/>
                        </a:lnTo>
                        <a:lnTo>
                          <a:pt x="7405" y="4486"/>
                        </a:lnTo>
                        <a:lnTo>
                          <a:pt x="7397" y="4492"/>
                        </a:lnTo>
                        <a:lnTo>
                          <a:pt x="7387" y="4499"/>
                        </a:lnTo>
                        <a:lnTo>
                          <a:pt x="7378" y="4503"/>
                        </a:lnTo>
                        <a:lnTo>
                          <a:pt x="7367" y="4507"/>
                        </a:lnTo>
                        <a:lnTo>
                          <a:pt x="7357" y="4509"/>
                        </a:lnTo>
                        <a:lnTo>
                          <a:pt x="7346" y="4511"/>
                        </a:lnTo>
                        <a:lnTo>
                          <a:pt x="7335" y="4511"/>
                        </a:lnTo>
                        <a:lnTo>
                          <a:pt x="7052" y="4511"/>
                        </a:lnTo>
                        <a:lnTo>
                          <a:pt x="7040" y="4511"/>
                        </a:lnTo>
                        <a:lnTo>
                          <a:pt x="7028" y="4509"/>
                        </a:lnTo>
                        <a:lnTo>
                          <a:pt x="7018" y="4507"/>
                        </a:lnTo>
                        <a:lnTo>
                          <a:pt x="7008" y="4503"/>
                        </a:lnTo>
                        <a:lnTo>
                          <a:pt x="6998" y="4499"/>
                        </a:lnTo>
                        <a:lnTo>
                          <a:pt x="6989" y="4492"/>
                        </a:lnTo>
                        <a:lnTo>
                          <a:pt x="6981" y="4486"/>
                        </a:lnTo>
                        <a:lnTo>
                          <a:pt x="6974" y="4479"/>
                        </a:lnTo>
                        <a:lnTo>
                          <a:pt x="6966" y="4471"/>
                        </a:lnTo>
                        <a:lnTo>
                          <a:pt x="6960" y="4463"/>
                        </a:lnTo>
                        <a:lnTo>
                          <a:pt x="6954" y="4453"/>
                        </a:lnTo>
                        <a:lnTo>
                          <a:pt x="6949" y="4444"/>
                        </a:lnTo>
                        <a:lnTo>
                          <a:pt x="6945" y="4434"/>
                        </a:lnTo>
                        <a:lnTo>
                          <a:pt x="6943" y="4424"/>
                        </a:lnTo>
                        <a:lnTo>
                          <a:pt x="6941" y="4412"/>
                        </a:lnTo>
                        <a:lnTo>
                          <a:pt x="6941" y="4400"/>
                        </a:lnTo>
                        <a:lnTo>
                          <a:pt x="6941" y="3845"/>
                        </a:lnTo>
                        <a:lnTo>
                          <a:pt x="6941" y="3834"/>
                        </a:lnTo>
                        <a:lnTo>
                          <a:pt x="6943" y="3823"/>
                        </a:lnTo>
                        <a:lnTo>
                          <a:pt x="6945" y="3812"/>
                        </a:lnTo>
                        <a:lnTo>
                          <a:pt x="6949" y="3802"/>
                        </a:lnTo>
                        <a:lnTo>
                          <a:pt x="6954" y="3792"/>
                        </a:lnTo>
                        <a:lnTo>
                          <a:pt x="6960" y="3784"/>
                        </a:lnTo>
                        <a:lnTo>
                          <a:pt x="6966" y="3774"/>
                        </a:lnTo>
                        <a:lnTo>
                          <a:pt x="6974" y="3767"/>
                        </a:lnTo>
                        <a:lnTo>
                          <a:pt x="6981" y="3760"/>
                        </a:lnTo>
                        <a:lnTo>
                          <a:pt x="6989" y="3753"/>
                        </a:lnTo>
                        <a:lnTo>
                          <a:pt x="6998" y="3748"/>
                        </a:lnTo>
                        <a:lnTo>
                          <a:pt x="7008" y="3744"/>
                        </a:lnTo>
                        <a:lnTo>
                          <a:pt x="7018" y="3739"/>
                        </a:lnTo>
                        <a:lnTo>
                          <a:pt x="7028" y="3736"/>
                        </a:lnTo>
                        <a:lnTo>
                          <a:pt x="7040" y="3735"/>
                        </a:lnTo>
                        <a:lnTo>
                          <a:pt x="7052" y="3734"/>
                        </a:lnTo>
                        <a:close/>
                        <a:moveTo>
                          <a:pt x="6200" y="3734"/>
                        </a:moveTo>
                        <a:lnTo>
                          <a:pt x="6484" y="3734"/>
                        </a:lnTo>
                        <a:lnTo>
                          <a:pt x="6495" y="3735"/>
                        </a:lnTo>
                        <a:lnTo>
                          <a:pt x="6506" y="3736"/>
                        </a:lnTo>
                        <a:lnTo>
                          <a:pt x="6516" y="3739"/>
                        </a:lnTo>
                        <a:lnTo>
                          <a:pt x="6526" y="3744"/>
                        </a:lnTo>
                        <a:lnTo>
                          <a:pt x="6536" y="3748"/>
                        </a:lnTo>
                        <a:lnTo>
                          <a:pt x="6545" y="3753"/>
                        </a:lnTo>
                        <a:lnTo>
                          <a:pt x="6554" y="3760"/>
                        </a:lnTo>
                        <a:lnTo>
                          <a:pt x="6562" y="3767"/>
                        </a:lnTo>
                        <a:lnTo>
                          <a:pt x="6568" y="3774"/>
                        </a:lnTo>
                        <a:lnTo>
                          <a:pt x="6575" y="3784"/>
                        </a:lnTo>
                        <a:lnTo>
                          <a:pt x="6580" y="3792"/>
                        </a:lnTo>
                        <a:lnTo>
                          <a:pt x="6585" y="3802"/>
                        </a:lnTo>
                        <a:lnTo>
                          <a:pt x="6588" y="3812"/>
                        </a:lnTo>
                        <a:lnTo>
                          <a:pt x="6592" y="3823"/>
                        </a:lnTo>
                        <a:lnTo>
                          <a:pt x="6594" y="3834"/>
                        </a:lnTo>
                        <a:lnTo>
                          <a:pt x="6594" y="3845"/>
                        </a:lnTo>
                        <a:lnTo>
                          <a:pt x="6594" y="4400"/>
                        </a:lnTo>
                        <a:lnTo>
                          <a:pt x="6594" y="4412"/>
                        </a:lnTo>
                        <a:lnTo>
                          <a:pt x="6592" y="4424"/>
                        </a:lnTo>
                        <a:lnTo>
                          <a:pt x="6588" y="4434"/>
                        </a:lnTo>
                        <a:lnTo>
                          <a:pt x="6585" y="4444"/>
                        </a:lnTo>
                        <a:lnTo>
                          <a:pt x="6580" y="4453"/>
                        </a:lnTo>
                        <a:lnTo>
                          <a:pt x="6575" y="4463"/>
                        </a:lnTo>
                        <a:lnTo>
                          <a:pt x="6568" y="4471"/>
                        </a:lnTo>
                        <a:lnTo>
                          <a:pt x="6562" y="4479"/>
                        </a:lnTo>
                        <a:lnTo>
                          <a:pt x="6554" y="4486"/>
                        </a:lnTo>
                        <a:lnTo>
                          <a:pt x="6545" y="4492"/>
                        </a:lnTo>
                        <a:lnTo>
                          <a:pt x="6536" y="4499"/>
                        </a:lnTo>
                        <a:lnTo>
                          <a:pt x="6526" y="4503"/>
                        </a:lnTo>
                        <a:lnTo>
                          <a:pt x="6516" y="4507"/>
                        </a:lnTo>
                        <a:lnTo>
                          <a:pt x="6506" y="4509"/>
                        </a:lnTo>
                        <a:lnTo>
                          <a:pt x="6495" y="4511"/>
                        </a:lnTo>
                        <a:lnTo>
                          <a:pt x="6484" y="4511"/>
                        </a:lnTo>
                        <a:lnTo>
                          <a:pt x="6200" y="4511"/>
                        </a:lnTo>
                        <a:lnTo>
                          <a:pt x="6189" y="4511"/>
                        </a:lnTo>
                        <a:lnTo>
                          <a:pt x="6178" y="4509"/>
                        </a:lnTo>
                        <a:lnTo>
                          <a:pt x="6166" y="4507"/>
                        </a:lnTo>
                        <a:lnTo>
                          <a:pt x="6157" y="4503"/>
                        </a:lnTo>
                        <a:lnTo>
                          <a:pt x="6147" y="4499"/>
                        </a:lnTo>
                        <a:lnTo>
                          <a:pt x="6138" y="4492"/>
                        </a:lnTo>
                        <a:lnTo>
                          <a:pt x="6130" y="4486"/>
                        </a:lnTo>
                        <a:lnTo>
                          <a:pt x="6122" y="4479"/>
                        </a:lnTo>
                        <a:lnTo>
                          <a:pt x="6115" y="4471"/>
                        </a:lnTo>
                        <a:lnTo>
                          <a:pt x="6108" y="4463"/>
                        </a:lnTo>
                        <a:lnTo>
                          <a:pt x="6102" y="4453"/>
                        </a:lnTo>
                        <a:lnTo>
                          <a:pt x="6098" y="4444"/>
                        </a:lnTo>
                        <a:lnTo>
                          <a:pt x="6095" y="4434"/>
                        </a:lnTo>
                        <a:lnTo>
                          <a:pt x="6092" y="4424"/>
                        </a:lnTo>
                        <a:lnTo>
                          <a:pt x="6091" y="4412"/>
                        </a:lnTo>
                        <a:lnTo>
                          <a:pt x="6089" y="4400"/>
                        </a:lnTo>
                        <a:lnTo>
                          <a:pt x="6089" y="3845"/>
                        </a:lnTo>
                        <a:lnTo>
                          <a:pt x="6091" y="3834"/>
                        </a:lnTo>
                        <a:lnTo>
                          <a:pt x="6092" y="3823"/>
                        </a:lnTo>
                        <a:lnTo>
                          <a:pt x="6095" y="3812"/>
                        </a:lnTo>
                        <a:lnTo>
                          <a:pt x="6098" y="3802"/>
                        </a:lnTo>
                        <a:lnTo>
                          <a:pt x="6102" y="3792"/>
                        </a:lnTo>
                        <a:lnTo>
                          <a:pt x="6108" y="3784"/>
                        </a:lnTo>
                        <a:lnTo>
                          <a:pt x="6115" y="3774"/>
                        </a:lnTo>
                        <a:lnTo>
                          <a:pt x="6122" y="3767"/>
                        </a:lnTo>
                        <a:lnTo>
                          <a:pt x="6130" y="3760"/>
                        </a:lnTo>
                        <a:lnTo>
                          <a:pt x="6138" y="3753"/>
                        </a:lnTo>
                        <a:lnTo>
                          <a:pt x="6147" y="3748"/>
                        </a:lnTo>
                        <a:lnTo>
                          <a:pt x="6157" y="3744"/>
                        </a:lnTo>
                        <a:lnTo>
                          <a:pt x="6166" y="3739"/>
                        </a:lnTo>
                        <a:lnTo>
                          <a:pt x="6178" y="3736"/>
                        </a:lnTo>
                        <a:lnTo>
                          <a:pt x="6189" y="3735"/>
                        </a:lnTo>
                        <a:lnTo>
                          <a:pt x="6200" y="3734"/>
                        </a:lnTo>
                        <a:close/>
                        <a:moveTo>
                          <a:pt x="5349" y="3734"/>
                        </a:moveTo>
                        <a:lnTo>
                          <a:pt x="5633" y="3734"/>
                        </a:lnTo>
                        <a:lnTo>
                          <a:pt x="5643" y="3735"/>
                        </a:lnTo>
                        <a:lnTo>
                          <a:pt x="5655" y="3736"/>
                        </a:lnTo>
                        <a:lnTo>
                          <a:pt x="5665" y="3739"/>
                        </a:lnTo>
                        <a:lnTo>
                          <a:pt x="5675" y="3744"/>
                        </a:lnTo>
                        <a:lnTo>
                          <a:pt x="5684" y="3748"/>
                        </a:lnTo>
                        <a:lnTo>
                          <a:pt x="5694" y="3753"/>
                        </a:lnTo>
                        <a:lnTo>
                          <a:pt x="5702" y="3760"/>
                        </a:lnTo>
                        <a:lnTo>
                          <a:pt x="5711" y="3767"/>
                        </a:lnTo>
                        <a:lnTo>
                          <a:pt x="5718" y="3774"/>
                        </a:lnTo>
                        <a:lnTo>
                          <a:pt x="5723" y="3784"/>
                        </a:lnTo>
                        <a:lnTo>
                          <a:pt x="5730" y="3792"/>
                        </a:lnTo>
                        <a:lnTo>
                          <a:pt x="5734" y="3802"/>
                        </a:lnTo>
                        <a:lnTo>
                          <a:pt x="5737" y="3812"/>
                        </a:lnTo>
                        <a:lnTo>
                          <a:pt x="5740" y="3823"/>
                        </a:lnTo>
                        <a:lnTo>
                          <a:pt x="5742" y="3834"/>
                        </a:lnTo>
                        <a:lnTo>
                          <a:pt x="5743" y="3845"/>
                        </a:lnTo>
                        <a:lnTo>
                          <a:pt x="5743" y="4400"/>
                        </a:lnTo>
                        <a:lnTo>
                          <a:pt x="5742" y="4412"/>
                        </a:lnTo>
                        <a:lnTo>
                          <a:pt x="5740" y="4424"/>
                        </a:lnTo>
                        <a:lnTo>
                          <a:pt x="5737" y="4434"/>
                        </a:lnTo>
                        <a:lnTo>
                          <a:pt x="5734" y="4444"/>
                        </a:lnTo>
                        <a:lnTo>
                          <a:pt x="5730" y="4453"/>
                        </a:lnTo>
                        <a:lnTo>
                          <a:pt x="5723" y="4463"/>
                        </a:lnTo>
                        <a:lnTo>
                          <a:pt x="5718" y="4471"/>
                        </a:lnTo>
                        <a:lnTo>
                          <a:pt x="5711" y="4479"/>
                        </a:lnTo>
                        <a:lnTo>
                          <a:pt x="5702" y="4486"/>
                        </a:lnTo>
                        <a:lnTo>
                          <a:pt x="5694" y="4492"/>
                        </a:lnTo>
                        <a:lnTo>
                          <a:pt x="5684" y="4499"/>
                        </a:lnTo>
                        <a:lnTo>
                          <a:pt x="5675" y="4503"/>
                        </a:lnTo>
                        <a:lnTo>
                          <a:pt x="5665" y="4507"/>
                        </a:lnTo>
                        <a:lnTo>
                          <a:pt x="5655" y="4509"/>
                        </a:lnTo>
                        <a:lnTo>
                          <a:pt x="5643" y="4511"/>
                        </a:lnTo>
                        <a:lnTo>
                          <a:pt x="5633" y="4511"/>
                        </a:lnTo>
                        <a:lnTo>
                          <a:pt x="5349" y="4511"/>
                        </a:lnTo>
                        <a:lnTo>
                          <a:pt x="5337" y="4511"/>
                        </a:lnTo>
                        <a:lnTo>
                          <a:pt x="5327" y="4509"/>
                        </a:lnTo>
                        <a:lnTo>
                          <a:pt x="5316" y="4507"/>
                        </a:lnTo>
                        <a:lnTo>
                          <a:pt x="5306" y="4503"/>
                        </a:lnTo>
                        <a:lnTo>
                          <a:pt x="5296" y="4499"/>
                        </a:lnTo>
                        <a:lnTo>
                          <a:pt x="5287" y="4492"/>
                        </a:lnTo>
                        <a:lnTo>
                          <a:pt x="5278" y="4486"/>
                        </a:lnTo>
                        <a:lnTo>
                          <a:pt x="5271" y="4479"/>
                        </a:lnTo>
                        <a:lnTo>
                          <a:pt x="5263" y="4471"/>
                        </a:lnTo>
                        <a:lnTo>
                          <a:pt x="5257" y="4463"/>
                        </a:lnTo>
                        <a:lnTo>
                          <a:pt x="5252" y="4453"/>
                        </a:lnTo>
                        <a:lnTo>
                          <a:pt x="5247" y="4444"/>
                        </a:lnTo>
                        <a:lnTo>
                          <a:pt x="5243" y="4434"/>
                        </a:lnTo>
                        <a:lnTo>
                          <a:pt x="5240" y="4424"/>
                        </a:lnTo>
                        <a:lnTo>
                          <a:pt x="5239" y="4412"/>
                        </a:lnTo>
                        <a:lnTo>
                          <a:pt x="5238" y="4400"/>
                        </a:lnTo>
                        <a:lnTo>
                          <a:pt x="5238" y="3845"/>
                        </a:lnTo>
                        <a:lnTo>
                          <a:pt x="5239" y="3834"/>
                        </a:lnTo>
                        <a:lnTo>
                          <a:pt x="5240" y="3823"/>
                        </a:lnTo>
                        <a:lnTo>
                          <a:pt x="5243" y="3812"/>
                        </a:lnTo>
                        <a:lnTo>
                          <a:pt x="5247" y="3802"/>
                        </a:lnTo>
                        <a:lnTo>
                          <a:pt x="5252" y="3792"/>
                        </a:lnTo>
                        <a:lnTo>
                          <a:pt x="5257" y="3784"/>
                        </a:lnTo>
                        <a:lnTo>
                          <a:pt x="5263" y="3774"/>
                        </a:lnTo>
                        <a:lnTo>
                          <a:pt x="5271" y="3767"/>
                        </a:lnTo>
                        <a:lnTo>
                          <a:pt x="5278" y="3760"/>
                        </a:lnTo>
                        <a:lnTo>
                          <a:pt x="5287" y="3753"/>
                        </a:lnTo>
                        <a:lnTo>
                          <a:pt x="5296" y="3748"/>
                        </a:lnTo>
                        <a:lnTo>
                          <a:pt x="5306" y="3744"/>
                        </a:lnTo>
                        <a:lnTo>
                          <a:pt x="5316" y="3739"/>
                        </a:lnTo>
                        <a:lnTo>
                          <a:pt x="5327" y="3736"/>
                        </a:lnTo>
                        <a:lnTo>
                          <a:pt x="5337" y="3735"/>
                        </a:lnTo>
                        <a:lnTo>
                          <a:pt x="5349" y="3734"/>
                        </a:lnTo>
                        <a:close/>
                        <a:moveTo>
                          <a:pt x="4497" y="3734"/>
                        </a:moveTo>
                        <a:lnTo>
                          <a:pt x="4781" y="3734"/>
                        </a:lnTo>
                        <a:lnTo>
                          <a:pt x="4793" y="3735"/>
                        </a:lnTo>
                        <a:lnTo>
                          <a:pt x="4803" y="3736"/>
                        </a:lnTo>
                        <a:lnTo>
                          <a:pt x="4814" y="3739"/>
                        </a:lnTo>
                        <a:lnTo>
                          <a:pt x="4825" y="3744"/>
                        </a:lnTo>
                        <a:lnTo>
                          <a:pt x="4834" y="3748"/>
                        </a:lnTo>
                        <a:lnTo>
                          <a:pt x="4842" y="3753"/>
                        </a:lnTo>
                        <a:lnTo>
                          <a:pt x="4851" y="3760"/>
                        </a:lnTo>
                        <a:lnTo>
                          <a:pt x="4859" y="3767"/>
                        </a:lnTo>
                        <a:lnTo>
                          <a:pt x="4867" y="3774"/>
                        </a:lnTo>
                        <a:lnTo>
                          <a:pt x="4873" y="3784"/>
                        </a:lnTo>
                        <a:lnTo>
                          <a:pt x="4878" y="3792"/>
                        </a:lnTo>
                        <a:lnTo>
                          <a:pt x="4883" y="3802"/>
                        </a:lnTo>
                        <a:lnTo>
                          <a:pt x="4887" y="3812"/>
                        </a:lnTo>
                        <a:lnTo>
                          <a:pt x="4889" y="3823"/>
                        </a:lnTo>
                        <a:lnTo>
                          <a:pt x="4891" y="3834"/>
                        </a:lnTo>
                        <a:lnTo>
                          <a:pt x="4892" y="3845"/>
                        </a:lnTo>
                        <a:lnTo>
                          <a:pt x="4892" y="4400"/>
                        </a:lnTo>
                        <a:lnTo>
                          <a:pt x="4891" y="4412"/>
                        </a:lnTo>
                        <a:lnTo>
                          <a:pt x="4889" y="4424"/>
                        </a:lnTo>
                        <a:lnTo>
                          <a:pt x="4887" y="4434"/>
                        </a:lnTo>
                        <a:lnTo>
                          <a:pt x="4883" y="4444"/>
                        </a:lnTo>
                        <a:lnTo>
                          <a:pt x="4878" y="4453"/>
                        </a:lnTo>
                        <a:lnTo>
                          <a:pt x="4873" y="4463"/>
                        </a:lnTo>
                        <a:lnTo>
                          <a:pt x="4867" y="4471"/>
                        </a:lnTo>
                        <a:lnTo>
                          <a:pt x="4859" y="4479"/>
                        </a:lnTo>
                        <a:lnTo>
                          <a:pt x="4851" y="4486"/>
                        </a:lnTo>
                        <a:lnTo>
                          <a:pt x="4842" y="4492"/>
                        </a:lnTo>
                        <a:lnTo>
                          <a:pt x="4834" y="4499"/>
                        </a:lnTo>
                        <a:lnTo>
                          <a:pt x="4825" y="4503"/>
                        </a:lnTo>
                        <a:lnTo>
                          <a:pt x="4814" y="4507"/>
                        </a:lnTo>
                        <a:lnTo>
                          <a:pt x="4803" y="4509"/>
                        </a:lnTo>
                        <a:lnTo>
                          <a:pt x="4793" y="4511"/>
                        </a:lnTo>
                        <a:lnTo>
                          <a:pt x="4781" y="4511"/>
                        </a:lnTo>
                        <a:lnTo>
                          <a:pt x="4497" y="4511"/>
                        </a:lnTo>
                        <a:lnTo>
                          <a:pt x="4486" y="4511"/>
                        </a:lnTo>
                        <a:lnTo>
                          <a:pt x="4475" y="4509"/>
                        </a:lnTo>
                        <a:lnTo>
                          <a:pt x="4465" y="4507"/>
                        </a:lnTo>
                        <a:lnTo>
                          <a:pt x="4454" y="4503"/>
                        </a:lnTo>
                        <a:lnTo>
                          <a:pt x="4445" y="4499"/>
                        </a:lnTo>
                        <a:lnTo>
                          <a:pt x="4435" y="4492"/>
                        </a:lnTo>
                        <a:lnTo>
                          <a:pt x="4427" y="4486"/>
                        </a:lnTo>
                        <a:lnTo>
                          <a:pt x="4419" y="4479"/>
                        </a:lnTo>
                        <a:lnTo>
                          <a:pt x="4412" y="4471"/>
                        </a:lnTo>
                        <a:lnTo>
                          <a:pt x="4406" y="4463"/>
                        </a:lnTo>
                        <a:lnTo>
                          <a:pt x="4400" y="4453"/>
                        </a:lnTo>
                        <a:lnTo>
                          <a:pt x="4396" y="4444"/>
                        </a:lnTo>
                        <a:lnTo>
                          <a:pt x="4392" y="4434"/>
                        </a:lnTo>
                        <a:lnTo>
                          <a:pt x="4390" y="4424"/>
                        </a:lnTo>
                        <a:lnTo>
                          <a:pt x="4388" y="4412"/>
                        </a:lnTo>
                        <a:lnTo>
                          <a:pt x="4388" y="4400"/>
                        </a:lnTo>
                        <a:lnTo>
                          <a:pt x="4388" y="3845"/>
                        </a:lnTo>
                        <a:lnTo>
                          <a:pt x="4388" y="3834"/>
                        </a:lnTo>
                        <a:lnTo>
                          <a:pt x="4390" y="3823"/>
                        </a:lnTo>
                        <a:lnTo>
                          <a:pt x="4392" y="3812"/>
                        </a:lnTo>
                        <a:lnTo>
                          <a:pt x="4396" y="3802"/>
                        </a:lnTo>
                        <a:lnTo>
                          <a:pt x="4400" y="3792"/>
                        </a:lnTo>
                        <a:lnTo>
                          <a:pt x="4406" y="3784"/>
                        </a:lnTo>
                        <a:lnTo>
                          <a:pt x="4412" y="3774"/>
                        </a:lnTo>
                        <a:lnTo>
                          <a:pt x="4419" y="3767"/>
                        </a:lnTo>
                        <a:lnTo>
                          <a:pt x="4427" y="3760"/>
                        </a:lnTo>
                        <a:lnTo>
                          <a:pt x="4435" y="3753"/>
                        </a:lnTo>
                        <a:lnTo>
                          <a:pt x="4445" y="3748"/>
                        </a:lnTo>
                        <a:lnTo>
                          <a:pt x="4454" y="3744"/>
                        </a:lnTo>
                        <a:lnTo>
                          <a:pt x="4465" y="3739"/>
                        </a:lnTo>
                        <a:lnTo>
                          <a:pt x="4475" y="3736"/>
                        </a:lnTo>
                        <a:lnTo>
                          <a:pt x="4486" y="3735"/>
                        </a:lnTo>
                        <a:lnTo>
                          <a:pt x="4497" y="3734"/>
                        </a:lnTo>
                        <a:close/>
                        <a:moveTo>
                          <a:pt x="3646" y="3734"/>
                        </a:moveTo>
                        <a:lnTo>
                          <a:pt x="3930" y="3734"/>
                        </a:lnTo>
                        <a:lnTo>
                          <a:pt x="3941" y="3735"/>
                        </a:lnTo>
                        <a:lnTo>
                          <a:pt x="3952" y="3736"/>
                        </a:lnTo>
                        <a:lnTo>
                          <a:pt x="3963" y="3739"/>
                        </a:lnTo>
                        <a:lnTo>
                          <a:pt x="3973" y="3744"/>
                        </a:lnTo>
                        <a:lnTo>
                          <a:pt x="3983" y="3748"/>
                        </a:lnTo>
                        <a:lnTo>
                          <a:pt x="3992" y="3753"/>
                        </a:lnTo>
                        <a:lnTo>
                          <a:pt x="4001" y="3760"/>
                        </a:lnTo>
                        <a:lnTo>
                          <a:pt x="4008" y="3767"/>
                        </a:lnTo>
                        <a:lnTo>
                          <a:pt x="4015" y="3774"/>
                        </a:lnTo>
                        <a:lnTo>
                          <a:pt x="4022" y="3784"/>
                        </a:lnTo>
                        <a:lnTo>
                          <a:pt x="4027" y="3792"/>
                        </a:lnTo>
                        <a:lnTo>
                          <a:pt x="4032" y="3802"/>
                        </a:lnTo>
                        <a:lnTo>
                          <a:pt x="4035" y="3812"/>
                        </a:lnTo>
                        <a:lnTo>
                          <a:pt x="4039" y="3823"/>
                        </a:lnTo>
                        <a:lnTo>
                          <a:pt x="4040" y="3834"/>
                        </a:lnTo>
                        <a:lnTo>
                          <a:pt x="4041" y="3845"/>
                        </a:lnTo>
                        <a:lnTo>
                          <a:pt x="4041" y="4400"/>
                        </a:lnTo>
                        <a:lnTo>
                          <a:pt x="4040" y="4412"/>
                        </a:lnTo>
                        <a:lnTo>
                          <a:pt x="4039" y="4424"/>
                        </a:lnTo>
                        <a:lnTo>
                          <a:pt x="4035" y="4434"/>
                        </a:lnTo>
                        <a:lnTo>
                          <a:pt x="4032" y="4444"/>
                        </a:lnTo>
                        <a:lnTo>
                          <a:pt x="4027" y="4453"/>
                        </a:lnTo>
                        <a:lnTo>
                          <a:pt x="4022" y="4463"/>
                        </a:lnTo>
                        <a:lnTo>
                          <a:pt x="4015" y="4471"/>
                        </a:lnTo>
                        <a:lnTo>
                          <a:pt x="4008" y="4479"/>
                        </a:lnTo>
                        <a:lnTo>
                          <a:pt x="4001" y="4486"/>
                        </a:lnTo>
                        <a:lnTo>
                          <a:pt x="3992" y="4492"/>
                        </a:lnTo>
                        <a:lnTo>
                          <a:pt x="3983" y="4499"/>
                        </a:lnTo>
                        <a:lnTo>
                          <a:pt x="3973" y="4503"/>
                        </a:lnTo>
                        <a:lnTo>
                          <a:pt x="3963" y="4507"/>
                        </a:lnTo>
                        <a:lnTo>
                          <a:pt x="3952" y="4509"/>
                        </a:lnTo>
                        <a:lnTo>
                          <a:pt x="3941" y="4511"/>
                        </a:lnTo>
                        <a:lnTo>
                          <a:pt x="3930" y="4511"/>
                        </a:lnTo>
                        <a:lnTo>
                          <a:pt x="3646" y="4511"/>
                        </a:lnTo>
                        <a:lnTo>
                          <a:pt x="3636" y="4511"/>
                        </a:lnTo>
                        <a:lnTo>
                          <a:pt x="3624" y="4509"/>
                        </a:lnTo>
                        <a:lnTo>
                          <a:pt x="3613" y="4507"/>
                        </a:lnTo>
                        <a:lnTo>
                          <a:pt x="3604" y="4503"/>
                        </a:lnTo>
                        <a:lnTo>
                          <a:pt x="3593" y="4499"/>
                        </a:lnTo>
                        <a:lnTo>
                          <a:pt x="3585" y="4492"/>
                        </a:lnTo>
                        <a:lnTo>
                          <a:pt x="3576" y="4486"/>
                        </a:lnTo>
                        <a:lnTo>
                          <a:pt x="3568" y="4479"/>
                        </a:lnTo>
                        <a:lnTo>
                          <a:pt x="3562" y="4471"/>
                        </a:lnTo>
                        <a:lnTo>
                          <a:pt x="3555" y="4463"/>
                        </a:lnTo>
                        <a:lnTo>
                          <a:pt x="3549" y="4453"/>
                        </a:lnTo>
                        <a:lnTo>
                          <a:pt x="3545" y="4444"/>
                        </a:lnTo>
                        <a:lnTo>
                          <a:pt x="3541" y="4434"/>
                        </a:lnTo>
                        <a:lnTo>
                          <a:pt x="3538" y="4424"/>
                        </a:lnTo>
                        <a:lnTo>
                          <a:pt x="3536" y="4412"/>
                        </a:lnTo>
                        <a:lnTo>
                          <a:pt x="3536" y="4400"/>
                        </a:lnTo>
                        <a:lnTo>
                          <a:pt x="3536" y="3845"/>
                        </a:lnTo>
                        <a:lnTo>
                          <a:pt x="3536" y="3834"/>
                        </a:lnTo>
                        <a:lnTo>
                          <a:pt x="3538" y="3823"/>
                        </a:lnTo>
                        <a:lnTo>
                          <a:pt x="3541" y="3812"/>
                        </a:lnTo>
                        <a:lnTo>
                          <a:pt x="3545" y="3802"/>
                        </a:lnTo>
                        <a:lnTo>
                          <a:pt x="3549" y="3792"/>
                        </a:lnTo>
                        <a:lnTo>
                          <a:pt x="3555" y="3784"/>
                        </a:lnTo>
                        <a:lnTo>
                          <a:pt x="3562" y="3774"/>
                        </a:lnTo>
                        <a:lnTo>
                          <a:pt x="3568" y="3767"/>
                        </a:lnTo>
                        <a:lnTo>
                          <a:pt x="3576" y="3760"/>
                        </a:lnTo>
                        <a:lnTo>
                          <a:pt x="3585" y="3753"/>
                        </a:lnTo>
                        <a:lnTo>
                          <a:pt x="3593" y="3748"/>
                        </a:lnTo>
                        <a:lnTo>
                          <a:pt x="3604" y="3744"/>
                        </a:lnTo>
                        <a:lnTo>
                          <a:pt x="3613" y="3739"/>
                        </a:lnTo>
                        <a:lnTo>
                          <a:pt x="3624" y="3736"/>
                        </a:lnTo>
                        <a:lnTo>
                          <a:pt x="3636" y="3735"/>
                        </a:lnTo>
                        <a:lnTo>
                          <a:pt x="3646" y="3734"/>
                        </a:lnTo>
                        <a:close/>
                        <a:moveTo>
                          <a:pt x="2796" y="3734"/>
                        </a:moveTo>
                        <a:lnTo>
                          <a:pt x="3080" y="3734"/>
                        </a:lnTo>
                        <a:lnTo>
                          <a:pt x="3090" y="3735"/>
                        </a:lnTo>
                        <a:lnTo>
                          <a:pt x="3101" y="3736"/>
                        </a:lnTo>
                        <a:lnTo>
                          <a:pt x="3111" y="3739"/>
                        </a:lnTo>
                        <a:lnTo>
                          <a:pt x="3122" y="3744"/>
                        </a:lnTo>
                        <a:lnTo>
                          <a:pt x="3131" y="3748"/>
                        </a:lnTo>
                        <a:lnTo>
                          <a:pt x="3141" y="3753"/>
                        </a:lnTo>
                        <a:lnTo>
                          <a:pt x="3149" y="3760"/>
                        </a:lnTo>
                        <a:lnTo>
                          <a:pt x="3157" y="3767"/>
                        </a:lnTo>
                        <a:lnTo>
                          <a:pt x="3164" y="3774"/>
                        </a:lnTo>
                        <a:lnTo>
                          <a:pt x="3170" y="3784"/>
                        </a:lnTo>
                        <a:lnTo>
                          <a:pt x="3176" y="3792"/>
                        </a:lnTo>
                        <a:lnTo>
                          <a:pt x="3181" y="3802"/>
                        </a:lnTo>
                        <a:lnTo>
                          <a:pt x="3184" y="3812"/>
                        </a:lnTo>
                        <a:lnTo>
                          <a:pt x="3187" y="3823"/>
                        </a:lnTo>
                        <a:lnTo>
                          <a:pt x="3188" y="3834"/>
                        </a:lnTo>
                        <a:lnTo>
                          <a:pt x="3189" y="3845"/>
                        </a:lnTo>
                        <a:lnTo>
                          <a:pt x="3189" y="4400"/>
                        </a:lnTo>
                        <a:lnTo>
                          <a:pt x="3188" y="4412"/>
                        </a:lnTo>
                        <a:lnTo>
                          <a:pt x="3187" y="4424"/>
                        </a:lnTo>
                        <a:lnTo>
                          <a:pt x="3184" y="4434"/>
                        </a:lnTo>
                        <a:lnTo>
                          <a:pt x="3181" y="4444"/>
                        </a:lnTo>
                        <a:lnTo>
                          <a:pt x="3176" y="4453"/>
                        </a:lnTo>
                        <a:lnTo>
                          <a:pt x="3170" y="4463"/>
                        </a:lnTo>
                        <a:lnTo>
                          <a:pt x="3164" y="4471"/>
                        </a:lnTo>
                        <a:lnTo>
                          <a:pt x="3157" y="4479"/>
                        </a:lnTo>
                        <a:lnTo>
                          <a:pt x="3149" y="4486"/>
                        </a:lnTo>
                        <a:lnTo>
                          <a:pt x="3141" y="4492"/>
                        </a:lnTo>
                        <a:lnTo>
                          <a:pt x="3131" y="4499"/>
                        </a:lnTo>
                        <a:lnTo>
                          <a:pt x="3122" y="4503"/>
                        </a:lnTo>
                        <a:lnTo>
                          <a:pt x="3111" y="4507"/>
                        </a:lnTo>
                        <a:lnTo>
                          <a:pt x="3101" y="4509"/>
                        </a:lnTo>
                        <a:lnTo>
                          <a:pt x="3090" y="4511"/>
                        </a:lnTo>
                        <a:lnTo>
                          <a:pt x="3080" y="4511"/>
                        </a:lnTo>
                        <a:lnTo>
                          <a:pt x="2796" y="4511"/>
                        </a:lnTo>
                        <a:lnTo>
                          <a:pt x="2784" y="4511"/>
                        </a:lnTo>
                        <a:lnTo>
                          <a:pt x="2773" y="4509"/>
                        </a:lnTo>
                        <a:lnTo>
                          <a:pt x="2762" y="4507"/>
                        </a:lnTo>
                        <a:lnTo>
                          <a:pt x="2752" y="4503"/>
                        </a:lnTo>
                        <a:lnTo>
                          <a:pt x="2742" y="4499"/>
                        </a:lnTo>
                        <a:lnTo>
                          <a:pt x="2734" y="4492"/>
                        </a:lnTo>
                        <a:lnTo>
                          <a:pt x="2725" y="4486"/>
                        </a:lnTo>
                        <a:lnTo>
                          <a:pt x="2718" y="4479"/>
                        </a:lnTo>
                        <a:lnTo>
                          <a:pt x="2710" y="4471"/>
                        </a:lnTo>
                        <a:lnTo>
                          <a:pt x="2704" y="4463"/>
                        </a:lnTo>
                        <a:lnTo>
                          <a:pt x="2698" y="4453"/>
                        </a:lnTo>
                        <a:lnTo>
                          <a:pt x="2693" y="4444"/>
                        </a:lnTo>
                        <a:lnTo>
                          <a:pt x="2689" y="4434"/>
                        </a:lnTo>
                        <a:lnTo>
                          <a:pt x="2687" y="4424"/>
                        </a:lnTo>
                        <a:lnTo>
                          <a:pt x="2685" y="4412"/>
                        </a:lnTo>
                        <a:lnTo>
                          <a:pt x="2685" y="4400"/>
                        </a:lnTo>
                        <a:lnTo>
                          <a:pt x="2685" y="3845"/>
                        </a:lnTo>
                        <a:lnTo>
                          <a:pt x="2685" y="3834"/>
                        </a:lnTo>
                        <a:lnTo>
                          <a:pt x="2687" y="3823"/>
                        </a:lnTo>
                        <a:lnTo>
                          <a:pt x="2689" y="3812"/>
                        </a:lnTo>
                        <a:lnTo>
                          <a:pt x="2693" y="3802"/>
                        </a:lnTo>
                        <a:lnTo>
                          <a:pt x="2698" y="3792"/>
                        </a:lnTo>
                        <a:lnTo>
                          <a:pt x="2704" y="3784"/>
                        </a:lnTo>
                        <a:lnTo>
                          <a:pt x="2710" y="3774"/>
                        </a:lnTo>
                        <a:lnTo>
                          <a:pt x="2718" y="3767"/>
                        </a:lnTo>
                        <a:lnTo>
                          <a:pt x="2725" y="3760"/>
                        </a:lnTo>
                        <a:lnTo>
                          <a:pt x="2734" y="3753"/>
                        </a:lnTo>
                        <a:lnTo>
                          <a:pt x="2742" y="3748"/>
                        </a:lnTo>
                        <a:lnTo>
                          <a:pt x="2752" y="3744"/>
                        </a:lnTo>
                        <a:lnTo>
                          <a:pt x="2762" y="3739"/>
                        </a:lnTo>
                        <a:lnTo>
                          <a:pt x="2773" y="3736"/>
                        </a:lnTo>
                        <a:lnTo>
                          <a:pt x="2784" y="3735"/>
                        </a:lnTo>
                        <a:lnTo>
                          <a:pt x="2796" y="373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64" name="Freeform 31"/>
                  <p:cNvSpPr>
                    <a:spLocks noEditPoints="1"/>
                  </p:cNvSpPr>
                  <p:nvPr/>
                </p:nvSpPr>
                <p:spPr bwMode="auto">
                  <a:xfrm>
                    <a:off x="6952587" y="3222104"/>
                    <a:ext cx="538162" cy="455613"/>
                  </a:xfrm>
                  <a:custGeom>
                    <a:avLst/>
                    <a:gdLst/>
                    <a:ahLst/>
                    <a:cxnLst>
                      <a:cxn ang="0">
                        <a:pos x="580" y="4565"/>
                      </a:cxn>
                      <a:cxn ang="0">
                        <a:pos x="959" y="3918"/>
                      </a:cxn>
                      <a:cxn ang="0">
                        <a:pos x="1614" y="2805"/>
                      </a:cxn>
                      <a:cxn ang="0">
                        <a:pos x="2264" y="1715"/>
                      </a:cxn>
                      <a:cxn ang="0">
                        <a:pos x="2543" y="1260"/>
                      </a:cxn>
                      <a:cxn ang="0">
                        <a:pos x="2678" y="1057"/>
                      </a:cxn>
                      <a:cxn ang="0">
                        <a:pos x="2816" y="871"/>
                      </a:cxn>
                      <a:cxn ang="0">
                        <a:pos x="2965" y="698"/>
                      </a:cxn>
                      <a:cxn ang="0">
                        <a:pos x="3127" y="540"/>
                      </a:cxn>
                      <a:cxn ang="0">
                        <a:pos x="3304" y="401"/>
                      </a:cxn>
                      <a:cxn ang="0">
                        <a:pos x="3503" y="279"/>
                      </a:cxn>
                      <a:cxn ang="0">
                        <a:pos x="3722" y="180"/>
                      </a:cxn>
                      <a:cxn ang="0">
                        <a:pos x="3968" y="105"/>
                      </a:cxn>
                      <a:cxn ang="0">
                        <a:pos x="4225" y="54"/>
                      </a:cxn>
                      <a:cxn ang="0">
                        <a:pos x="4454" y="22"/>
                      </a:cxn>
                      <a:cxn ang="0">
                        <a:pos x="4652" y="5"/>
                      </a:cxn>
                      <a:cxn ang="0">
                        <a:pos x="4921" y="2"/>
                      </a:cxn>
                      <a:cxn ang="0">
                        <a:pos x="5100" y="17"/>
                      </a:cxn>
                      <a:cxn ang="0">
                        <a:pos x="771" y="2251"/>
                      </a:cxn>
                      <a:cxn ang="0">
                        <a:pos x="676" y="3793"/>
                      </a:cxn>
                      <a:cxn ang="0">
                        <a:pos x="530" y="3759"/>
                      </a:cxn>
                      <a:cxn ang="0">
                        <a:pos x="395" y="3699"/>
                      </a:cxn>
                      <a:cxn ang="0">
                        <a:pos x="274" y="3615"/>
                      </a:cxn>
                      <a:cxn ang="0">
                        <a:pos x="172" y="3511"/>
                      </a:cxn>
                      <a:cxn ang="0">
                        <a:pos x="91" y="3389"/>
                      </a:cxn>
                      <a:cxn ang="0">
                        <a:pos x="34" y="3252"/>
                      </a:cxn>
                      <a:cxn ang="0">
                        <a:pos x="3" y="3103"/>
                      </a:cxn>
                      <a:cxn ang="0">
                        <a:pos x="1" y="2985"/>
                      </a:cxn>
                      <a:cxn ang="0">
                        <a:pos x="24" y="2833"/>
                      </a:cxn>
                      <a:cxn ang="0">
                        <a:pos x="76" y="2691"/>
                      </a:cxn>
                      <a:cxn ang="0">
                        <a:pos x="153" y="2563"/>
                      </a:cxn>
                      <a:cxn ang="0">
                        <a:pos x="253" y="2453"/>
                      </a:cxn>
                      <a:cxn ang="0">
                        <a:pos x="371" y="2364"/>
                      </a:cxn>
                      <a:cxn ang="0">
                        <a:pos x="507" y="2299"/>
                      </a:cxn>
                      <a:cxn ang="0">
                        <a:pos x="654" y="2261"/>
                      </a:cxn>
                      <a:cxn ang="0">
                        <a:pos x="4722" y="2254"/>
                      </a:cxn>
                      <a:cxn ang="0">
                        <a:pos x="4865" y="2282"/>
                      </a:cxn>
                      <a:cxn ang="0">
                        <a:pos x="4997" y="2335"/>
                      </a:cxn>
                      <a:cxn ang="0">
                        <a:pos x="5116" y="2409"/>
                      </a:cxn>
                      <a:cxn ang="0">
                        <a:pos x="5219" y="2504"/>
                      </a:cxn>
                      <a:cxn ang="0">
                        <a:pos x="5304" y="2615"/>
                      </a:cxn>
                      <a:cxn ang="0">
                        <a:pos x="5368" y="2741"/>
                      </a:cxn>
                      <a:cxn ang="0">
                        <a:pos x="5408" y="2878"/>
                      </a:cxn>
                      <a:cxn ang="0">
                        <a:pos x="5423" y="3025"/>
                      </a:cxn>
                      <a:cxn ang="0">
                        <a:pos x="5413" y="3143"/>
                      </a:cxn>
                      <a:cxn ang="0">
                        <a:pos x="5375" y="3291"/>
                      </a:cxn>
                      <a:cxn ang="0">
                        <a:pos x="5310" y="3426"/>
                      </a:cxn>
                      <a:cxn ang="0">
                        <a:pos x="5221" y="3545"/>
                      </a:cxn>
                      <a:cxn ang="0">
                        <a:pos x="5112" y="3645"/>
                      </a:cxn>
                      <a:cxn ang="0">
                        <a:pos x="4984" y="3722"/>
                      </a:cxn>
                      <a:cxn ang="0">
                        <a:pos x="4843" y="3774"/>
                      </a:cxn>
                      <a:cxn ang="0">
                        <a:pos x="4691" y="3797"/>
                      </a:cxn>
                    </a:cxnLst>
                    <a:rect l="0" t="0" r="r" b="b"/>
                    <a:pathLst>
                      <a:path w="5423" h="4597">
                        <a:moveTo>
                          <a:pt x="5142" y="23"/>
                        </a:moveTo>
                        <a:lnTo>
                          <a:pt x="3637" y="4597"/>
                        </a:lnTo>
                        <a:lnTo>
                          <a:pt x="562" y="4597"/>
                        </a:lnTo>
                        <a:lnTo>
                          <a:pt x="580" y="4565"/>
                        </a:lnTo>
                        <a:lnTo>
                          <a:pt x="634" y="4473"/>
                        </a:lnTo>
                        <a:lnTo>
                          <a:pt x="719" y="4329"/>
                        </a:lnTo>
                        <a:lnTo>
                          <a:pt x="828" y="4142"/>
                        </a:lnTo>
                        <a:lnTo>
                          <a:pt x="959" y="3918"/>
                        </a:lnTo>
                        <a:lnTo>
                          <a:pt x="1109" y="3664"/>
                        </a:lnTo>
                        <a:lnTo>
                          <a:pt x="1270" y="3389"/>
                        </a:lnTo>
                        <a:lnTo>
                          <a:pt x="1440" y="3100"/>
                        </a:lnTo>
                        <a:lnTo>
                          <a:pt x="1614" y="2805"/>
                        </a:lnTo>
                        <a:lnTo>
                          <a:pt x="1788" y="2511"/>
                        </a:lnTo>
                        <a:lnTo>
                          <a:pt x="1957" y="2227"/>
                        </a:lnTo>
                        <a:lnTo>
                          <a:pt x="2117" y="1958"/>
                        </a:lnTo>
                        <a:lnTo>
                          <a:pt x="2264" y="1715"/>
                        </a:lnTo>
                        <a:lnTo>
                          <a:pt x="2393" y="1503"/>
                        </a:lnTo>
                        <a:lnTo>
                          <a:pt x="2449" y="1411"/>
                        </a:lnTo>
                        <a:lnTo>
                          <a:pt x="2499" y="1330"/>
                        </a:lnTo>
                        <a:lnTo>
                          <a:pt x="2543" y="1260"/>
                        </a:lnTo>
                        <a:lnTo>
                          <a:pt x="2580" y="1203"/>
                        </a:lnTo>
                        <a:lnTo>
                          <a:pt x="2611" y="1155"/>
                        </a:lnTo>
                        <a:lnTo>
                          <a:pt x="2645" y="1105"/>
                        </a:lnTo>
                        <a:lnTo>
                          <a:pt x="2678" y="1057"/>
                        </a:lnTo>
                        <a:lnTo>
                          <a:pt x="2711" y="1010"/>
                        </a:lnTo>
                        <a:lnTo>
                          <a:pt x="2746" y="962"/>
                        </a:lnTo>
                        <a:lnTo>
                          <a:pt x="2781" y="917"/>
                        </a:lnTo>
                        <a:lnTo>
                          <a:pt x="2816" y="871"/>
                        </a:lnTo>
                        <a:lnTo>
                          <a:pt x="2853" y="827"/>
                        </a:lnTo>
                        <a:lnTo>
                          <a:pt x="2889" y="783"/>
                        </a:lnTo>
                        <a:lnTo>
                          <a:pt x="2927" y="740"/>
                        </a:lnTo>
                        <a:lnTo>
                          <a:pt x="2965" y="698"/>
                        </a:lnTo>
                        <a:lnTo>
                          <a:pt x="3005" y="657"/>
                        </a:lnTo>
                        <a:lnTo>
                          <a:pt x="3044" y="618"/>
                        </a:lnTo>
                        <a:lnTo>
                          <a:pt x="3085" y="578"/>
                        </a:lnTo>
                        <a:lnTo>
                          <a:pt x="3127" y="540"/>
                        </a:lnTo>
                        <a:lnTo>
                          <a:pt x="3170" y="503"/>
                        </a:lnTo>
                        <a:lnTo>
                          <a:pt x="3214" y="467"/>
                        </a:lnTo>
                        <a:lnTo>
                          <a:pt x="3259" y="434"/>
                        </a:lnTo>
                        <a:lnTo>
                          <a:pt x="3304" y="401"/>
                        </a:lnTo>
                        <a:lnTo>
                          <a:pt x="3352" y="368"/>
                        </a:lnTo>
                        <a:lnTo>
                          <a:pt x="3400" y="337"/>
                        </a:lnTo>
                        <a:lnTo>
                          <a:pt x="3451" y="308"/>
                        </a:lnTo>
                        <a:lnTo>
                          <a:pt x="3503" y="279"/>
                        </a:lnTo>
                        <a:lnTo>
                          <a:pt x="3555" y="252"/>
                        </a:lnTo>
                        <a:lnTo>
                          <a:pt x="3609" y="226"/>
                        </a:lnTo>
                        <a:lnTo>
                          <a:pt x="3665" y="203"/>
                        </a:lnTo>
                        <a:lnTo>
                          <a:pt x="3722" y="180"/>
                        </a:lnTo>
                        <a:lnTo>
                          <a:pt x="3781" y="159"/>
                        </a:lnTo>
                        <a:lnTo>
                          <a:pt x="3841" y="140"/>
                        </a:lnTo>
                        <a:lnTo>
                          <a:pt x="3904" y="121"/>
                        </a:lnTo>
                        <a:lnTo>
                          <a:pt x="3968" y="105"/>
                        </a:lnTo>
                        <a:lnTo>
                          <a:pt x="4033" y="90"/>
                        </a:lnTo>
                        <a:lnTo>
                          <a:pt x="4099" y="76"/>
                        </a:lnTo>
                        <a:lnTo>
                          <a:pt x="4163" y="65"/>
                        </a:lnTo>
                        <a:lnTo>
                          <a:pt x="4225" y="54"/>
                        </a:lnTo>
                        <a:lnTo>
                          <a:pt x="4286" y="43"/>
                        </a:lnTo>
                        <a:lnTo>
                          <a:pt x="4344" y="36"/>
                        </a:lnTo>
                        <a:lnTo>
                          <a:pt x="4399" y="29"/>
                        </a:lnTo>
                        <a:lnTo>
                          <a:pt x="4454" y="22"/>
                        </a:lnTo>
                        <a:lnTo>
                          <a:pt x="4507" y="16"/>
                        </a:lnTo>
                        <a:lnTo>
                          <a:pt x="4557" y="12"/>
                        </a:lnTo>
                        <a:lnTo>
                          <a:pt x="4605" y="8"/>
                        </a:lnTo>
                        <a:lnTo>
                          <a:pt x="4652" y="5"/>
                        </a:lnTo>
                        <a:lnTo>
                          <a:pt x="4697" y="3"/>
                        </a:lnTo>
                        <a:lnTo>
                          <a:pt x="4779" y="1"/>
                        </a:lnTo>
                        <a:lnTo>
                          <a:pt x="4854" y="0"/>
                        </a:lnTo>
                        <a:lnTo>
                          <a:pt x="4921" y="2"/>
                        </a:lnTo>
                        <a:lnTo>
                          <a:pt x="4979" y="5"/>
                        </a:lnTo>
                        <a:lnTo>
                          <a:pt x="5027" y="8"/>
                        </a:lnTo>
                        <a:lnTo>
                          <a:pt x="5068" y="13"/>
                        </a:lnTo>
                        <a:lnTo>
                          <a:pt x="5100" y="17"/>
                        </a:lnTo>
                        <a:lnTo>
                          <a:pt x="5123" y="20"/>
                        </a:lnTo>
                        <a:lnTo>
                          <a:pt x="5137" y="22"/>
                        </a:lnTo>
                        <a:lnTo>
                          <a:pt x="5142" y="23"/>
                        </a:lnTo>
                        <a:close/>
                        <a:moveTo>
                          <a:pt x="771" y="2251"/>
                        </a:moveTo>
                        <a:lnTo>
                          <a:pt x="1557" y="2251"/>
                        </a:lnTo>
                        <a:lnTo>
                          <a:pt x="754" y="3798"/>
                        </a:lnTo>
                        <a:lnTo>
                          <a:pt x="715" y="3796"/>
                        </a:lnTo>
                        <a:lnTo>
                          <a:pt x="676" y="3793"/>
                        </a:lnTo>
                        <a:lnTo>
                          <a:pt x="638" y="3787"/>
                        </a:lnTo>
                        <a:lnTo>
                          <a:pt x="601" y="3779"/>
                        </a:lnTo>
                        <a:lnTo>
                          <a:pt x="566" y="3771"/>
                        </a:lnTo>
                        <a:lnTo>
                          <a:pt x="530" y="3759"/>
                        </a:lnTo>
                        <a:lnTo>
                          <a:pt x="495" y="3747"/>
                        </a:lnTo>
                        <a:lnTo>
                          <a:pt x="460" y="3733"/>
                        </a:lnTo>
                        <a:lnTo>
                          <a:pt x="426" y="3717"/>
                        </a:lnTo>
                        <a:lnTo>
                          <a:pt x="395" y="3699"/>
                        </a:lnTo>
                        <a:lnTo>
                          <a:pt x="363" y="3681"/>
                        </a:lnTo>
                        <a:lnTo>
                          <a:pt x="332" y="3660"/>
                        </a:lnTo>
                        <a:lnTo>
                          <a:pt x="303" y="3639"/>
                        </a:lnTo>
                        <a:lnTo>
                          <a:pt x="274" y="3615"/>
                        </a:lnTo>
                        <a:lnTo>
                          <a:pt x="247" y="3591"/>
                        </a:lnTo>
                        <a:lnTo>
                          <a:pt x="221" y="3566"/>
                        </a:lnTo>
                        <a:lnTo>
                          <a:pt x="195" y="3539"/>
                        </a:lnTo>
                        <a:lnTo>
                          <a:pt x="172" y="3511"/>
                        </a:lnTo>
                        <a:lnTo>
                          <a:pt x="150" y="3482"/>
                        </a:lnTo>
                        <a:lnTo>
                          <a:pt x="129" y="3451"/>
                        </a:lnTo>
                        <a:lnTo>
                          <a:pt x="109" y="3421"/>
                        </a:lnTo>
                        <a:lnTo>
                          <a:pt x="91" y="3389"/>
                        </a:lnTo>
                        <a:lnTo>
                          <a:pt x="74" y="3355"/>
                        </a:lnTo>
                        <a:lnTo>
                          <a:pt x="59" y="3321"/>
                        </a:lnTo>
                        <a:lnTo>
                          <a:pt x="45" y="3288"/>
                        </a:lnTo>
                        <a:lnTo>
                          <a:pt x="34" y="3252"/>
                        </a:lnTo>
                        <a:lnTo>
                          <a:pt x="23" y="3216"/>
                        </a:lnTo>
                        <a:lnTo>
                          <a:pt x="15" y="3179"/>
                        </a:lnTo>
                        <a:lnTo>
                          <a:pt x="9" y="3142"/>
                        </a:lnTo>
                        <a:lnTo>
                          <a:pt x="3" y="3103"/>
                        </a:lnTo>
                        <a:lnTo>
                          <a:pt x="1" y="3064"/>
                        </a:lnTo>
                        <a:lnTo>
                          <a:pt x="0" y="3025"/>
                        </a:lnTo>
                        <a:lnTo>
                          <a:pt x="0" y="3025"/>
                        </a:lnTo>
                        <a:lnTo>
                          <a:pt x="1" y="2985"/>
                        </a:lnTo>
                        <a:lnTo>
                          <a:pt x="3" y="2946"/>
                        </a:lnTo>
                        <a:lnTo>
                          <a:pt x="9" y="2908"/>
                        </a:lnTo>
                        <a:lnTo>
                          <a:pt x="16" y="2870"/>
                        </a:lnTo>
                        <a:lnTo>
                          <a:pt x="24" y="2833"/>
                        </a:lnTo>
                        <a:lnTo>
                          <a:pt x="35" y="2796"/>
                        </a:lnTo>
                        <a:lnTo>
                          <a:pt x="47" y="2760"/>
                        </a:lnTo>
                        <a:lnTo>
                          <a:pt x="60" y="2725"/>
                        </a:lnTo>
                        <a:lnTo>
                          <a:pt x="76" y="2691"/>
                        </a:lnTo>
                        <a:lnTo>
                          <a:pt x="93" y="2657"/>
                        </a:lnTo>
                        <a:lnTo>
                          <a:pt x="112" y="2626"/>
                        </a:lnTo>
                        <a:lnTo>
                          <a:pt x="132" y="2594"/>
                        </a:lnTo>
                        <a:lnTo>
                          <a:pt x="153" y="2563"/>
                        </a:lnTo>
                        <a:lnTo>
                          <a:pt x="176" y="2534"/>
                        </a:lnTo>
                        <a:lnTo>
                          <a:pt x="201" y="2506"/>
                        </a:lnTo>
                        <a:lnTo>
                          <a:pt x="227" y="2479"/>
                        </a:lnTo>
                        <a:lnTo>
                          <a:pt x="253" y="2453"/>
                        </a:lnTo>
                        <a:lnTo>
                          <a:pt x="281" y="2429"/>
                        </a:lnTo>
                        <a:lnTo>
                          <a:pt x="310" y="2406"/>
                        </a:lnTo>
                        <a:lnTo>
                          <a:pt x="341" y="2385"/>
                        </a:lnTo>
                        <a:lnTo>
                          <a:pt x="371" y="2364"/>
                        </a:lnTo>
                        <a:lnTo>
                          <a:pt x="404" y="2345"/>
                        </a:lnTo>
                        <a:lnTo>
                          <a:pt x="437" y="2328"/>
                        </a:lnTo>
                        <a:lnTo>
                          <a:pt x="472" y="2313"/>
                        </a:lnTo>
                        <a:lnTo>
                          <a:pt x="507" y="2299"/>
                        </a:lnTo>
                        <a:lnTo>
                          <a:pt x="542" y="2287"/>
                        </a:lnTo>
                        <a:lnTo>
                          <a:pt x="579" y="2277"/>
                        </a:lnTo>
                        <a:lnTo>
                          <a:pt x="616" y="2268"/>
                        </a:lnTo>
                        <a:lnTo>
                          <a:pt x="654" y="2261"/>
                        </a:lnTo>
                        <a:lnTo>
                          <a:pt x="692" y="2256"/>
                        </a:lnTo>
                        <a:lnTo>
                          <a:pt x="731" y="2253"/>
                        </a:lnTo>
                        <a:lnTo>
                          <a:pt x="771" y="2251"/>
                        </a:lnTo>
                        <a:close/>
                        <a:moveTo>
                          <a:pt x="4722" y="2254"/>
                        </a:moveTo>
                        <a:lnTo>
                          <a:pt x="4759" y="2260"/>
                        </a:lnTo>
                        <a:lnTo>
                          <a:pt x="4795" y="2265"/>
                        </a:lnTo>
                        <a:lnTo>
                          <a:pt x="4830" y="2274"/>
                        </a:lnTo>
                        <a:lnTo>
                          <a:pt x="4865" y="2282"/>
                        </a:lnTo>
                        <a:lnTo>
                          <a:pt x="4898" y="2294"/>
                        </a:lnTo>
                        <a:lnTo>
                          <a:pt x="4932" y="2305"/>
                        </a:lnTo>
                        <a:lnTo>
                          <a:pt x="4965" y="2319"/>
                        </a:lnTo>
                        <a:lnTo>
                          <a:pt x="4997" y="2335"/>
                        </a:lnTo>
                        <a:lnTo>
                          <a:pt x="5028" y="2352"/>
                        </a:lnTo>
                        <a:lnTo>
                          <a:pt x="5058" y="2370"/>
                        </a:lnTo>
                        <a:lnTo>
                          <a:pt x="5087" y="2389"/>
                        </a:lnTo>
                        <a:lnTo>
                          <a:pt x="5116" y="2409"/>
                        </a:lnTo>
                        <a:lnTo>
                          <a:pt x="5143" y="2431"/>
                        </a:lnTo>
                        <a:lnTo>
                          <a:pt x="5170" y="2454"/>
                        </a:lnTo>
                        <a:lnTo>
                          <a:pt x="5195" y="2479"/>
                        </a:lnTo>
                        <a:lnTo>
                          <a:pt x="5219" y="2504"/>
                        </a:lnTo>
                        <a:lnTo>
                          <a:pt x="5242" y="2530"/>
                        </a:lnTo>
                        <a:lnTo>
                          <a:pt x="5263" y="2557"/>
                        </a:lnTo>
                        <a:lnTo>
                          <a:pt x="5285" y="2587"/>
                        </a:lnTo>
                        <a:lnTo>
                          <a:pt x="5304" y="2615"/>
                        </a:lnTo>
                        <a:lnTo>
                          <a:pt x="5322" y="2646"/>
                        </a:lnTo>
                        <a:lnTo>
                          <a:pt x="5338" y="2676"/>
                        </a:lnTo>
                        <a:lnTo>
                          <a:pt x="5354" y="2708"/>
                        </a:lnTo>
                        <a:lnTo>
                          <a:pt x="5368" y="2741"/>
                        </a:lnTo>
                        <a:lnTo>
                          <a:pt x="5381" y="2775"/>
                        </a:lnTo>
                        <a:lnTo>
                          <a:pt x="5391" y="2809"/>
                        </a:lnTo>
                        <a:lnTo>
                          <a:pt x="5401" y="2843"/>
                        </a:lnTo>
                        <a:lnTo>
                          <a:pt x="5408" y="2878"/>
                        </a:lnTo>
                        <a:lnTo>
                          <a:pt x="5414" y="2914"/>
                        </a:lnTo>
                        <a:lnTo>
                          <a:pt x="5419" y="2951"/>
                        </a:lnTo>
                        <a:lnTo>
                          <a:pt x="5422" y="2988"/>
                        </a:lnTo>
                        <a:lnTo>
                          <a:pt x="5423" y="3025"/>
                        </a:lnTo>
                        <a:lnTo>
                          <a:pt x="5423" y="3025"/>
                        </a:lnTo>
                        <a:lnTo>
                          <a:pt x="5422" y="3066"/>
                        </a:lnTo>
                        <a:lnTo>
                          <a:pt x="5419" y="3105"/>
                        </a:lnTo>
                        <a:lnTo>
                          <a:pt x="5413" y="3143"/>
                        </a:lnTo>
                        <a:lnTo>
                          <a:pt x="5407" y="3181"/>
                        </a:lnTo>
                        <a:lnTo>
                          <a:pt x="5397" y="3218"/>
                        </a:lnTo>
                        <a:lnTo>
                          <a:pt x="5387" y="3255"/>
                        </a:lnTo>
                        <a:lnTo>
                          <a:pt x="5375" y="3291"/>
                        </a:lnTo>
                        <a:lnTo>
                          <a:pt x="5362" y="3326"/>
                        </a:lnTo>
                        <a:lnTo>
                          <a:pt x="5346" y="3361"/>
                        </a:lnTo>
                        <a:lnTo>
                          <a:pt x="5329" y="3393"/>
                        </a:lnTo>
                        <a:lnTo>
                          <a:pt x="5310" y="3426"/>
                        </a:lnTo>
                        <a:lnTo>
                          <a:pt x="5290" y="3457"/>
                        </a:lnTo>
                        <a:lnTo>
                          <a:pt x="5269" y="3487"/>
                        </a:lnTo>
                        <a:lnTo>
                          <a:pt x="5246" y="3517"/>
                        </a:lnTo>
                        <a:lnTo>
                          <a:pt x="5221" y="3545"/>
                        </a:lnTo>
                        <a:lnTo>
                          <a:pt x="5196" y="3571"/>
                        </a:lnTo>
                        <a:lnTo>
                          <a:pt x="5169" y="3597"/>
                        </a:lnTo>
                        <a:lnTo>
                          <a:pt x="5141" y="3622"/>
                        </a:lnTo>
                        <a:lnTo>
                          <a:pt x="5112" y="3645"/>
                        </a:lnTo>
                        <a:lnTo>
                          <a:pt x="5081" y="3666"/>
                        </a:lnTo>
                        <a:lnTo>
                          <a:pt x="5049" y="3686"/>
                        </a:lnTo>
                        <a:lnTo>
                          <a:pt x="5018" y="3705"/>
                        </a:lnTo>
                        <a:lnTo>
                          <a:pt x="4984" y="3722"/>
                        </a:lnTo>
                        <a:lnTo>
                          <a:pt x="4950" y="3738"/>
                        </a:lnTo>
                        <a:lnTo>
                          <a:pt x="4915" y="3752"/>
                        </a:lnTo>
                        <a:lnTo>
                          <a:pt x="4879" y="3763"/>
                        </a:lnTo>
                        <a:lnTo>
                          <a:pt x="4843" y="3774"/>
                        </a:lnTo>
                        <a:lnTo>
                          <a:pt x="4806" y="3782"/>
                        </a:lnTo>
                        <a:lnTo>
                          <a:pt x="4768" y="3790"/>
                        </a:lnTo>
                        <a:lnTo>
                          <a:pt x="4730" y="3794"/>
                        </a:lnTo>
                        <a:lnTo>
                          <a:pt x="4691" y="3797"/>
                        </a:lnTo>
                        <a:lnTo>
                          <a:pt x="4652" y="3798"/>
                        </a:lnTo>
                        <a:lnTo>
                          <a:pt x="4240" y="3798"/>
                        </a:lnTo>
                        <a:lnTo>
                          <a:pt x="4722" y="225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65" name="Freeform 32"/>
                  <p:cNvSpPr>
                    <a:spLocks noEditPoints="1"/>
                  </p:cNvSpPr>
                  <p:nvPr/>
                </p:nvSpPr>
                <p:spPr bwMode="auto">
                  <a:xfrm>
                    <a:off x="6963700" y="3928542"/>
                    <a:ext cx="538162" cy="615950"/>
                  </a:xfrm>
                  <a:custGeom>
                    <a:avLst/>
                    <a:gdLst/>
                    <a:ahLst/>
                    <a:cxnLst>
                      <a:cxn ang="0">
                        <a:pos x="148" y="501"/>
                      </a:cxn>
                      <a:cxn ang="0">
                        <a:pos x="144" y="409"/>
                      </a:cxn>
                      <a:cxn ang="0">
                        <a:pos x="154" y="317"/>
                      </a:cxn>
                      <a:cxn ang="0">
                        <a:pos x="186" y="221"/>
                      </a:cxn>
                      <a:cxn ang="0">
                        <a:pos x="247" y="130"/>
                      </a:cxn>
                      <a:cxn ang="0">
                        <a:pos x="346" y="58"/>
                      </a:cxn>
                      <a:cxn ang="0">
                        <a:pos x="493" y="15"/>
                      </a:cxn>
                      <a:cxn ang="0">
                        <a:pos x="712" y="2"/>
                      </a:cxn>
                      <a:cxn ang="0">
                        <a:pos x="1325" y="4"/>
                      </a:cxn>
                      <a:cxn ang="0">
                        <a:pos x="2149" y="24"/>
                      </a:cxn>
                      <a:cxn ang="0">
                        <a:pos x="2800" y="49"/>
                      </a:cxn>
                      <a:cxn ang="0">
                        <a:pos x="5245" y="6186"/>
                      </a:cxn>
                      <a:cxn ang="0">
                        <a:pos x="5094" y="6201"/>
                      </a:cxn>
                      <a:cxn ang="0">
                        <a:pos x="4922" y="6204"/>
                      </a:cxn>
                      <a:cxn ang="0">
                        <a:pos x="4699" y="6190"/>
                      </a:cxn>
                      <a:cxn ang="0">
                        <a:pos x="4437" y="6150"/>
                      </a:cxn>
                      <a:cxn ang="0">
                        <a:pos x="4147" y="6072"/>
                      </a:cxn>
                      <a:cxn ang="0">
                        <a:pos x="3838" y="5947"/>
                      </a:cxn>
                      <a:cxn ang="0">
                        <a:pos x="3523" y="5764"/>
                      </a:cxn>
                      <a:cxn ang="0">
                        <a:pos x="3220" y="5524"/>
                      </a:cxn>
                      <a:cxn ang="0">
                        <a:pos x="2946" y="5251"/>
                      </a:cxn>
                      <a:cxn ang="0">
                        <a:pos x="2704" y="4965"/>
                      </a:cxn>
                      <a:cxn ang="0">
                        <a:pos x="2498" y="4684"/>
                      </a:cxn>
                      <a:cxn ang="0">
                        <a:pos x="2333" y="4432"/>
                      </a:cxn>
                      <a:cxn ang="0">
                        <a:pos x="2209" y="4227"/>
                      </a:cxn>
                      <a:cxn ang="0">
                        <a:pos x="2107" y="4037"/>
                      </a:cxn>
                      <a:cxn ang="0">
                        <a:pos x="1676" y="3962"/>
                      </a:cxn>
                      <a:cxn ang="0">
                        <a:pos x="654" y="3954"/>
                      </a:cxn>
                      <a:cxn ang="0">
                        <a:pos x="506" y="3916"/>
                      </a:cxn>
                      <a:cxn ang="0">
                        <a:pos x="371" y="3851"/>
                      </a:cxn>
                      <a:cxn ang="0">
                        <a:pos x="253" y="3761"/>
                      </a:cxn>
                      <a:cxn ang="0">
                        <a:pos x="153" y="3651"/>
                      </a:cxn>
                      <a:cxn ang="0">
                        <a:pos x="76" y="3524"/>
                      </a:cxn>
                      <a:cxn ang="0">
                        <a:pos x="23" y="3383"/>
                      </a:cxn>
                      <a:cxn ang="0">
                        <a:pos x="1" y="3229"/>
                      </a:cxn>
                      <a:cxn ang="0">
                        <a:pos x="3" y="3111"/>
                      </a:cxn>
                      <a:cxn ang="0">
                        <a:pos x="34" y="2960"/>
                      </a:cxn>
                      <a:cxn ang="0">
                        <a:pos x="93" y="2821"/>
                      </a:cxn>
                      <a:cxn ang="0">
                        <a:pos x="176" y="2699"/>
                      </a:cxn>
                      <a:cxn ang="0">
                        <a:pos x="281" y="2593"/>
                      </a:cxn>
                      <a:cxn ang="0">
                        <a:pos x="404" y="2510"/>
                      </a:cxn>
                      <a:cxn ang="0">
                        <a:pos x="542" y="2451"/>
                      </a:cxn>
                      <a:cxn ang="0">
                        <a:pos x="692" y="2420"/>
                      </a:cxn>
                      <a:cxn ang="0">
                        <a:pos x="4651" y="2416"/>
                      </a:cxn>
                      <a:cxn ang="0">
                        <a:pos x="4806" y="2432"/>
                      </a:cxn>
                      <a:cxn ang="0">
                        <a:pos x="4950" y="2477"/>
                      </a:cxn>
                      <a:cxn ang="0">
                        <a:pos x="5081" y="2548"/>
                      </a:cxn>
                      <a:cxn ang="0">
                        <a:pos x="5196" y="2644"/>
                      </a:cxn>
                      <a:cxn ang="0">
                        <a:pos x="5290" y="2758"/>
                      </a:cxn>
                      <a:cxn ang="0">
                        <a:pos x="5362" y="2889"/>
                      </a:cxn>
                      <a:cxn ang="0">
                        <a:pos x="5407" y="3034"/>
                      </a:cxn>
                      <a:cxn ang="0">
                        <a:pos x="5423" y="3189"/>
                      </a:cxn>
                      <a:cxn ang="0">
                        <a:pos x="5416" y="3283"/>
                      </a:cxn>
                      <a:cxn ang="0">
                        <a:pos x="5392" y="3403"/>
                      </a:cxn>
                      <a:cxn ang="0">
                        <a:pos x="5350" y="3514"/>
                      </a:cxn>
                      <a:cxn ang="0">
                        <a:pos x="5292" y="3617"/>
                      </a:cxn>
                      <a:cxn ang="0">
                        <a:pos x="5220" y="3709"/>
                      </a:cxn>
                      <a:cxn ang="0">
                        <a:pos x="5135" y="3790"/>
                      </a:cxn>
                      <a:cxn ang="0">
                        <a:pos x="5038" y="3858"/>
                      </a:cxn>
                      <a:cxn ang="0">
                        <a:pos x="4931" y="3909"/>
                      </a:cxn>
                    </a:cxnLst>
                    <a:rect l="0" t="0" r="r" b="b"/>
                    <a:pathLst>
                      <a:path w="5423" h="6204">
                        <a:moveTo>
                          <a:pt x="155" y="547"/>
                        </a:moveTo>
                        <a:lnTo>
                          <a:pt x="154" y="541"/>
                        </a:lnTo>
                        <a:lnTo>
                          <a:pt x="151" y="526"/>
                        </a:lnTo>
                        <a:lnTo>
                          <a:pt x="148" y="501"/>
                        </a:lnTo>
                        <a:lnTo>
                          <a:pt x="145" y="468"/>
                        </a:lnTo>
                        <a:lnTo>
                          <a:pt x="144" y="450"/>
                        </a:lnTo>
                        <a:lnTo>
                          <a:pt x="144" y="430"/>
                        </a:lnTo>
                        <a:lnTo>
                          <a:pt x="144" y="409"/>
                        </a:lnTo>
                        <a:lnTo>
                          <a:pt x="145" y="387"/>
                        </a:lnTo>
                        <a:lnTo>
                          <a:pt x="147" y="365"/>
                        </a:lnTo>
                        <a:lnTo>
                          <a:pt x="150" y="342"/>
                        </a:lnTo>
                        <a:lnTo>
                          <a:pt x="154" y="317"/>
                        </a:lnTo>
                        <a:lnTo>
                          <a:pt x="159" y="293"/>
                        </a:lnTo>
                        <a:lnTo>
                          <a:pt x="167" y="269"/>
                        </a:lnTo>
                        <a:lnTo>
                          <a:pt x="175" y="244"/>
                        </a:lnTo>
                        <a:lnTo>
                          <a:pt x="186" y="221"/>
                        </a:lnTo>
                        <a:lnTo>
                          <a:pt x="197" y="197"/>
                        </a:lnTo>
                        <a:lnTo>
                          <a:pt x="212" y="174"/>
                        </a:lnTo>
                        <a:lnTo>
                          <a:pt x="228" y="151"/>
                        </a:lnTo>
                        <a:lnTo>
                          <a:pt x="247" y="130"/>
                        </a:lnTo>
                        <a:lnTo>
                          <a:pt x="268" y="110"/>
                        </a:lnTo>
                        <a:lnTo>
                          <a:pt x="291" y="92"/>
                        </a:lnTo>
                        <a:lnTo>
                          <a:pt x="318" y="74"/>
                        </a:lnTo>
                        <a:lnTo>
                          <a:pt x="346" y="58"/>
                        </a:lnTo>
                        <a:lnTo>
                          <a:pt x="378" y="44"/>
                        </a:lnTo>
                        <a:lnTo>
                          <a:pt x="413" y="33"/>
                        </a:lnTo>
                        <a:lnTo>
                          <a:pt x="452" y="22"/>
                        </a:lnTo>
                        <a:lnTo>
                          <a:pt x="493" y="15"/>
                        </a:lnTo>
                        <a:lnTo>
                          <a:pt x="538" y="10"/>
                        </a:lnTo>
                        <a:lnTo>
                          <a:pt x="588" y="7"/>
                        </a:lnTo>
                        <a:lnTo>
                          <a:pt x="647" y="4"/>
                        </a:lnTo>
                        <a:lnTo>
                          <a:pt x="712" y="2"/>
                        </a:lnTo>
                        <a:lnTo>
                          <a:pt x="785" y="1"/>
                        </a:lnTo>
                        <a:lnTo>
                          <a:pt x="947" y="0"/>
                        </a:lnTo>
                        <a:lnTo>
                          <a:pt x="1129" y="1"/>
                        </a:lnTo>
                        <a:lnTo>
                          <a:pt x="1325" y="4"/>
                        </a:lnTo>
                        <a:lnTo>
                          <a:pt x="1530" y="7"/>
                        </a:lnTo>
                        <a:lnTo>
                          <a:pt x="1739" y="13"/>
                        </a:lnTo>
                        <a:lnTo>
                          <a:pt x="1947" y="18"/>
                        </a:lnTo>
                        <a:lnTo>
                          <a:pt x="2149" y="24"/>
                        </a:lnTo>
                        <a:lnTo>
                          <a:pt x="2340" y="31"/>
                        </a:lnTo>
                        <a:lnTo>
                          <a:pt x="2516" y="37"/>
                        </a:lnTo>
                        <a:lnTo>
                          <a:pt x="2671" y="43"/>
                        </a:lnTo>
                        <a:lnTo>
                          <a:pt x="2800" y="49"/>
                        </a:lnTo>
                        <a:lnTo>
                          <a:pt x="2898" y="52"/>
                        </a:lnTo>
                        <a:lnTo>
                          <a:pt x="2961" y="55"/>
                        </a:lnTo>
                        <a:lnTo>
                          <a:pt x="2984" y="55"/>
                        </a:lnTo>
                        <a:lnTo>
                          <a:pt x="5245" y="6186"/>
                        </a:lnTo>
                        <a:lnTo>
                          <a:pt x="5235" y="6187"/>
                        </a:lnTo>
                        <a:lnTo>
                          <a:pt x="5205" y="6191"/>
                        </a:lnTo>
                        <a:lnTo>
                          <a:pt x="5158" y="6197"/>
                        </a:lnTo>
                        <a:lnTo>
                          <a:pt x="5094" y="6201"/>
                        </a:lnTo>
                        <a:lnTo>
                          <a:pt x="5057" y="6203"/>
                        </a:lnTo>
                        <a:lnTo>
                          <a:pt x="5015" y="6204"/>
                        </a:lnTo>
                        <a:lnTo>
                          <a:pt x="4970" y="6204"/>
                        </a:lnTo>
                        <a:lnTo>
                          <a:pt x="4922" y="6204"/>
                        </a:lnTo>
                        <a:lnTo>
                          <a:pt x="4870" y="6203"/>
                        </a:lnTo>
                        <a:lnTo>
                          <a:pt x="4816" y="6200"/>
                        </a:lnTo>
                        <a:lnTo>
                          <a:pt x="4759" y="6197"/>
                        </a:lnTo>
                        <a:lnTo>
                          <a:pt x="4699" y="6190"/>
                        </a:lnTo>
                        <a:lnTo>
                          <a:pt x="4637" y="6184"/>
                        </a:lnTo>
                        <a:lnTo>
                          <a:pt x="4572" y="6174"/>
                        </a:lnTo>
                        <a:lnTo>
                          <a:pt x="4506" y="6164"/>
                        </a:lnTo>
                        <a:lnTo>
                          <a:pt x="4437" y="6150"/>
                        </a:lnTo>
                        <a:lnTo>
                          <a:pt x="4367" y="6134"/>
                        </a:lnTo>
                        <a:lnTo>
                          <a:pt x="4295" y="6116"/>
                        </a:lnTo>
                        <a:lnTo>
                          <a:pt x="4221" y="6096"/>
                        </a:lnTo>
                        <a:lnTo>
                          <a:pt x="4147" y="6072"/>
                        </a:lnTo>
                        <a:lnTo>
                          <a:pt x="4071" y="6046"/>
                        </a:lnTo>
                        <a:lnTo>
                          <a:pt x="3994" y="6017"/>
                        </a:lnTo>
                        <a:lnTo>
                          <a:pt x="3916" y="5984"/>
                        </a:lnTo>
                        <a:lnTo>
                          <a:pt x="3838" y="5947"/>
                        </a:lnTo>
                        <a:lnTo>
                          <a:pt x="3759" y="5907"/>
                        </a:lnTo>
                        <a:lnTo>
                          <a:pt x="3681" y="5864"/>
                        </a:lnTo>
                        <a:lnTo>
                          <a:pt x="3602" y="5816"/>
                        </a:lnTo>
                        <a:lnTo>
                          <a:pt x="3523" y="5764"/>
                        </a:lnTo>
                        <a:lnTo>
                          <a:pt x="3445" y="5708"/>
                        </a:lnTo>
                        <a:lnTo>
                          <a:pt x="3368" y="5650"/>
                        </a:lnTo>
                        <a:lnTo>
                          <a:pt x="3293" y="5589"/>
                        </a:lnTo>
                        <a:lnTo>
                          <a:pt x="3220" y="5524"/>
                        </a:lnTo>
                        <a:lnTo>
                          <a:pt x="3148" y="5459"/>
                        </a:lnTo>
                        <a:lnTo>
                          <a:pt x="3080" y="5391"/>
                        </a:lnTo>
                        <a:lnTo>
                          <a:pt x="3011" y="5322"/>
                        </a:lnTo>
                        <a:lnTo>
                          <a:pt x="2946" y="5251"/>
                        </a:lnTo>
                        <a:lnTo>
                          <a:pt x="2882" y="5180"/>
                        </a:lnTo>
                        <a:lnTo>
                          <a:pt x="2821" y="5108"/>
                        </a:lnTo>
                        <a:lnTo>
                          <a:pt x="2761" y="5037"/>
                        </a:lnTo>
                        <a:lnTo>
                          <a:pt x="2704" y="4965"/>
                        </a:lnTo>
                        <a:lnTo>
                          <a:pt x="2649" y="4894"/>
                        </a:lnTo>
                        <a:lnTo>
                          <a:pt x="2596" y="4823"/>
                        </a:lnTo>
                        <a:lnTo>
                          <a:pt x="2547" y="4753"/>
                        </a:lnTo>
                        <a:lnTo>
                          <a:pt x="2498" y="4684"/>
                        </a:lnTo>
                        <a:lnTo>
                          <a:pt x="2453" y="4619"/>
                        </a:lnTo>
                        <a:lnTo>
                          <a:pt x="2411" y="4554"/>
                        </a:lnTo>
                        <a:lnTo>
                          <a:pt x="2370" y="4492"/>
                        </a:lnTo>
                        <a:lnTo>
                          <a:pt x="2333" y="4432"/>
                        </a:lnTo>
                        <a:lnTo>
                          <a:pt x="2297" y="4376"/>
                        </a:lnTo>
                        <a:lnTo>
                          <a:pt x="2265" y="4322"/>
                        </a:lnTo>
                        <a:lnTo>
                          <a:pt x="2236" y="4272"/>
                        </a:lnTo>
                        <a:lnTo>
                          <a:pt x="2209" y="4227"/>
                        </a:lnTo>
                        <a:lnTo>
                          <a:pt x="2165" y="4147"/>
                        </a:lnTo>
                        <a:lnTo>
                          <a:pt x="2133" y="4088"/>
                        </a:lnTo>
                        <a:lnTo>
                          <a:pt x="2113" y="4051"/>
                        </a:lnTo>
                        <a:lnTo>
                          <a:pt x="2107" y="4037"/>
                        </a:lnTo>
                        <a:lnTo>
                          <a:pt x="155" y="547"/>
                        </a:lnTo>
                        <a:close/>
                        <a:moveTo>
                          <a:pt x="771" y="2416"/>
                        </a:moveTo>
                        <a:lnTo>
                          <a:pt x="861" y="2416"/>
                        </a:lnTo>
                        <a:lnTo>
                          <a:pt x="1676" y="3962"/>
                        </a:lnTo>
                        <a:lnTo>
                          <a:pt x="771" y="3962"/>
                        </a:lnTo>
                        <a:lnTo>
                          <a:pt x="731" y="3962"/>
                        </a:lnTo>
                        <a:lnTo>
                          <a:pt x="692" y="3959"/>
                        </a:lnTo>
                        <a:lnTo>
                          <a:pt x="654" y="3954"/>
                        </a:lnTo>
                        <a:lnTo>
                          <a:pt x="616" y="3947"/>
                        </a:lnTo>
                        <a:lnTo>
                          <a:pt x="578" y="3939"/>
                        </a:lnTo>
                        <a:lnTo>
                          <a:pt x="542" y="3928"/>
                        </a:lnTo>
                        <a:lnTo>
                          <a:pt x="506" y="3916"/>
                        </a:lnTo>
                        <a:lnTo>
                          <a:pt x="472" y="3902"/>
                        </a:lnTo>
                        <a:lnTo>
                          <a:pt x="437" y="3886"/>
                        </a:lnTo>
                        <a:lnTo>
                          <a:pt x="404" y="3869"/>
                        </a:lnTo>
                        <a:lnTo>
                          <a:pt x="371" y="3851"/>
                        </a:lnTo>
                        <a:lnTo>
                          <a:pt x="341" y="3830"/>
                        </a:lnTo>
                        <a:lnTo>
                          <a:pt x="310" y="3809"/>
                        </a:lnTo>
                        <a:lnTo>
                          <a:pt x="281" y="3786"/>
                        </a:lnTo>
                        <a:lnTo>
                          <a:pt x="253" y="3761"/>
                        </a:lnTo>
                        <a:lnTo>
                          <a:pt x="226" y="3736"/>
                        </a:lnTo>
                        <a:lnTo>
                          <a:pt x="201" y="3708"/>
                        </a:lnTo>
                        <a:lnTo>
                          <a:pt x="176" y="3681"/>
                        </a:lnTo>
                        <a:lnTo>
                          <a:pt x="153" y="3651"/>
                        </a:lnTo>
                        <a:lnTo>
                          <a:pt x="132" y="3621"/>
                        </a:lnTo>
                        <a:lnTo>
                          <a:pt x="112" y="3590"/>
                        </a:lnTo>
                        <a:lnTo>
                          <a:pt x="93" y="3557"/>
                        </a:lnTo>
                        <a:lnTo>
                          <a:pt x="76" y="3524"/>
                        </a:lnTo>
                        <a:lnTo>
                          <a:pt x="60" y="3490"/>
                        </a:lnTo>
                        <a:lnTo>
                          <a:pt x="47" y="3455"/>
                        </a:lnTo>
                        <a:lnTo>
                          <a:pt x="34" y="3419"/>
                        </a:lnTo>
                        <a:lnTo>
                          <a:pt x="23" y="3383"/>
                        </a:lnTo>
                        <a:lnTo>
                          <a:pt x="15" y="3345"/>
                        </a:lnTo>
                        <a:lnTo>
                          <a:pt x="9" y="3307"/>
                        </a:lnTo>
                        <a:lnTo>
                          <a:pt x="3" y="3269"/>
                        </a:lnTo>
                        <a:lnTo>
                          <a:pt x="1" y="3229"/>
                        </a:lnTo>
                        <a:lnTo>
                          <a:pt x="0" y="3189"/>
                        </a:lnTo>
                        <a:lnTo>
                          <a:pt x="0" y="3189"/>
                        </a:lnTo>
                        <a:lnTo>
                          <a:pt x="1" y="3150"/>
                        </a:lnTo>
                        <a:lnTo>
                          <a:pt x="3" y="3111"/>
                        </a:lnTo>
                        <a:lnTo>
                          <a:pt x="9" y="3072"/>
                        </a:lnTo>
                        <a:lnTo>
                          <a:pt x="15" y="3034"/>
                        </a:lnTo>
                        <a:lnTo>
                          <a:pt x="23" y="2997"/>
                        </a:lnTo>
                        <a:lnTo>
                          <a:pt x="34" y="2960"/>
                        </a:lnTo>
                        <a:lnTo>
                          <a:pt x="47" y="2924"/>
                        </a:lnTo>
                        <a:lnTo>
                          <a:pt x="60" y="2889"/>
                        </a:lnTo>
                        <a:lnTo>
                          <a:pt x="76" y="2855"/>
                        </a:lnTo>
                        <a:lnTo>
                          <a:pt x="93" y="2821"/>
                        </a:lnTo>
                        <a:lnTo>
                          <a:pt x="112" y="2790"/>
                        </a:lnTo>
                        <a:lnTo>
                          <a:pt x="132" y="2758"/>
                        </a:lnTo>
                        <a:lnTo>
                          <a:pt x="153" y="2728"/>
                        </a:lnTo>
                        <a:lnTo>
                          <a:pt x="176" y="2699"/>
                        </a:lnTo>
                        <a:lnTo>
                          <a:pt x="201" y="2670"/>
                        </a:lnTo>
                        <a:lnTo>
                          <a:pt x="226" y="2644"/>
                        </a:lnTo>
                        <a:lnTo>
                          <a:pt x="253" y="2618"/>
                        </a:lnTo>
                        <a:lnTo>
                          <a:pt x="281" y="2593"/>
                        </a:lnTo>
                        <a:lnTo>
                          <a:pt x="310" y="2571"/>
                        </a:lnTo>
                        <a:lnTo>
                          <a:pt x="341" y="2548"/>
                        </a:lnTo>
                        <a:lnTo>
                          <a:pt x="371" y="2528"/>
                        </a:lnTo>
                        <a:lnTo>
                          <a:pt x="404" y="2510"/>
                        </a:lnTo>
                        <a:lnTo>
                          <a:pt x="437" y="2492"/>
                        </a:lnTo>
                        <a:lnTo>
                          <a:pt x="472" y="2477"/>
                        </a:lnTo>
                        <a:lnTo>
                          <a:pt x="506" y="2463"/>
                        </a:lnTo>
                        <a:lnTo>
                          <a:pt x="542" y="2451"/>
                        </a:lnTo>
                        <a:lnTo>
                          <a:pt x="578" y="2441"/>
                        </a:lnTo>
                        <a:lnTo>
                          <a:pt x="616" y="2432"/>
                        </a:lnTo>
                        <a:lnTo>
                          <a:pt x="654" y="2425"/>
                        </a:lnTo>
                        <a:lnTo>
                          <a:pt x="692" y="2420"/>
                        </a:lnTo>
                        <a:lnTo>
                          <a:pt x="731" y="2417"/>
                        </a:lnTo>
                        <a:lnTo>
                          <a:pt x="771" y="2416"/>
                        </a:lnTo>
                        <a:close/>
                        <a:moveTo>
                          <a:pt x="4353" y="2416"/>
                        </a:moveTo>
                        <a:lnTo>
                          <a:pt x="4651" y="2416"/>
                        </a:lnTo>
                        <a:lnTo>
                          <a:pt x="4691" y="2417"/>
                        </a:lnTo>
                        <a:lnTo>
                          <a:pt x="4730" y="2420"/>
                        </a:lnTo>
                        <a:lnTo>
                          <a:pt x="4768" y="2425"/>
                        </a:lnTo>
                        <a:lnTo>
                          <a:pt x="4806" y="2432"/>
                        </a:lnTo>
                        <a:lnTo>
                          <a:pt x="4843" y="2441"/>
                        </a:lnTo>
                        <a:lnTo>
                          <a:pt x="4879" y="2451"/>
                        </a:lnTo>
                        <a:lnTo>
                          <a:pt x="4915" y="2463"/>
                        </a:lnTo>
                        <a:lnTo>
                          <a:pt x="4950" y="2477"/>
                        </a:lnTo>
                        <a:lnTo>
                          <a:pt x="4984" y="2492"/>
                        </a:lnTo>
                        <a:lnTo>
                          <a:pt x="5018" y="2510"/>
                        </a:lnTo>
                        <a:lnTo>
                          <a:pt x="5049" y="2528"/>
                        </a:lnTo>
                        <a:lnTo>
                          <a:pt x="5081" y="2548"/>
                        </a:lnTo>
                        <a:lnTo>
                          <a:pt x="5112" y="2571"/>
                        </a:lnTo>
                        <a:lnTo>
                          <a:pt x="5141" y="2594"/>
                        </a:lnTo>
                        <a:lnTo>
                          <a:pt x="5169" y="2618"/>
                        </a:lnTo>
                        <a:lnTo>
                          <a:pt x="5196" y="2644"/>
                        </a:lnTo>
                        <a:lnTo>
                          <a:pt x="5221" y="2670"/>
                        </a:lnTo>
                        <a:lnTo>
                          <a:pt x="5246" y="2699"/>
                        </a:lnTo>
                        <a:lnTo>
                          <a:pt x="5269" y="2728"/>
                        </a:lnTo>
                        <a:lnTo>
                          <a:pt x="5290" y="2758"/>
                        </a:lnTo>
                        <a:lnTo>
                          <a:pt x="5310" y="2790"/>
                        </a:lnTo>
                        <a:lnTo>
                          <a:pt x="5329" y="2822"/>
                        </a:lnTo>
                        <a:lnTo>
                          <a:pt x="5346" y="2855"/>
                        </a:lnTo>
                        <a:lnTo>
                          <a:pt x="5362" y="2889"/>
                        </a:lnTo>
                        <a:lnTo>
                          <a:pt x="5375" y="2925"/>
                        </a:lnTo>
                        <a:lnTo>
                          <a:pt x="5387" y="2961"/>
                        </a:lnTo>
                        <a:lnTo>
                          <a:pt x="5397" y="2997"/>
                        </a:lnTo>
                        <a:lnTo>
                          <a:pt x="5407" y="3034"/>
                        </a:lnTo>
                        <a:lnTo>
                          <a:pt x="5413" y="3072"/>
                        </a:lnTo>
                        <a:lnTo>
                          <a:pt x="5419" y="3111"/>
                        </a:lnTo>
                        <a:lnTo>
                          <a:pt x="5421" y="3150"/>
                        </a:lnTo>
                        <a:lnTo>
                          <a:pt x="5423" y="3189"/>
                        </a:lnTo>
                        <a:lnTo>
                          <a:pt x="5423" y="3189"/>
                        </a:lnTo>
                        <a:lnTo>
                          <a:pt x="5422" y="3221"/>
                        </a:lnTo>
                        <a:lnTo>
                          <a:pt x="5420" y="3252"/>
                        </a:lnTo>
                        <a:lnTo>
                          <a:pt x="5416" y="3283"/>
                        </a:lnTo>
                        <a:lnTo>
                          <a:pt x="5412" y="3313"/>
                        </a:lnTo>
                        <a:lnTo>
                          <a:pt x="5407" y="3344"/>
                        </a:lnTo>
                        <a:lnTo>
                          <a:pt x="5401" y="3373"/>
                        </a:lnTo>
                        <a:lnTo>
                          <a:pt x="5392" y="3403"/>
                        </a:lnTo>
                        <a:lnTo>
                          <a:pt x="5384" y="3430"/>
                        </a:lnTo>
                        <a:lnTo>
                          <a:pt x="5373" y="3459"/>
                        </a:lnTo>
                        <a:lnTo>
                          <a:pt x="5363" y="3487"/>
                        </a:lnTo>
                        <a:lnTo>
                          <a:pt x="5350" y="3514"/>
                        </a:lnTo>
                        <a:lnTo>
                          <a:pt x="5337" y="3540"/>
                        </a:lnTo>
                        <a:lnTo>
                          <a:pt x="5324" y="3567"/>
                        </a:lnTo>
                        <a:lnTo>
                          <a:pt x="5308" y="3592"/>
                        </a:lnTo>
                        <a:lnTo>
                          <a:pt x="5292" y="3617"/>
                        </a:lnTo>
                        <a:lnTo>
                          <a:pt x="5276" y="3641"/>
                        </a:lnTo>
                        <a:lnTo>
                          <a:pt x="5258" y="3665"/>
                        </a:lnTo>
                        <a:lnTo>
                          <a:pt x="5239" y="3687"/>
                        </a:lnTo>
                        <a:lnTo>
                          <a:pt x="5220" y="3709"/>
                        </a:lnTo>
                        <a:lnTo>
                          <a:pt x="5199" y="3731"/>
                        </a:lnTo>
                        <a:lnTo>
                          <a:pt x="5178" y="3752"/>
                        </a:lnTo>
                        <a:lnTo>
                          <a:pt x="5157" y="3772"/>
                        </a:lnTo>
                        <a:lnTo>
                          <a:pt x="5135" y="3790"/>
                        </a:lnTo>
                        <a:lnTo>
                          <a:pt x="5112" y="3808"/>
                        </a:lnTo>
                        <a:lnTo>
                          <a:pt x="5087" y="3826"/>
                        </a:lnTo>
                        <a:lnTo>
                          <a:pt x="5063" y="3842"/>
                        </a:lnTo>
                        <a:lnTo>
                          <a:pt x="5038" y="3858"/>
                        </a:lnTo>
                        <a:lnTo>
                          <a:pt x="5012" y="3871"/>
                        </a:lnTo>
                        <a:lnTo>
                          <a:pt x="4985" y="3885"/>
                        </a:lnTo>
                        <a:lnTo>
                          <a:pt x="4959" y="3898"/>
                        </a:lnTo>
                        <a:lnTo>
                          <a:pt x="4931" y="3909"/>
                        </a:lnTo>
                        <a:lnTo>
                          <a:pt x="4904" y="3919"/>
                        </a:lnTo>
                        <a:lnTo>
                          <a:pt x="4353" y="241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53" name="组合 59"/>
                <p:cNvGrpSpPr/>
                <p:nvPr/>
              </p:nvGrpSpPr>
              <p:grpSpPr>
                <a:xfrm>
                  <a:off x="4036256" y="2209799"/>
                  <a:ext cx="169505" cy="161441"/>
                  <a:chOff x="7198556" y="1523999"/>
                  <a:chExt cx="169505" cy="161441"/>
                </a:xfrm>
                <a:grpFill/>
              </p:grpSpPr>
              <p:sp>
                <p:nvSpPr>
                  <p:cNvPr id="61" name="Freeform 63"/>
                  <p:cNvSpPr>
                    <a:spLocks/>
                  </p:cNvSpPr>
                  <p:nvPr/>
                </p:nvSpPr>
                <p:spPr bwMode="auto">
                  <a:xfrm>
                    <a:off x="7198556" y="1563536"/>
                    <a:ext cx="126227" cy="120807"/>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62" name="Freeform 64"/>
                  <p:cNvSpPr>
                    <a:spLocks/>
                  </p:cNvSpPr>
                  <p:nvPr/>
                </p:nvSpPr>
                <p:spPr bwMode="auto">
                  <a:xfrm>
                    <a:off x="7199758" y="1523999"/>
                    <a:ext cx="168303" cy="161441"/>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grpSp>
            <p:nvGrpSpPr>
              <p:cNvPr id="55" name="组合 65"/>
              <p:cNvGrpSpPr/>
              <p:nvPr/>
            </p:nvGrpSpPr>
            <p:grpSpPr>
              <a:xfrm>
                <a:off x="5246323" y="3660647"/>
                <a:ext cx="1381362" cy="743164"/>
                <a:chOff x="4348399" y="2095499"/>
                <a:chExt cx="1381362" cy="743164"/>
              </a:xfrm>
              <a:solidFill>
                <a:srgbClr val="00B0F0"/>
              </a:solidFill>
            </p:grpSpPr>
            <p:grpSp>
              <p:nvGrpSpPr>
                <p:cNvPr id="58" name="组合 134"/>
                <p:cNvGrpSpPr/>
                <p:nvPr/>
              </p:nvGrpSpPr>
              <p:grpSpPr>
                <a:xfrm>
                  <a:off x="4348399" y="2209800"/>
                  <a:ext cx="1266800" cy="628863"/>
                  <a:chOff x="-455612" y="3065463"/>
                  <a:chExt cx="1131887" cy="501650"/>
                </a:xfrm>
                <a:grpFill/>
              </p:grpSpPr>
              <p:sp>
                <p:nvSpPr>
                  <p:cNvPr id="71" name="Freeform 6"/>
                  <p:cNvSpPr>
                    <a:spLocks noEditPoints="1"/>
                  </p:cNvSpPr>
                  <p:nvPr/>
                </p:nvSpPr>
                <p:spPr bwMode="auto">
                  <a:xfrm>
                    <a:off x="-176212" y="3303588"/>
                    <a:ext cx="174625" cy="85725"/>
                  </a:xfrm>
                  <a:custGeom>
                    <a:avLst/>
                    <a:gdLst/>
                    <a:ahLst/>
                    <a:cxnLst>
                      <a:cxn ang="0">
                        <a:pos x="2441" y="1242"/>
                      </a:cxn>
                      <a:cxn ang="0">
                        <a:pos x="2533" y="1242"/>
                      </a:cxn>
                      <a:cxn ang="0">
                        <a:pos x="2533" y="1150"/>
                      </a:cxn>
                      <a:cxn ang="0">
                        <a:pos x="2533" y="138"/>
                      </a:cxn>
                      <a:cxn ang="0">
                        <a:pos x="2533" y="0"/>
                      </a:cxn>
                      <a:cxn ang="0">
                        <a:pos x="2441" y="0"/>
                      </a:cxn>
                      <a:cxn ang="0">
                        <a:pos x="138" y="0"/>
                      </a:cxn>
                      <a:cxn ang="0">
                        <a:pos x="0" y="0"/>
                      </a:cxn>
                      <a:cxn ang="0">
                        <a:pos x="0" y="138"/>
                      </a:cxn>
                      <a:cxn ang="0">
                        <a:pos x="0" y="1150"/>
                      </a:cxn>
                      <a:cxn ang="0">
                        <a:pos x="0" y="1242"/>
                      </a:cxn>
                      <a:cxn ang="0">
                        <a:pos x="138" y="1242"/>
                      </a:cxn>
                      <a:cxn ang="0">
                        <a:pos x="2441" y="1242"/>
                      </a:cxn>
                      <a:cxn ang="0">
                        <a:pos x="2303" y="230"/>
                      </a:cxn>
                      <a:cxn ang="0">
                        <a:pos x="2303" y="460"/>
                      </a:cxn>
                      <a:cxn ang="0">
                        <a:pos x="2118" y="1012"/>
                      </a:cxn>
                      <a:cxn ang="0">
                        <a:pos x="2027" y="1012"/>
                      </a:cxn>
                      <a:cxn ang="0">
                        <a:pos x="2257" y="230"/>
                      </a:cxn>
                      <a:cxn ang="0">
                        <a:pos x="2303" y="230"/>
                      </a:cxn>
                      <a:cxn ang="0">
                        <a:pos x="2027" y="230"/>
                      </a:cxn>
                      <a:cxn ang="0">
                        <a:pos x="1796" y="1012"/>
                      </a:cxn>
                      <a:cxn ang="0">
                        <a:pos x="1658" y="1012"/>
                      </a:cxn>
                      <a:cxn ang="0">
                        <a:pos x="1935" y="230"/>
                      </a:cxn>
                      <a:cxn ang="0">
                        <a:pos x="2027" y="230"/>
                      </a:cxn>
                      <a:cxn ang="0">
                        <a:pos x="1704" y="230"/>
                      </a:cxn>
                      <a:cxn ang="0">
                        <a:pos x="1427" y="1012"/>
                      </a:cxn>
                      <a:cxn ang="0">
                        <a:pos x="1335" y="1012"/>
                      </a:cxn>
                      <a:cxn ang="0">
                        <a:pos x="1612" y="230"/>
                      </a:cxn>
                      <a:cxn ang="0">
                        <a:pos x="1704" y="230"/>
                      </a:cxn>
                      <a:cxn ang="0">
                        <a:pos x="1381" y="230"/>
                      </a:cxn>
                      <a:cxn ang="0">
                        <a:pos x="1106" y="1012"/>
                      </a:cxn>
                      <a:cxn ang="0">
                        <a:pos x="967" y="1012"/>
                      </a:cxn>
                      <a:cxn ang="0">
                        <a:pos x="1244" y="230"/>
                      </a:cxn>
                      <a:cxn ang="0">
                        <a:pos x="1381" y="230"/>
                      </a:cxn>
                      <a:cxn ang="0">
                        <a:pos x="1013" y="230"/>
                      </a:cxn>
                      <a:cxn ang="0">
                        <a:pos x="737" y="1012"/>
                      </a:cxn>
                      <a:cxn ang="0">
                        <a:pos x="644" y="1012"/>
                      </a:cxn>
                      <a:cxn ang="0">
                        <a:pos x="921" y="230"/>
                      </a:cxn>
                      <a:cxn ang="0">
                        <a:pos x="1013" y="230"/>
                      </a:cxn>
                      <a:cxn ang="0">
                        <a:pos x="690" y="230"/>
                      </a:cxn>
                      <a:cxn ang="0">
                        <a:pos x="415" y="1012"/>
                      </a:cxn>
                      <a:cxn ang="0">
                        <a:pos x="322" y="1012"/>
                      </a:cxn>
                      <a:cxn ang="0">
                        <a:pos x="552" y="230"/>
                      </a:cxn>
                      <a:cxn ang="0">
                        <a:pos x="690" y="230"/>
                      </a:cxn>
                      <a:cxn ang="0">
                        <a:pos x="230" y="230"/>
                      </a:cxn>
                      <a:cxn ang="0">
                        <a:pos x="322" y="230"/>
                      </a:cxn>
                      <a:cxn ang="0">
                        <a:pos x="230" y="552"/>
                      </a:cxn>
                      <a:cxn ang="0">
                        <a:pos x="230" y="230"/>
                      </a:cxn>
                    </a:cxnLst>
                    <a:rect l="0" t="0" r="r" b="b"/>
                    <a:pathLst>
                      <a:path w="2533" h="1242">
                        <a:moveTo>
                          <a:pt x="2441" y="1242"/>
                        </a:moveTo>
                        <a:lnTo>
                          <a:pt x="2533" y="1242"/>
                        </a:lnTo>
                        <a:lnTo>
                          <a:pt x="2533" y="1150"/>
                        </a:lnTo>
                        <a:lnTo>
                          <a:pt x="2533" y="138"/>
                        </a:lnTo>
                        <a:lnTo>
                          <a:pt x="2533" y="0"/>
                        </a:lnTo>
                        <a:lnTo>
                          <a:pt x="2441" y="0"/>
                        </a:lnTo>
                        <a:lnTo>
                          <a:pt x="138" y="0"/>
                        </a:lnTo>
                        <a:lnTo>
                          <a:pt x="0" y="0"/>
                        </a:lnTo>
                        <a:lnTo>
                          <a:pt x="0" y="138"/>
                        </a:lnTo>
                        <a:lnTo>
                          <a:pt x="0" y="1150"/>
                        </a:lnTo>
                        <a:lnTo>
                          <a:pt x="0" y="1242"/>
                        </a:lnTo>
                        <a:lnTo>
                          <a:pt x="138" y="1242"/>
                        </a:lnTo>
                        <a:lnTo>
                          <a:pt x="2441" y="1242"/>
                        </a:lnTo>
                        <a:close/>
                        <a:moveTo>
                          <a:pt x="2303" y="230"/>
                        </a:moveTo>
                        <a:lnTo>
                          <a:pt x="2303" y="460"/>
                        </a:lnTo>
                        <a:lnTo>
                          <a:pt x="2118" y="1012"/>
                        </a:lnTo>
                        <a:lnTo>
                          <a:pt x="2027" y="1012"/>
                        </a:lnTo>
                        <a:lnTo>
                          <a:pt x="2257" y="230"/>
                        </a:lnTo>
                        <a:lnTo>
                          <a:pt x="2303" y="230"/>
                        </a:lnTo>
                        <a:close/>
                        <a:moveTo>
                          <a:pt x="2027" y="230"/>
                        </a:moveTo>
                        <a:lnTo>
                          <a:pt x="1796" y="1012"/>
                        </a:lnTo>
                        <a:lnTo>
                          <a:pt x="1658" y="1012"/>
                        </a:lnTo>
                        <a:lnTo>
                          <a:pt x="1935" y="230"/>
                        </a:lnTo>
                        <a:lnTo>
                          <a:pt x="2027" y="230"/>
                        </a:lnTo>
                        <a:close/>
                        <a:moveTo>
                          <a:pt x="1704" y="230"/>
                        </a:moveTo>
                        <a:lnTo>
                          <a:pt x="1427" y="1012"/>
                        </a:lnTo>
                        <a:lnTo>
                          <a:pt x="1335" y="1012"/>
                        </a:lnTo>
                        <a:lnTo>
                          <a:pt x="1612" y="230"/>
                        </a:lnTo>
                        <a:lnTo>
                          <a:pt x="1704" y="230"/>
                        </a:lnTo>
                        <a:close/>
                        <a:moveTo>
                          <a:pt x="1381" y="230"/>
                        </a:moveTo>
                        <a:lnTo>
                          <a:pt x="1106" y="1012"/>
                        </a:lnTo>
                        <a:lnTo>
                          <a:pt x="967" y="1012"/>
                        </a:lnTo>
                        <a:lnTo>
                          <a:pt x="1244" y="230"/>
                        </a:lnTo>
                        <a:lnTo>
                          <a:pt x="1381" y="230"/>
                        </a:lnTo>
                        <a:close/>
                        <a:moveTo>
                          <a:pt x="1013" y="230"/>
                        </a:moveTo>
                        <a:lnTo>
                          <a:pt x="737" y="1012"/>
                        </a:lnTo>
                        <a:lnTo>
                          <a:pt x="644" y="1012"/>
                        </a:lnTo>
                        <a:lnTo>
                          <a:pt x="921" y="230"/>
                        </a:lnTo>
                        <a:lnTo>
                          <a:pt x="1013" y="230"/>
                        </a:lnTo>
                        <a:close/>
                        <a:moveTo>
                          <a:pt x="690" y="230"/>
                        </a:moveTo>
                        <a:lnTo>
                          <a:pt x="415" y="1012"/>
                        </a:lnTo>
                        <a:lnTo>
                          <a:pt x="322" y="1012"/>
                        </a:lnTo>
                        <a:lnTo>
                          <a:pt x="552" y="230"/>
                        </a:lnTo>
                        <a:lnTo>
                          <a:pt x="690" y="230"/>
                        </a:lnTo>
                        <a:close/>
                        <a:moveTo>
                          <a:pt x="230" y="230"/>
                        </a:moveTo>
                        <a:lnTo>
                          <a:pt x="322" y="230"/>
                        </a:lnTo>
                        <a:lnTo>
                          <a:pt x="230" y="552"/>
                        </a:lnTo>
                        <a:lnTo>
                          <a:pt x="230" y="23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72" name="Freeform 7"/>
                  <p:cNvSpPr>
                    <a:spLocks noEditPoints="1"/>
                  </p:cNvSpPr>
                  <p:nvPr/>
                </p:nvSpPr>
                <p:spPr bwMode="auto">
                  <a:xfrm>
                    <a:off x="-176212" y="3160713"/>
                    <a:ext cx="174625" cy="133350"/>
                  </a:xfrm>
                  <a:custGeom>
                    <a:avLst/>
                    <a:gdLst/>
                    <a:ahLst/>
                    <a:cxnLst>
                      <a:cxn ang="0">
                        <a:pos x="2441" y="1932"/>
                      </a:cxn>
                      <a:cxn ang="0">
                        <a:pos x="2533" y="1932"/>
                      </a:cxn>
                      <a:cxn ang="0">
                        <a:pos x="2533" y="1840"/>
                      </a:cxn>
                      <a:cxn ang="0">
                        <a:pos x="2533" y="138"/>
                      </a:cxn>
                      <a:cxn ang="0">
                        <a:pos x="2533" y="0"/>
                      </a:cxn>
                      <a:cxn ang="0">
                        <a:pos x="2441" y="0"/>
                      </a:cxn>
                      <a:cxn ang="0">
                        <a:pos x="138" y="0"/>
                      </a:cxn>
                      <a:cxn ang="0">
                        <a:pos x="0" y="0"/>
                      </a:cxn>
                      <a:cxn ang="0">
                        <a:pos x="0" y="138"/>
                      </a:cxn>
                      <a:cxn ang="0">
                        <a:pos x="0" y="1840"/>
                      </a:cxn>
                      <a:cxn ang="0">
                        <a:pos x="0" y="1932"/>
                      </a:cxn>
                      <a:cxn ang="0">
                        <a:pos x="138" y="1932"/>
                      </a:cxn>
                      <a:cxn ang="0">
                        <a:pos x="2441" y="1932"/>
                      </a:cxn>
                      <a:cxn ang="0">
                        <a:pos x="461" y="230"/>
                      </a:cxn>
                      <a:cxn ang="0">
                        <a:pos x="552" y="230"/>
                      </a:cxn>
                      <a:cxn ang="0">
                        <a:pos x="276" y="1150"/>
                      </a:cxn>
                      <a:cxn ang="0">
                        <a:pos x="276" y="874"/>
                      </a:cxn>
                      <a:cxn ang="0">
                        <a:pos x="461" y="230"/>
                      </a:cxn>
                      <a:cxn ang="0">
                        <a:pos x="2118" y="1702"/>
                      </a:cxn>
                      <a:cxn ang="0">
                        <a:pos x="1981" y="1702"/>
                      </a:cxn>
                      <a:cxn ang="0">
                        <a:pos x="2303" y="782"/>
                      </a:cxn>
                      <a:cxn ang="0">
                        <a:pos x="2303" y="1104"/>
                      </a:cxn>
                      <a:cxn ang="0">
                        <a:pos x="2118" y="1702"/>
                      </a:cxn>
                      <a:cxn ang="0">
                        <a:pos x="1750" y="1702"/>
                      </a:cxn>
                      <a:cxn ang="0">
                        <a:pos x="1658" y="1702"/>
                      </a:cxn>
                      <a:cxn ang="0">
                        <a:pos x="2164" y="230"/>
                      </a:cxn>
                      <a:cxn ang="0">
                        <a:pos x="2257" y="230"/>
                      </a:cxn>
                      <a:cxn ang="0">
                        <a:pos x="1750" y="1702"/>
                      </a:cxn>
                      <a:cxn ang="0">
                        <a:pos x="1427" y="1702"/>
                      </a:cxn>
                      <a:cxn ang="0">
                        <a:pos x="1335" y="1702"/>
                      </a:cxn>
                      <a:cxn ang="0">
                        <a:pos x="1796" y="230"/>
                      </a:cxn>
                      <a:cxn ang="0">
                        <a:pos x="1935" y="230"/>
                      </a:cxn>
                      <a:cxn ang="0">
                        <a:pos x="1427" y="1702"/>
                      </a:cxn>
                      <a:cxn ang="0">
                        <a:pos x="1106" y="1702"/>
                      </a:cxn>
                      <a:cxn ang="0">
                        <a:pos x="967" y="1702"/>
                      </a:cxn>
                      <a:cxn ang="0">
                        <a:pos x="1473" y="230"/>
                      </a:cxn>
                      <a:cxn ang="0">
                        <a:pos x="1566" y="230"/>
                      </a:cxn>
                      <a:cxn ang="0">
                        <a:pos x="1106" y="1702"/>
                      </a:cxn>
                      <a:cxn ang="0">
                        <a:pos x="737" y="1702"/>
                      </a:cxn>
                      <a:cxn ang="0">
                        <a:pos x="644" y="1702"/>
                      </a:cxn>
                      <a:cxn ang="0">
                        <a:pos x="1106" y="230"/>
                      </a:cxn>
                      <a:cxn ang="0">
                        <a:pos x="1244" y="230"/>
                      </a:cxn>
                      <a:cxn ang="0">
                        <a:pos x="737" y="1702"/>
                      </a:cxn>
                      <a:cxn ang="0">
                        <a:pos x="415" y="1702"/>
                      </a:cxn>
                      <a:cxn ang="0">
                        <a:pos x="322" y="1702"/>
                      </a:cxn>
                      <a:cxn ang="0">
                        <a:pos x="783" y="230"/>
                      </a:cxn>
                      <a:cxn ang="0">
                        <a:pos x="875" y="230"/>
                      </a:cxn>
                      <a:cxn ang="0">
                        <a:pos x="415" y="1702"/>
                      </a:cxn>
                    </a:cxnLst>
                    <a:rect l="0" t="0" r="r" b="b"/>
                    <a:pathLst>
                      <a:path w="2533" h="1932">
                        <a:moveTo>
                          <a:pt x="2441" y="1932"/>
                        </a:moveTo>
                        <a:lnTo>
                          <a:pt x="2533" y="1932"/>
                        </a:lnTo>
                        <a:lnTo>
                          <a:pt x="2533" y="1840"/>
                        </a:lnTo>
                        <a:lnTo>
                          <a:pt x="2533" y="138"/>
                        </a:lnTo>
                        <a:lnTo>
                          <a:pt x="2533" y="0"/>
                        </a:lnTo>
                        <a:lnTo>
                          <a:pt x="2441" y="0"/>
                        </a:lnTo>
                        <a:lnTo>
                          <a:pt x="138" y="0"/>
                        </a:lnTo>
                        <a:lnTo>
                          <a:pt x="0" y="0"/>
                        </a:lnTo>
                        <a:lnTo>
                          <a:pt x="0" y="138"/>
                        </a:lnTo>
                        <a:lnTo>
                          <a:pt x="0" y="1840"/>
                        </a:lnTo>
                        <a:lnTo>
                          <a:pt x="0" y="1932"/>
                        </a:lnTo>
                        <a:lnTo>
                          <a:pt x="138" y="1932"/>
                        </a:lnTo>
                        <a:lnTo>
                          <a:pt x="2441" y="1932"/>
                        </a:lnTo>
                        <a:close/>
                        <a:moveTo>
                          <a:pt x="461" y="230"/>
                        </a:moveTo>
                        <a:lnTo>
                          <a:pt x="552" y="230"/>
                        </a:lnTo>
                        <a:lnTo>
                          <a:pt x="276" y="1150"/>
                        </a:lnTo>
                        <a:lnTo>
                          <a:pt x="276" y="874"/>
                        </a:lnTo>
                        <a:lnTo>
                          <a:pt x="461" y="230"/>
                        </a:lnTo>
                        <a:close/>
                        <a:moveTo>
                          <a:pt x="2118" y="1702"/>
                        </a:moveTo>
                        <a:lnTo>
                          <a:pt x="1981" y="1702"/>
                        </a:lnTo>
                        <a:lnTo>
                          <a:pt x="2303" y="782"/>
                        </a:lnTo>
                        <a:lnTo>
                          <a:pt x="2303" y="1104"/>
                        </a:lnTo>
                        <a:lnTo>
                          <a:pt x="2118" y="1702"/>
                        </a:lnTo>
                        <a:close/>
                        <a:moveTo>
                          <a:pt x="1750" y="1702"/>
                        </a:moveTo>
                        <a:lnTo>
                          <a:pt x="1658" y="1702"/>
                        </a:lnTo>
                        <a:lnTo>
                          <a:pt x="2164" y="230"/>
                        </a:lnTo>
                        <a:lnTo>
                          <a:pt x="2257" y="230"/>
                        </a:lnTo>
                        <a:lnTo>
                          <a:pt x="1750" y="1702"/>
                        </a:lnTo>
                        <a:close/>
                        <a:moveTo>
                          <a:pt x="1427" y="1702"/>
                        </a:moveTo>
                        <a:lnTo>
                          <a:pt x="1335" y="1702"/>
                        </a:lnTo>
                        <a:lnTo>
                          <a:pt x="1796" y="230"/>
                        </a:lnTo>
                        <a:lnTo>
                          <a:pt x="1935" y="230"/>
                        </a:lnTo>
                        <a:lnTo>
                          <a:pt x="1427" y="1702"/>
                        </a:lnTo>
                        <a:close/>
                        <a:moveTo>
                          <a:pt x="1106" y="1702"/>
                        </a:moveTo>
                        <a:lnTo>
                          <a:pt x="967" y="1702"/>
                        </a:lnTo>
                        <a:lnTo>
                          <a:pt x="1473" y="230"/>
                        </a:lnTo>
                        <a:lnTo>
                          <a:pt x="1566" y="230"/>
                        </a:lnTo>
                        <a:lnTo>
                          <a:pt x="1106" y="1702"/>
                        </a:lnTo>
                        <a:close/>
                        <a:moveTo>
                          <a:pt x="737" y="1702"/>
                        </a:moveTo>
                        <a:lnTo>
                          <a:pt x="644" y="1702"/>
                        </a:lnTo>
                        <a:lnTo>
                          <a:pt x="1106" y="230"/>
                        </a:lnTo>
                        <a:lnTo>
                          <a:pt x="1244" y="230"/>
                        </a:lnTo>
                        <a:lnTo>
                          <a:pt x="737" y="1702"/>
                        </a:lnTo>
                        <a:close/>
                        <a:moveTo>
                          <a:pt x="415" y="1702"/>
                        </a:moveTo>
                        <a:lnTo>
                          <a:pt x="322" y="1702"/>
                        </a:lnTo>
                        <a:lnTo>
                          <a:pt x="783" y="230"/>
                        </a:lnTo>
                        <a:lnTo>
                          <a:pt x="875" y="230"/>
                        </a:lnTo>
                        <a:lnTo>
                          <a:pt x="415" y="170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73" name="Freeform 8"/>
                  <p:cNvSpPr>
                    <a:spLocks noEditPoints="1"/>
                  </p:cNvSpPr>
                  <p:nvPr/>
                </p:nvSpPr>
                <p:spPr bwMode="auto">
                  <a:xfrm>
                    <a:off x="-455612" y="3328988"/>
                    <a:ext cx="1131887" cy="238125"/>
                  </a:xfrm>
                  <a:custGeom>
                    <a:avLst/>
                    <a:gdLst/>
                    <a:ahLst/>
                    <a:cxnLst>
                      <a:cxn ang="0">
                        <a:pos x="12391" y="1012"/>
                      </a:cxn>
                      <a:cxn ang="0">
                        <a:pos x="3271" y="414"/>
                      </a:cxn>
                      <a:cxn ang="0">
                        <a:pos x="3132" y="0"/>
                      </a:cxn>
                      <a:cxn ang="0">
                        <a:pos x="0" y="92"/>
                      </a:cxn>
                      <a:cxn ang="0">
                        <a:pos x="138" y="644"/>
                      </a:cxn>
                      <a:cxn ang="0">
                        <a:pos x="829" y="1104"/>
                      </a:cxn>
                      <a:cxn ang="0">
                        <a:pos x="1520" y="1932"/>
                      </a:cxn>
                      <a:cxn ang="0">
                        <a:pos x="1889" y="2714"/>
                      </a:cxn>
                      <a:cxn ang="0">
                        <a:pos x="1612" y="2806"/>
                      </a:cxn>
                      <a:cxn ang="0">
                        <a:pos x="1520" y="3220"/>
                      </a:cxn>
                      <a:cxn ang="0">
                        <a:pos x="1843" y="3450"/>
                      </a:cxn>
                      <a:cxn ang="0">
                        <a:pos x="3455" y="3450"/>
                      </a:cxn>
                      <a:cxn ang="0">
                        <a:pos x="15708" y="3128"/>
                      </a:cxn>
                      <a:cxn ang="0">
                        <a:pos x="16168" y="1886"/>
                      </a:cxn>
                      <a:cxn ang="0">
                        <a:pos x="16399" y="414"/>
                      </a:cxn>
                      <a:cxn ang="0">
                        <a:pos x="369" y="138"/>
                      </a:cxn>
                      <a:cxn ang="0">
                        <a:pos x="552" y="414"/>
                      </a:cxn>
                      <a:cxn ang="0">
                        <a:pos x="737" y="414"/>
                      </a:cxn>
                      <a:cxn ang="0">
                        <a:pos x="783" y="138"/>
                      </a:cxn>
                      <a:cxn ang="0">
                        <a:pos x="829" y="414"/>
                      </a:cxn>
                      <a:cxn ang="0">
                        <a:pos x="1244" y="138"/>
                      </a:cxn>
                      <a:cxn ang="0">
                        <a:pos x="1428" y="414"/>
                      </a:cxn>
                      <a:cxn ang="0">
                        <a:pos x="1612" y="414"/>
                      </a:cxn>
                      <a:cxn ang="0">
                        <a:pos x="1658" y="138"/>
                      </a:cxn>
                      <a:cxn ang="0">
                        <a:pos x="1751" y="414"/>
                      </a:cxn>
                      <a:cxn ang="0">
                        <a:pos x="2165" y="138"/>
                      </a:cxn>
                      <a:cxn ang="0">
                        <a:pos x="2349" y="414"/>
                      </a:cxn>
                      <a:cxn ang="0">
                        <a:pos x="2534" y="414"/>
                      </a:cxn>
                      <a:cxn ang="0">
                        <a:pos x="2580" y="138"/>
                      </a:cxn>
                      <a:cxn ang="0">
                        <a:pos x="2626" y="414"/>
                      </a:cxn>
                      <a:cxn ang="0">
                        <a:pos x="3132" y="414"/>
                      </a:cxn>
                      <a:cxn ang="0">
                        <a:pos x="3317" y="1932"/>
                      </a:cxn>
                      <a:cxn ang="0">
                        <a:pos x="3086" y="1794"/>
                      </a:cxn>
                      <a:cxn ang="0">
                        <a:pos x="3132" y="1518"/>
                      </a:cxn>
                      <a:cxn ang="0">
                        <a:pos x="3409" y="1472"/>
                      </a:cxn>
                      <a:cxn ang="0">
                        <a:pos x="3547" y="1702"/>
                      </a:cxn>
                      <a:cxn ang="0">
                        <a:pos x="3409" y="1932"/>
                      </a:cxn>
                      <a:cxn ang="0">
                        <a:pos x="4744" y="1932"/>
                      </a:cxn>
                      <a:cxn ang="0">
                        <a:pos x="4606" y="1702"/>
                      </a:cxn>
                      <a:cxn ang="0">
                        <a:pos x="4744" y="1472"/>
                      </a:cxn>
                      <a:cxn ang="0">
                        <a:pos x="5021" y="1518"/>
                      </a:cxn>
                      <a:cxn ang="0">
                        <a:pos x="5067" y="1794"/>
                      </a:cxn>
                      <a:cxn ang="0">
                        <a:pos x="4837" y="1932"/>
                      </a:cxn>
                      <a:cxn ang="0">
                        <a:pos x="6218" y="1886"/>
                      </a:cxn>
                      <a:cxn ang="0">
                        <a:pos x="6172" y="1610"/>
                      </a:cxn>
                      <a:cxn ang="0">
                        <a:pos x="6403" y="1472"/>
                      </a:cxn>
                      <a:cxn ang="0">
                        <a:pos x="6633" y="1610"/>
                      </a:cxn>
                      <a:cxn ang="0">
                        <a:pos x="6541" y="1886"/>
                      </a:cxn>
                      <a:cxn ang="0">
                        <a:pos x="11793" y="1656"/>
                      </a:cxn>
                      <a:cxn ang="0">
                        <a:pos x="11793" y="1380"/>
                      </a:cxn>
                      <a:cxn ang="0">
                        <a:pos x="12023" y="1656"/>
                      </a:cxn>
                      <a:cxn ang="0">
                        <a:pos x="12484" y="1656"/>
                      </a:cxn>
                      <a:cxn ang="0">
                        <a:pos x="12759" y="1380"/>
                      </a:cxn>
                      <a:cxn ang="0">
                        <a:pos x="13911" y="1656"/>
                      </a:cxn>
                      <a:cxn ang="0">
                        <a:pos x="13911" y="1380"/>
                      </a:cxn>
                      <a:cxn ang="0">
                        <a:pos x="14142" y="1656"/>
                      </a:cxn>
                      <a:cxn ang="0">
                        <a:pos x="14648" y="1656"/>
                      </a:cxn>
                      <a:cxn ang="0">
                        <a:pos x="14879" y="1380"/>
                      </a:cxn>
                    </a:cxnLst>
                    <a:rect l="0" t="0" r="r" b="b"/>
                    <a:pathLst>
                      <a:path w="16399" h="3450">
                        <a:moveTo>
                          <a:pt x="16399" y="414"/>
                        </a:moveTo>
                        <a:lnTo>
                          <a:pt x="12668" y="414"/>
                        </a:lnTo>
                        <a:lnTo>
                          <a:pt x="12391" y="1012"/>
                        </a:lnTo>
                        <a:lnTo>
                          <a:pt x="3869" y="1012"/>
                        </a:lnTo>
                        <a:lnTo>
                          <a:pt x="3409" y="414"/>
                        </a:lnTo>
                        <a:lnTo>
                          <a:pt x="3271" y="414"/>
                        </a:lnTo>
                        <a:lnTo>
                          <a:pt x="3178" y="46"/>
                        </a:lnTo>
                        <a:lnTo>
                          <a:pt x="3178" y="0"/>
                        </a:lnTo>
                        <a:lnTo>
                          <a:pt x="3132" y="0"/>
                        </a:lnTo>
                        <a:lnTo>
                          <a:pt x="92" y="0"/>
                        </a:lnTo>
                        <a:lnTo>
                          <a:pt x="0" y="0"/>
                        </a:lnTo>
                        <a:lnTo>
                          <a:pt x="0" y="92"/>
                        </a:lnTo>
                        <a:lnTo>
                          <a:pt x="92" y="414"/>
                        </a:lnTo>
                        <a:lnTo>
                          <a:pt x="138" y="552"/>
                        </a:lnTo>
                        <a:lnTo>
                          <a:pt x="138" y="644"/>
                        </a:lnTo>
                        <a:lnTo>
                          <a:pt x="184" y="690"/>
                        </a:lnTo>
                        <a:lnTo>
                          <a:pt x="552" y="874"/>
                        </a:lnTo>
                        <a:lnTo>
                          <a:pt x="829" y="1104"/>
                        </a:lnTo>
                        <a:lnTo>
                          <a:pt x="1106" y="1380"/>
                        </a:lnTo>
                        <a:lnTo>
                          <a:pt x="1335" y="1656"/>
                        </a:lnTo>
                        <a:lnTo>
                          <a:pt x="1520" y="1932"/>
                        </a:lnTo>
                        <a:lnTo>
                          <a:pt x="1704" y="2208"/>
                        </a:lnTo>
                        <a:lnTo>
                          <a:pt x="1797" y="2484"/>
                        </a:lnTo>
                        <a:lnTo>
                          <a:pt x="1889" y="2714"/>
                        </a:lnTo>
                        <a:lnTo>
                          <a:pt x="1843" y="2714"/>
                        </a:lnTo>
                        <a:lnTo>
                          <a:pt x="1704" y="2760"/>
                        </a:lnTo>
                        <a:lnTo>
                          <a:pt x="1612" y="2806"/>
                        </a:lnTo>
                        <a:lnTo>
                          <a:pt x="1520" y="2944"/>
                        </a:lnTo>
                        <a:lnTo>
                          <a:pt x="1474" y="3082"/>
                        </a:lnTo>
                        <a:lnTo>
                          <a:pt x="1520" y="3220"/>
                        </a:lnTo>
                        <a:lnTo>
                          <a:pt x="1612" y="3312"/>
                        </a:lnTo>
                        <a:lnTo>
                          <a:pt x="1704" y="3404"/>
                        </a:lnTo>
                        <a:lnTo>
                          <a:pt x="1843" y="3450"/>
                        </a:lnTo>
                        <a:lnTo>
                          <a:pt x="3086" y="3450"/>
                        </a:lnTo>
                        <a:lnTo>
                          <a:pt x="3271" y="3450"/>
                        </a:lnTo>
                        <a:lnTo>
                          <a:pt x="3455" y="3450"/>
                        </a:lnTo>
                        <a:lnTo>
                          <a:pt x="3547" y="3450"/>
                        </a:lnTo>
                        <a:lnTo>
                          <a:pt x="15524" y="3450"/>
                        </a:lnTo>
                        <a:lnTo>
                          <a:pt x="15708" y="3128"/>
                        </a:lnTo>
                        <a:lnTo>
                          <a:pt x="15893" y="2760"/>
                        </a:lnTo>
                        <a:lnTo>
                          <a:pt x="16030" y="2346"/>
                        </a:lnTo>
                        <a:lnTo>
                          <a:pt x="16168" y="1886"/>
                        </a:lnTo>
                        <a:lnTo>
                          <a:pt x="16353" y="1058"/>
                        </a:lnTo>
                        <a:lnTo>
                          <a:pt x="16399" y="736"/>
                        </a:lnTo>
                        <a:lnTo>
                          <a:pt x="16399" y="414"/>
                        </a:lnTo>
                        <a:close/>
                        <a:moveTo>
                          <a:pt x="231" y="414"/>
                        </a:moveTo>
                        <a:lnTo>
                          <a:pt x="184" y="138"/>
                        </a:lnTo>
                        <a:lnTo>
                          <a:pt x="369" y="138"/>
                        </a:lnTo>
                        <a:lnTo>
                          <a:pt x="415" y="414"/>
                        </a:lnTo>
                        <a:lnTo>
                          <a:pt x="231" y="414"/>
                        </a:lnTo>
                        <a:close/>
                        <a:moveTo>
                          <a:pt x="552" y="414"/>
                        </a:moveTo>
                        <a:lnTo>
                          <a:pt x="460" y="138"/>
                        </a:lnTo>
                        <a:lnTo>
                          <a:pt x="645" y="138"/>
                        </a:lnTo>
                        <a:lnTo>
                          <a:pt x="737" y="414"/>
                        </a:lnTo>
                        <a:lnTo>
                          <a:pt x="552" y="414"/>
                        </a:lnTo>
                        <a:close/>
                        <a:moveTo>
                          <a:pt x="829" y="414"/>
                        </a:moveTo>
                        <a:lnTo>
                          <a:pt x="783" y="138"/>
                        </a:lnTo>
                        <a:lnTo>
                          <a:pt x="968" y="138"/>
                        </a:lnTo>
                        <a:lnTo>
                          <a:pt x="1014" y="414"/>
                        </a:lnTo>
                        <a:lnTo>
                          <a:pt x="829" y="414"/>
                        </a:lnTo>
                        <a:close/>
                        <a:moveTo>
                          <a:pt x="1152" y="414"/>
                        </a:moveTo>
                        <a:lnTo>
                          <a:pt x="1060" y="138"/>
                        </a:lnTo>
                        <a:lnTo>
                          <a:pt x="1244" y="138"/>
                        </a:lnTo>
                        <a:lnTo>
                          <a:pt x="1335" y="414"/>
                        </a:lnTo>
                        <a:lnTo>
                          <a:pt x="1152" y="414"/>
                        </a:lnTo>
                        <a:close/>
                        <a:moveTo>
                          <a:pt x="1428" y="414"/>
                        </a:moveTo>
                        <a:lnTo>
                          <a:pt x="1382" y="138"/>
                        </a:lnTo>
                        <a:lnTo>
                          <a:pt x="1566" y="138"/>
                        </a:lnTo>
                        <a:lnTo>
                          <a:pt x="1612" y="414"/>
                        </a:lnTo>
                        <a:lnTo>
                          <a:pt x="1428" y="414"/>
                        </a:lnTo>
                        <a:close/>
                        <a:moveTo>
                          <a:pt x="1751" y="414"/>
                        </a:moveTo>
                        <a:lnTo>
                          <a:pt x="1658" y="138"/>
                        </a:lnTo>
                        <a:lnTo>
                          <a:pt x="1843" y="138"/>
                        </a:lnTo>
                        <a:lnTo>
                          <a:pt x="1935" y="414"/>
                        </a:lnTo>
                        <a:lnTo>
                          <a:pt x="1751" y="414"/>
                        </a:lnTo>
                        <a:close/>
                        <a:moveTo>
                          <a:pt x="2027" y="414"/>
                        </a:moveTo>
                        <a:lnTo>
                          <a:pt x="1981" y="138"/>
                        </a:lnTo>
                        <a:lnTo>
                          <a:pt x="2165" y="138"/>
                        </a:lnTo>
                        <a:lnTo>
                          <a:pt x="2211" y="414"/>
                        </a:lnTo>
                        <a:lnTo>
                          <a:pt x="2027" y="414"/>
                        </a:lnTo>
                        <a:close/>
                        <a:moveTo>
                          <a:pt x="2349" y="414"/>
                        </a:moveTo>
                        <a:lnTo>
                          <a:pt x="2257" y="138"/>
                        </a:lnTo>
                        <a:lnTo>
                          <a:pt x="2441" y="138"/>
                        </a:lnTo>
                        <a:lnTo>
                          <a:pt x="2534" y="414"/>
                        </a:lnTo>
                        <a:lnTo>
                          <a:pt x="2349" y="414"/>
                        </a:lnTo>
                        <a:close/>
                        <a:moveTo>
                          <a:pt x="2626" y="414"/>
                        </a:moveTo>
                        <a:lnTo>
                          <a:pt x="2580" y="138"/>
                        </a:lnTo>
                        <a:lnTo>
                          <a:pt x="2764" y="138"/>
                        </a:lnTo>
                        <a:lnTo>
                          <a:pt x="2810" y="414"/>
                        </a:lnTo>
                        <a:lnTo>
                          <a:pt x="2626" y="414"/>
                        </a:lnTo>
                        <a:close/>
                        <a:moveTo>
                          <a:pt x="2857" y="138"/>
                        </a:moveTo>
                        <a:lnTo>
                          <a:pt x="3086" y="138"/>
                        </a:lnTo>
                        <a:lnTo>
                          <a:pt x="3132" y="414"/>
                        </a:lnTo>
                        <a:lnTo>
                          <a:pt x="2948" y="414"/>
                        </a:lnTo>
                        <a:lnTo>
                          <a:pt x="2857" y="138"/>
                        </a:lnTo>
                        <a:close/>
                        <a:moveTo>
                          <a:pt x="3317" y="1932"/>
                        </a:moveTo>
                        <a:lnTo>
                          <a:pt x="3224" y="1932"/>
                        </a:lnTo>
                        <a:lnTo>
                          <a:pt x="3132" y="1886"/>
                        </a:lnTo>
                        <a:lnTo>
                          <a:pt x="3086" y="1794"/>
                        </a:lnTo>
                        <a:lnTo>
                          <a:pt x="3040" y="1702"/>
                        </a:lnTo>
                        <a:lnTo>
                          <a:pt x="3086" y="1610"/>
                        </a:lnTo>
                        <a:lnTo>
                          <a:pt x="3132" y="1518"/>
                        </a:lnTo>
                        <a:lnTo>
                          <a:pt x="3224" y="1472"/>
                        </a:lnTo>
                        <a:lnTo>
                          <a:pt x="3317" y="1472"/>
                        </a:lnTo>
                        <a:lnTo>
                          <a:pt x="3409" y="1472"/>
                        </a:lnTo>
                        <a:lnTo>
                          <a:pt x="3455" y="1518"/>
                        </a:lnTo>
                        <a:lnTo>
                          <a:pt x="3547" y="1610"/>
                        </a:lnTo>
                        <a:lnTo>
                          <a:pt x="3547" y="1702"/>
                        </a:lnTo>
                        <a:lnTo>
                          <a:pt x="3547" y="1794"/>
                        </a:lnTo>
                        <a:lnTo>
                          <a:pt x="3455" y="1886"/>
                        </a:lnTo>
                        <a:lnTo>
                          <a:pt x="3409" y="1932"/>
                        </a:lnTo>
                        <a:lnTo>
                          <a:pt x="3317" y="1932"/>
                        </a:lnTo>
                        <a:close/>
                        <a:moveTo>
                          <a:pt x="4837" y="1932"/>
                        </a:moveTo>
                        <a:lnTo>
                          <a:pt x="4744" y="1932"/>
                        </a:lnTo>
                        <a:lnTo>
                          <a:pt x="4652" y="1886"/>
                        </a:lnTo>
                        <a:lnTo>
                          <a:pt x="4606" y="1794"/>
                        </a:lnTo>
                        <a:lnTo>
                          <a:pt x="4606" y="1702"/>
                        </a:lnTo>
                        <a:lnTo>
                          <a:pt x="4606" y="1610"/>
                        </a:lnTo>
                        <a:lnTo>
                          <a:pt x="4652" y="1518"/>
                        </a:lnTo>
                        <a:lnTo>
                          <a:pt x="4744" y="1472"/>
                        </a:lnTo>
                        <a:lnTo>
                          <a:pt x="4837" y="1472"/>
                        </a:lnTo>
                        <a:lnTo>
                          <a:pt x="4929" y="1472"/>
                        </a:lnTo>
                        <a:lnTo>
                          <a:pt x="5021" y="1518"/>
                        </a:lnTo>
                        <a:lnTo>
                          <a:pt x="5067" y="1610"/>
                        </a:lnTo>
                        <a:lnTo>
                          <a:pt x="5067" y="1702"/>
                        </a:lnTo>
                        <a:lnTo>
                          <a:pt x="5067" y="1794"/>
                        </a:lnTo>
                        <a:lnTo>
                          <a:pt x="5021" y="1886"/>
                        </a:lnTo>
                        <a:lnTo>
                          <a:pt x="4929" y="1932"/>
                        </a:lnTo>
                        <a:lnTo>
                          <a:pt x="4837" y="1932"/>
                        </a:lnTo>
                        <a:close/>
                        <a:moveTo>
                          <a:pt x="6403" y="1932"/>
                        </a:moveTo>
                        <a:lnTo>
                          <a:pt x="6311" y="1932"/>
                        </a:lnTo>
                        <a:lnTo>
                          <a:pt x="6218" y="1886"/>
                        </a:lnTo>
                        <a:lnTo>
                          <a:pt x="6172" y="1794"/>
                        </a:lnTo>
                        <a:lnTo>
                          <a:pt x="6127" y="1702"/>
                        </a:lnTo>
                        <a:lnTo>
                          <a:pt x="6172" y="1610"/>
                        </a:lnTo>
                        <a:lnTo>
                          <a:pt x="6218" y="1518"/>
                        </a:lnTo>
                        <a:lnTo>
                          <a:pt x="6311" y="1472"/>
                        </a:lnTo>
                        <a:lnTo>
                          <a:pt x="6403" y="1472"/>
                        </a:lnTo>
                        <a:lnTo>
                          <a:pt x="6495" y="1472"/>
                        </a:lnTo>
                        <a:lnTo>
                          <a:pt x="6541" y="1518"/>
                        </a:lnTo>
                        <a:lnTo>
                          <a:pt x="6633" y="1610"/>
                        </a:lnTo>
                        <a:lnTo>
                          <a:pt x="6633" y="1702"/>
                        </a:lnTo>
                        <a:lnTo>
                          <a:pt x="6633" y="1794"/>
                        </a:lnTo>
                        <a:lnTo>
                          <a:pt x="6541" y="1886"/>
                        </a:lnTo>
                        <a:lnTo>
                          <a:pt x="6495" y="1932"/>
                        </a:lnTo>
                        <a:lnTo>
                          <a:pt x="6403" y="1932"/>
                        </a:lnTo>
                        <a:close/>
                        <a:moveTo>
                          <a:pt x="11793" y="1656"/>
                        </a:moveTo>
                        <a:lnTo>
                          <a:pt x="11332" y="1656"/>
                        </a:lnTo>
                        <a:lnTo>
                          <a:pt x="11332" y="1380"/>
                        </a:lnTo>
                        <a:lnTo>
                          <a:pt x="11793" y="1380"/>
                        </a:lnTo>
                        <a:lnTo>
                          <a:pt x="11793" y="1656"/>
                        </a:lnTo>
                        <a:close/>
                        <a:moveTo>
                          <a:pt x="12484" y="1656"/>
                        </a:moveTo>
                        <a:lnTo>
                          <a:pt x="12023" y="1656"/>
                        </a:lnTo>
                        <a:lnTo>
                          <a:pt x="12023" y="1380"/>
                        </a:lnTo>
                        <a:lnTo>
                          <a:pt x="12484" y="1380"/>
                        </a:lnTo>
                        <a:lnTo>
                          <a:pt x="12484" y="1656"/>
                        </a:lnTo>
                        <a:close/>
                        <a:moveTo>
                          <a:pt x="13221" y="1656"/>
                        </a:moveTo>
                        <a:lnTo>
                          <a:pt x="12759" y="1656"/>
                        </a:lnTo>
                        <a:lnTo>
                          <a:pt x="12759" y="1380"/>
                        </a:lnTo>
                        <a:lnTo>
                          <a:pt x="13221" y="1380"/>
                        </a:lnTo>
                        <a:lnTo>
                          <a:pt x="13221" y="1656"/>
                        </a:lnTo>
                        <a:close/>
                        <a:moveTo>
                          <a:pt x="13911" y="1656"/>
                        </a:moveTo>
                        <a:lnTo>
                          <a:pt x="13451" y="1656"/>
                        </a:lnTo>
                        <a:lnTo>
                          <a:pt x="13451" y="1380"/>
                        </a:lnTo>
                        <a:lnTo>
                          <a:pt x="13911" y="1380"/>
                        </a:lnTo>
                        <a:lnTo>
                          <a:pt x="13911" y="1656"/>
                        </a:lnTo>
                        <a:close/>
                        <a:moveTo>
                          <a:pt x="14648" y="1656"/>
                        </a:moveTo>
                        <a:lnTo>
                          <a:pt x="14142" y="1656"/>
                        </a:lnTo>
                        <a:lnTo>
                          <a:pt x="14142" y="1380"/>
                        </a:lnTo>
                        <a:lnTo>
                          <a:pt x="14648" y="1380"/>
                        </a:lnTo>
                        <a:lnTo>
                          <a:pt x="14648" y="1656"/>
                        </a:lnTo>
                        <a:close/>
                        <a:moveTo>
                          <a:pt x="15339" y="1656"/>
                        </a:moveTo>
                        <a:lnTo>
                          <a:pt x="14879" y="1656"/>
                        </a:lnTo>
                        <a:lnTo>
                          <a:pt x="14879" y="1380"/>
                        </a:lnTo>
                        <a:lnTo>
                          <a:pt x="15339" y="1380"/>
                        </a:lnTo>
                        <a:lnTo>
                          <a:pt x="15339" y="165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74" name="Freeform 9"/>
                  <p:cNvSpPr>
                    <a:spLocks noEditPoints="1"/>
                  </p:cNvSpPr>
                  <p:nvPr/>
                </p:nvSpPr>
                <p:spPr bwMode="auto">
                  <a:xfrm>
                    <a:off x="222250" y="3065463"/>
                    <a:ext cx="409575" cy="301625"/>
                  </a:xfrm>
                  <a:custGeom>
                    <a:avLst/>
                    <a:gdLst/>
                    <a:ahLst/>
                    <a:cxnLst>
                      <a:cxn ang="0">
                        <a:pos x="2164" y="4278"/>
                      </a:cxn>
                      <a:cxn ang="0">
                        <a:pos x="2027" y="3312"/>
                      </a:cxn>
                      <a:cxn ang="0">
                        <a:pos x="1843" y="3220"/>
                      </a:cxn>
                      <a:cxn ang="0">
                        <a:pos x="1244" y="2852"/>
                      </a:cxn>
                      <a:cxn ang="0">
                        <a:pos x="1106" y="2944"/>
                      </a:cxn>
                      <a:cxn ang="0">
                        <a:pos x="1060" y="2944"/>
                      </a:cxn>
                      <a:cxn ang="0">
                        <a:pos x="1013" y="2805"/>
                      </a:cxn>
                      <a:cxn ang="0">
                        <a:pos x="1106" y="2622"/>
                      </a:cxn>
                      <a:cxn ang="0">
                        <a:pos x="1335" y="2023"/>
                      </a:cxn>
                      <a:cxn ang="0">
                        <a:pos x="1981" y="2254"/>
                      </a:cxn>
                      <a:cxn ang="0">
                        <a:pos x="4099" y="3910"/>
                      </a:cxn>
                      <a:cxn ang="0">
                        <a:pos x="5942" y="1288"/>
                      </a:cxn>
                      <a:cxn ang="0">
                        <a:pos x="5804" y="1058"/>
                      </a:cxn>
                      <a:cxn ang="0">
                        <a:pos x="5344" y="322"/>
                      </a:cxn>
                      <a:cxn ang="0">
                        <a:pos x="5205" y="0"/>
                      </a:cxn>
                      <a:cxn ang="0">
                        <a:pos x="3040" y="0"/>
                      </a:cxn>
                      <a:cxn ang="0">
                        <a:pos x="2856" y="322"/>
                      </a:cxn>
                      <a:cxn ang="0">
                        <a:pos x="875" y="1426"/>
                      </a:cxn>
                      <a:cxn ang="0">
                        <a:pos x="967" y="2023"/>
                      </a:cxn>
                      <a:cxn ang="0">
                        <a:pos x="875" y="2622"/>
                      </a:cxn>
                      <a:cxn ang="0">
                        <a:pos x="829" y="2852"/>
                      </a:cxn>
                      <a:cxn ang="0">
                        <a:pos x="184" y="3220"/>
                      </a:cxn>
                      <a:cxn ang="0">
                        <a:pos x="0" y="3312"/>
                      </a:cxn>
                      <a:cxn ang="0">
                        <a:pos x="0" y="4370"/>
                      </a:cxn>
                      <a:cxn ang="0">
                        <a:pos x="4744" y="322"/>
                      </a:cxn>
                      <a:cxn ang="0">
                        <a:pos x="4744" y="874"/>
                      </a:cxn>
                      <a:cxn ang="0">
                        <a:pos x="4560" y="322"/>
                      </a:cxn>
                      <a:cxn ang="0">
                        <a:pos x="4192" y="322"/>
                      </a:cxn>
                      <a:cxn ang="0">
                        <a:pos x="4007" y="874"/>
                      </a:cxn>
                      <a:cxn ang="0">
                        <a:pos x="3132" y="322"/>
                      </a:cxn>
                      <a:cxn ang="0">
                        <a:pos x="3132" y="874"/>
                      </a:cxn>
                      <a:cxn ang="0">
                        <a:pos x="460" y="3542"/>
                      </a:cxn>
                      <a:cxn ang="0">
                        <a:pos x="230" y="4186"/>
                      </a:cxn>
                      <a:cxn ang="0">
                        <a:pos x="829" y="3542"/>
                      </a:cxn>
                      <a:cxn ang="0">
                        <a:pos x="829" y="4186"/>
                      </a:cxn>
                      <a:cxn ang="0">
                        <a:pos x="921" y="4186"/>
                      </a:cxn>
                      <a:cxn ang="0">
                        <a:pos x="1335" y="3542"/>
                      </a:cxn>
                      <a:cxn ang="0">
                        <a:pos x="1106" y="4186"/>
                      </a:cxn>
                      <a:cxn ang="0">
                        <a:pos x="1704" y="3542"/>
                      </a:cxn>
                      <a:cxn ang="0">
                        <a:pos x="1889" y="3542"/>
                      </a:cxn>
                      <a:cxn ang="0">
                        <a:pos x="1796" y="4186"/>
                      </a:cxn>
                      <a:cxn ang="0">
                        <a:pos x="1796" y="3312"/>
                      </a:cxn>
                      <a:cxn ang="0">
                        <a:pos x="1843" y="3266"/>
                      </a:cxn>
                      <a:cxn ang="0">
                        <a:pos x="1796" y="3312"/>
                      </a:cxn>
                      <a:cxn ang="0">
                        <a:pos x="829" y="2162"/>
                      </a:cxn>
                      <a:cxn ang="0">
                        <a:pos x="1198" y="2162"/>
                      </a:cxn>
                      <a:cxn ang="0">
                        <a:pos x="829" y="2254"/>
                      </a:cxn>
                      <a:cxn ang="0">
                        <a:pos x="1152" y="2484"/>
                      </a:cxn>
                      <a:cxn ang="0">
                        <a:pos x="921" y="2622"/>
                      </a:cxn>
                      <a:cxn ang="0">
                        <a:pos x="1106" y="2622"/>
                      </a:cxn>
                      <a:cxn ang="0">
                        <a:pos x="1060" y="3082"/>
                      </a:cxn>
                      <a:cxn ang="0">
                        <a:pos x="1750" y="3312"/>
                      </a:cxn>
                      <a:cxn ang="0">
                        <a:pos x="921" y="3036"/>
                      </a:cxn>
                      <a:cxn ang="0">
                        <a:pos x="276" y="3312"/>
                      </a:cxn>
                      <a:cxn ang="0">
                        <a:pos x="230" y="3312"/>
                      </a:cxn>
                      <a:cxn ang="0">
                        <a:pos x="184" y="3772"/>
                      </a:cxn>
                    </a:cxnLst>
                    <a:rect l="0" t="0" r="r" b="b"/>
                    <a:pathLst>
                      <a:path w="5942" h="4370">
                        <a:moveTo>
                          <a:pt x="2027" y="4370"/>
                        </a:moveTo>
                        <a:lnTo>
                          <a:pt x="2164" y="4370"/>
                        </a:lnTo>
                        <a:lnTo>
                          <a:pt x="2164" y="4278"/>
                        </a:lnTo>
                        <a:lnTo>
                          <a:pt x="2164" y="3404"/>
                        </a:lnTo>
                        <a:lnTo>
                          <a:pt x="2164" y="3312"/>
                        </a:lnTo>
                        <a:lnTo>
                          <a:pt x="2027" y="3312"/>
                        </a:lnTo>
                        <a:lnTo>
                          <a:pt x="1935" y="3312"/>
                        </a:lnTo>
                        <a:lnTo>
                          <a:pt x="1889" y="3220"/>
                        </a:lnTo>
                        <a:lnTo>
                          <a:pt x="1843" y="3220"/>
                        </a:lnTo>
                        <a:lnTo>
                          <a:pt x="1796" y="3220"/>
                        </a:lnTo>
                        <a:lnTo>
                          <a:pt x="1244" y="2990"/>
                        </a:lnTo>
                        <a:lnTo>
                          <a:pt x="1244" y="2852"/>
                        </a:lnTo>
                        <a:lnTo>
                          <a:pt x="1198" y="2805"/>
                        </a:lnTo>
                        <a:lnTo>
                          <a:pt x="1198" y="2898"/>
                        </a:lnTo>
                        <a:lnTo>
                          <a:pt x="1106" y="2944"/>
                        </a:lnTo>
                        <a:lnTo>
                          <a:pt x="1060" y="2944"/>
                        </a:lnTo>
                        <a:lnTo>
                          <a:pt x="1060" y="2898"/>
                        </a:lnTo>
                        <a:lnTo>
                          <a:pt x="1060" y="2944"/>
                        </a:lnTo>
                        <a:lnTo>
                          <a:pt x="1013" y="2944"/>
                        </a:lnTo>
                        <a:lnTo>
                          <a:pt x="967" y="2852"/>
                        </a:lnTo>
                        <a:lnTo>
                          <a:pt x="1013" y="2805"/>
                        </a:lnTo>
                        <a:lnTo>
                          <a:pt x="1013" y="2760"/>
                        </a:lnTo>
                        <a:lnTo>
                          <a:pt x="1106" y="2714"/>
                        </a:lnTo>
                        <a:lnTo>
                          <a:pt x="1106" y="2622"/>
                        </a:lnTo>
                        <a:lnTo>
                          <a:pt x="1198" y="2622"/>
                        </a:lnTo>
                        <a:lnTo>
                          <a:pt x="1335" y="2254"/>
                        </a:lnTo>
                        <a:lnTo>
                          <a:pt x="1335" y="2023"/>
                        </a:lnTo>
                        <a:lnTo>
                          <a:pt x="1152" y="2023"/>
                        </a:lnTo>
                        <a:lnTo>
                          <a:pt x="1152" y="1794"/>
                        </a:lnTo>
                        <a:lnTo>
                          <a:pt x="1981" y="2254"/>
                        </a:lnTo>
                        <a:lnTo>
                          <a:pt x="2856" y="3910"/>
                        </a:lnTo>
                        <a:lnTo>
                          <a:pt x="3547" y="3910"/>
                        </a:lnTo>
                        <a:lnTo>
                          <a:pt x="4099" y="3910"/>
                        </a:lnTo>
                        <a:lnTo>
                          <a:pt x="5344" y="3910"/>
                        </a:lnTo>
                        <a:lnTo>
                          <a:pt x="5942" y="3910"/>
                        </a:lnTo>
                        <a:lnTo>
                          <a:pt x="5942" y="1288"/>
                        </a:lnTo>
                        <a:lnTo>
                          <a:pt x="5896" y="1195"/>
                        </a:lnTo>
                        <a:lnTo>
                          <a:pt x="5850" y="1104"/>
                        </a:lnTo>
                        <a:lnTo>
                          <a:pt x="5804" y="1058"/>
                        </a:lnTo>
                        <a:lnTo>
                          <a:pt x="5712" y="1058"/>
                        </a:lnTo>
                        <a:lnTo>
                          <a:pt x="5344" y="1058"/>
                        </a:lnTo>
                        <a:lnTo>
                          <a:pt x="5344" y="322"/>
                        </a:lnTo>
                        <a:lnTo>
                          <a:pt x="5344" y="184"/>
                        </a:lnTo>
                        <a:lnTo>
                          <a:pt x="5252" y="92"/>
                        </a:lnTo>
                        <a:lnTo>
                          <a:pt x="5205" y="0"/>
                        </a:lnTo>
                        <a:lnTo>
                          <a:pt x="5067" y="0"/>
                        </a:lnTo>
                        <a:lnTo>
                          <a:pt x="3132" y="0"/>
                        </a:lnTo>
                        <a:lnTo>
                          <a:pt x="3040" y="0"/>
                        </a:lnTo>
                        <a:lnTo>
                          <a:pt x="2947" y="92"/>
                        </a:lnTo>
                        <a:lnTo>
                          <a:pt x="2902" y="184"/>
                        </a:lnTo>
                        <a:lnTo>
                          <a:pt x="2856" y="322"/>
                        </a:lnTo>
                        <a:lnTo>
                          <a:pt x="2856" y="2898"/>
                        </a:lnTo>
                        <a:lnTo>
                          <a:pt x="2211" y="1886"/>
                        </a:lnTo>
                        <a:lnTo>
                          <a:pt x="875" y="1426"/>
                        </a:lnTo>
                        <a:lnTo>
                          <a:pt x="783" y="1656"/>
                        </a:lnTo>
                        <a:lnTo>
                          <a:pt x="967" y="1702"/>
                        </a:lnTo>
                        <a:lnTo>
                          <a:pt x="967" y="2023"/>
                        </a:lnTo>
                        <a:lnTo>
                          <a:pt x="783" y="2023"/>
                        </a:lnTo>
                        <a:lnTo>
                          <a:pt x="783" y="2254"/>
                        </a:lnTo>
                        <a:lnTo>
                          <a:pt x="875" y="2622"/>
                        </a:lnTo>
                        <a:lnTo>
                          <a:pt x="967" y="2622"/>
                        </a:lnTo>
                        <a:lnTo>
                          <a:pt x="921" y="2714"/>
                        </a:lnTo>
                        <a:lnTo>
                          <a:pt x="829" y="2852"/>
                        </a:lnTo>
                        <a:lnTo>
                          <a:pt x="875" y="2990"/>
                        </a:lnTo>
                        <a:lnTo>
                          <a:pt x="276" y="3220"/>
                        </a:lnTo>
                        <a:lnTo>
                          <a:pt x="184" y="3220"/>
                        </a:lnTo>
                        <a:lnTo>
                          <a:pt x="184" y="3312"/>
                        </a:lnTo>
                        <a:lnTo>
                          <a:pt x="92" y="3312"/>
                        </a:lnTo>
                        <a:lnTo>
                          <a:pt x="0" y="3312"/>
                        </a:lnTo>
                        <a:lnTo>
                          <a:pt x="0" y="3404"/>
                        </a:lnTo>
                        <a:lnTo>
                          <a:pt x="0" y="4278"/>
                        </a:lnTo>
                        <a:lnTo>
                          <a:pt x="0" y="4370"/>
                        </a:lnTo>
                        <a:lnTo>
                          <a:pt x="92" y="4370"/>
                        </a:lnTo>
                        <a:lnTo>
                          <a:pt x="2027" y="4370"/>
                        </a:lnTo>
                        <a:close/>
                        <a:moveTo>
                          <a:pt x="4744" y="322"/>
                        </a:moveTo>
                        <a:lnTo>
                          <a:pt x="5113" y="322"/>
                        </a:lnTo>
                        <a:lnTo>
                          <a:pt x="5113" y="874"/>
                        </a:lnTo>
                        <a:lnTo>
                          <a:pt x="4744" y="874"/>
                        </a:lnTo>
                        <a:lnTo>
                          <a:pt x="4744" y="322"/>
                        </a:lnTo>
                        <a:close/>
                        <a:moveTo>
                          <a:pt x="4192" y="322"/>
                        </a:moveTo>
                        <a:lnTo>
                          <a:pt x="4560" y="322"/>
                        </a:lnTo>
                        <a:lnTo>
                          <a:pt x="4560" y="874"/>
                        </a:lnTo>
                        <a:lnTo>
                          <a:pt x="4192" y="874"/>
                        </a:lnTo>
                        <a:lnTo>
                          <a:pt x="4192" y="322"/>
                        </a:lnTo>
                        <a:close/>
                        <a:moveTo>
                          <a:pt x="3685" y="322"/>
                        </a:moveTo>
                        <a:lnTo>
                          <a:pt x="4007" y="322"/>
                        </a:lnTo>
                        <a:lnTo>
                          <a:pt x="4007" y="874"/>
                        </a:lnTo>
                        <a:lnTo>
                          <a:pt x="3685" y="874"/>
                        </a:lnTo>
                        <a:lnTo>
                          <a:pt x="3685" y="322"/>
                        </a:lnTo>
                        <a:close/>
                        <a:moveTo>
                          <a:pt x="3132" y="322"/>
                        </a:moveTo>
                        <a:lnTo>
                          <a:pt x="3501" y="322"/>
                        </a:lnTo>
                        <a:lnTo>
                          <a:pt x="3501" y="874"/>
                        </a:lnTo>
                        <a:lnTo>
                          <a:pt x="3132" y="874"/>
                        </a:lnTo>
                        <a:lnTo>
                          <a:pt x="3132" y="322"/>
                        </a:lnTo>
                        <a:close/>
                        <a:moveTo>
                          <a:pt x="230" y="4186"/>
                        </a:moveTo>
                        <a:lnTo>
                          <a:pt x="460" y="3542"/>
                        </a:lnTo>
                        <a:lnTo>
                          <a:pt x="552" y="3542"/>
                        </a:lnTo>
                        <a:lnTo>
                          <a:pt x="323" y="4186"/>
                        </a:lnTo>
                        <a:lnTo>
                          <a:pt x="230" y="4186"/>
                        </a:lnTo>
                        <a:close/>
                        <a:moveTo>
                          <a:pt x="552" y="4186"/>
                        </a:moveTo>
                        <a:lnTo>
                          <a:pt x="737" y="3542"/>
                        </a:lnTo>
                        <a:lnTo>
                          <a:pt x="829" y="3542"/>
                        </a:lnTo>
                        <a:lnTo>
                          <a:pt x="644" y="4186"/>
                        </a:lnTo>
                        <a:lnTo>
                          <a:pt x="552" y="4186"/>
                        </a:lnTo>
                        <a:close/>
                        <a:moveTo>
                          <a:pt x="829" y="4186"/>
                        </a:moveTo>
                        <a:lnTo>
                          <a:pt x="1013" y="3542"/>
                        </a:lnTo>
                        <a:lnTo>
                          <a:pt x="1152" y="3542"/>
                        </a:lnTo>
                        <a:lnTo>
                          <a:pt x="921" y="4186"/>
                        </a:lnTo>
                        <a:lnTo>
                          <a:pt x="829" y="4186"/>
                        </a:lnTo>
                        <a:close/>
                        <a:moveTo>
                          <a:pt x="1106" y="4186"/>
                        </a:moveTo>
                        <a:lnTo>
                          <a:pt x="1335" y="3542"/>
                        </a:lnTo>
                        <a:lnTo>
                          <a:pt x="1427" y="3542"/>
                        </a:lnTo>
                        <a:lnTo>
                          <a:pt x="1198" y="4186"/>
                        </a:lnTo>
                        <a:lnTo>
                          <a:pt x="1106" y="4186"/>
                        </a:lnTo>
                        <a:close/>
                        <a:moveTo>
                          <a:pt x="1381" y="4186"/>
                        </a:moveTo>
                        <a:lnTo>
                          <a:pt x="1612" y="3542"/>
                        </a:lnTo>
                        <a:lnTo>
                          <a:pt x="1704" y="3542"/>
                        </a:lnTo>
                        <a:lnTo>
                          <a:pt x="1520" y="4186"/>
                        </a:lnTo>
                        <a:lnTo>
                          <a:pt x="1381" y="4186"/>
                        </a:lnTo>
                        <a:close/>
                        <a:moveTo>
                          <a:pt x="1889" y="3542"/>
                        </a:moveTo>
                        <a:lnTo>
                          <a:pt x="1935" y="3542"/>
                        </a:lnTo>
                        <a:lnTo>
                          <a:pt x="1935" y="3680"/>
                        </a:lnTo>
                        <a:lnTo>
                          <a:pt x="1796" y="4186"/>
                        </a:lnTo>
                        <a:lnTo>
                          <a:pt x="1704" y="4186"/>
                        </a:lnTo>
                        <a:lnTo>
                          <a:pt x="1889" y="3542"/>
                        </a:lnTo>
                        <a:close/>
                        <a:moveTo>
                          <a:pt x="1796" y="3312"/>
                        </a:moveTo>
                        <a:lnTo>
                          <a:pt x="1796" y="3266"/>
                        </a:lnTo>
                        <a:lnTo>
                          <a:pt x="1843" y="3312"/>
                        </a:lnTo>
                        <a:lnTo>
                          <a:pt x="1843" y="3266"/>
                        </a:lnTo>
                        <a:lnTo>
                          <a:pt x="1889" y="3266"/>
                        </a:lnTo>
                        <a:lnTo>
                          <a:pt x="1889" y="3312"/>
                        </a:lnTo>
                        <a:lnTo>
                          <a:pt x="1796" y="3312"/>
                        </a:lnTo>
                        <a:close/>
                        <a:moveTo>
                          <a:pt x="829" y="2070"/>
                        </a:moveTo>
                        <a:lnTo>
                          <a:pt x="1198" y="2070"/>
                        </a:lnTo>
                        <a:lnTo>
                          <a:pt x="829" y="2162"/>
                        </a:lnTo>
                        <a:lnTo>
                          <a:pt x="829" y="2070"/>
                        </a:lnTo>
                        <a:close/>
                        <a:moveTo>
                          <a:pt x="829" y="2254"/>
                        </a:moveTo>
                        <a:lnTo>
                          <a:pt x="1198" y="2162"/>
                        </a:lnTo>
                        <a:lnTo>
                          <a:pt x="1198" y="2254"/>
                        </a:lnTo>
                        <a:lnTo>
                          <a:pt x="829" y="2346"/>
                        </a:lnTo>
                        <a:lnTo>
                          <a:pt x="829" y="2254"/>
                        </a:lnTo>
                        <a:close/>
                        <a:moveTo>
                          <a:pt x="875" y="2438"/>
                        </a:moveTo>
                        <a:lnTo>
                          <a:pt x="1198" y="2346"/>
                        </a:lnTo>
                        <a:lnTo>
                          <a:pt x="1152" y="2484"/>
                        </a:lnTo>
                        <a:lnTo>
                          <a:pt x="875" y="2530"/>
                        </a:lnTo>
                        <a:lnTo>
                          <a:pt x="875" y="2438"/>
                        </a:lnTo>
                        <a:close/>
                        <a:moveTo>
                          <a:pt x="921" y="2622"/>
                        </a:moveTo>
                        <a:lnTo>
                          <a:pt x="921" y="2576"/>
                        </a:lnTo>
                        <a:lnTo>
                          <a:pt x="1152" y="2530"/>
                        </a:lnTo>
                        <a:lnTo>
                          <a:pt x="1106" y="2622"/>
                        </a:lnTo>
                        <a:lnTo>
                          <a:pt x="921" y="2622"/>
                        </a:lnTo>
                        <a:close/>
                        <a:moveTo>
                          <a:pt x="921" y="3036"/>
                        </a:moveTo>
                        <a:lnTo>
                          <a:pt x="1060" y="3082"/>
                        </a:lnTo>
                        <a:lnTo>
                          <a:pt x="1198" y="3036"/>
                        </a:lnTo>
                        <a:lnTo>
                          <a:pt x="1750" y="3266"/>
                        </a:lnTo>
                        <a:lnTo>
                          <a:pt x="1750" y="3312"/>
                        </a:lnTo>
                        <a:lnTo>
                          <a:pt x="369" y="3312"/>
                        </a:lnTo>
                        <a:lnTo>
                          <a:pt x="369" y="3266"/>
                        </a:lnTo>
                        <a:lnTo>
                          <a:pt x="921" y="3036"/>
                        </a:lnTo>
                        <a:close/>
                        <a:moveTo>
                          <a:pt x="230" y="3312"/>
                        </a:moveTo>
                        <a:lnTo>
                          <a:pt x="230" y="3266"/>
                        </a:lnTo>
                        <a:lnTo>
                          <a:pt x="276" y="3312"/>
                        </a:lnTo>
                        <a:lnTo>
                          <a:pt x="323" y="3266"/>
                        </a:lnTo>
                        <a:lnTo>
                          <a:pt x="323" y="3312"/>
                        </a:lnTo>
                        <a:lnTo>
                          <a:pt x="230" y="3312"/>
                        </a:lnTo>
                        <a:close/>
                        <a:moveTo>
                          <a:pt x="184" y="3542"/>
                        </a:moveTo>
                        <a:lnTo>
                          <a:pt x="276" y="3542"/>
                        </a:lnTo>
                        <a:lnTo>
                          <a:pt x="184" y="3772"/>
                        </a:lnTo>
                        <a:lnTo>
                          <a:pt x="184" y="354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75" name="Freeform 10"/>
                  <p:cNvSpPr>
                    <a:spLocks noEditPoints="1"/>
                  </p:cNvSpPr>
                  <p:nvPr/>
                </p:nvSpPr>
                <p:spPr bwMode="auto">
                  <a:xfrm>
                    <a:off x="23813" y="3335338"/>
                    <a:ext cx="82550" cy="57150"/>
                  </a:xfrm>
                  <a:custGeom>
                    <a:avLst/>
                    <a:gdLst/>
                    <a:ahLst/>
                    <a:cxnLst>
                      <a:cxn ang="0">
                        <a:pos x="91" y="230"/>
                      </a:cxn>
                      <a:cxn ang="0">
                        <a:pos x="91" y="368"/>
                      </a:cxn>
                      <a:cxn ang="0">
                        <a:pos x="91" y="690"/>
                      </a:cxn>
                      <a:cxn ang="0">
                        <a:pos x="138" y="828"/>
                      </a:cxn>
                      <a:cxn ang="0">
                        <a:pos x="276" y="782"/>
                      </a:cxn>
                      <a:cxn ang="0">
                        <a:pos x="921" y="690"/>
                      </a:cxn>
                      <a:cxn ang="0">
                        <a:pos x="967" y="828"/>
                      </a:cxn>
                      <a:cxn ang="0">
                        <a:pos x="1105" y="782"/>
                      </a:cxn>
                      <a:cxn ang="0">
                        <a:pos x="1151" y="552"/>
                      </a:cxn>
                      <a:cxn ang="0">
                        <a:pos x="1059" y="276"/>
                      </a:cxn>
                      <a:cxn ang="0">
                        <a:pos x="1197" y="230"/>
                      </a:cxn>
                      <a:cxn ang="0">
                        <a:pos x="1197" y="138"/>
                      </a:cxn>
                      <a:cxn ang="0">
                        <a:pos x="1059" y="184"/>
                      </a:cxn>
                      <a:cxn ang="0">
                        <a:pos x="967" y="46"/>
                      </a:cxn>
                      <a:cxn ang="0">
                        <a:pos x="875" y="0"/>
                      </a:cxn>
                      <a:cxn ang="0">
                        <a:pos x="553" y="0"/>
                      </a:cxn>
                      <a:cxn ang="0">
                        <a:pos x="230" y="0"/>
                      </a:cxn>
                      <a:cxn ang="0">
                        <a:pos x="184" y="230"/>
                      </a:cxn>
                      <a:cxn ang="0">
                        <a:pos x="138" y="138"/>
                      </a:cxn>
                      <a:cxn ang="0">
                        <a:pos x="0" y="184"/>
                      </a:cxn>
                      <a:cxn ang="0">
                        <a:pos x="829" y="506"/>
                      </a:cxn>
                      <a:cxn ang="0">
                        <a:pos x="414" y="552"/>
                      </a:cxn>
                      <a:cxn ang="0">
                        <a:pos x="368" y="460"/>
                      </a:cxn>
                      <a:cxn ang="0">
                        <a:pos x="783" y="414"/>
                      </a:cxn>
                      <a:cxn ang="0">
                        <a:pos x="829" y="506"/>
                      </a:cxn>
                      <a:cxn ang="0">
                        <a:pos x="1059" y="552"/>
                      </a:cxn>
                      <a:cxn ang="0">
                        <a:pos x="921" y="552"/>
                      </a:cxn>
                      <a:cxn ang="0">
                        <a:pos x="921" y="414"/>
                      </a:cxn>
                      <a:cxn ang="0">
                        <a:pos x="1059" y="414"/>
                      </a:cxn>
                      <a:cxn ang="0">
                        <a:pos x="230" y="184"/>
                      </a:cxn>
                      <a:cxn ang="0">
                        <a:pos x="322" y="46"/>
                      </a:cxn>
                      <a:cxn ang="0">
                        <a:pos x="599" y="46"/>
                      </a:cxn>
                      <a:cxn ang="0">
                        <a:pos x="875" y="46"/>
                      </a:cxn>
                      <a:cxn ang="0">
                        <a:pos x="967" y="230"/>
                      </a:cxn>
                      <a:cxn ang="0">
                        <a:pos x="230" y="230"/>
                      </a:cxn>
                      <a:cxn ang="0">
                        <a:pos x="184" y="414"/>
                      </a:cxn>
                      <a:cxn ang="0">
                        <a:pos x="276" y="506"/>
                      </a:cxn>
                      <a:cxn ang="0">
                        <a:pos x="184" y="598"/>
                      </a:cxn>
                      <a:cxn ang="0">
                        <a:pos x="91" y="506"/>
                      </a:cxn>
                      <a:cxn ang="0">
                        <a:pos x="184" y="414"/>
                      </a:cxn>
                    </a:cxnLst>
                    <a:rect l="0" t="0" r="r" b="b"/>
                    <a:pathLst>
                      <a:path w="1197" h="828">
                        <a:moveTo>
                          <a:pt x="0" y="230"/>
                        </a:moveTo>
                        <a:lnTo>
                          <a:pt x="91" y="230"/>
                        </a:lnTo>
                        <a:lnTo>
                          <a:pt x="138" y="276"/>
                        </a:lnTo>
                        <a:lnTo>
                          <a:pt x="91" y="368"/>
                        </a:lnTo>
                        <a:lnTo>
                          <a:pt x="45" y="552"/>
                        </a:lnTo>
                        <a:lnTo>
                          <a:pt x="91" y="690"/>
                        </a:lnTo>
                        <a:lnTo>
                          <a:pt x="91" y="782"/>
                        </a:lnTo>
                        <a:lnTo>
                          <a:pt x="138" y="828"/>
                        </a:lnTo>
                        <a:lnTo>
                          <a:pt x="230" y="828"/>
                        </a:lnTo>
                        <a:lnTo>
                          <a:pt x="276" y="782"/>
                        </a:lnTo>
                        <a:lnTo>
                          <a:pt x="276" y="690"/>
                        </a:lnTo>
                        <a:lnTo>
                          <a:pt x="921" y="690"/>
                        </a:lnTo>
                        <a:lnTo>
                          <a:pt x="921" y="782"/>
                        </a:lnTo>
                        <a:lnTo>
                          <a:pt x="967" y="828"/>
                        </a:lnTo>
                        <a:lnTo>
                          <a:pt x="1059" y="828"/>
                        </a:lnTo>
                        <a:lnTo>
                          <a:pt x="1105" y="782"/>
                        </a:lnTo>
                        <a:lnTo>
                          <a:pt x="1105" y="690"/>
                        </a:lnTo>
                        <a:lnTo>
                          <a:pt x="1151" y="552"/>
                        </a:lnTo>
                        <a:lnTo>
                          <a:pt x="1105" y="368"/>
                        </a:lnTo>
                        <a:lnTo>
                          <a:pt x="1059" y="276"/>
                        </a:lnTo>
                        <a:lnTo>
                          <a:pt x="1105" y="230"/>
                        </a:lnTo>
                        <a:lnTo>
                          <a:pt x="1197" y="230"/>
                        </a:lnTo>
                        <a:lnTo>
                          <a:pt x="1197" y="184"/>
                        </a:lnTo>
                        <a:lnTo>
                          <a:pt x="1197" y="138"/>
                        </a:lnTo>
                        <a:lnTo>
                          <a:pt x="1059" y="138"/>
                        </a:lnTo>
                        <a:lnTo>
                          <a:pt x="1059" y="184"/>
                        </a:lnTo>
                        <a:lnTo>
                          <a:pt x="1013" y="230"/>
                        </a:lnTo>
                        <a:lnTo>
                          <a:pt x="967" y="46"/>
                        </a:lnTo>
                        <a:lnTo>
                          <a:pt x="967" y="0"/>
                        </a:lnTo>
                        <a:lnTo>
                          <a:pt x="875" y="0"/>
                        </a:lnTo>
                        <a:lnTo>
                          <a:pt x="645" y="0"/>
                        </a:lnTo>
                        <a:lnTo>
                          <a:pt x="553" y="0"/>
                        </a:lnTo>
                        <a:lnTo>
                          <a:pt x="322" y="0"/>
                        </a:lnTo>
                        <a:lnTo>
                          <a:pt x="230" y="0"/>
                        </a:lnTo>
                        <a:lnTo>
                          <a:pt x="230" y="46"/>
                        </a:lnTo>
                        <a:lnTo>
                          <a:pt x="184" y="230"/>
                        </a:lnTo>
                        <a:lnTo>
                          <a:pt x="138" y="184"/>
                        </a:lnTo>
                        <a:lnTo>
                          <a:pt x="138" y="138"/>
                        </a:lnTo>
                        <a:lnTo>
                          <a:pt x="0" y="138"/>
                        </a:lnTo>
                        <a:lnTo>
                          <a:pt x="0" y="184"/>
                        </a:lnTo>
                        <a:lnTo>
                          <a:pt x="0" y="230"/>
                        </a:lnTo>
                        <a:close/>
                        <a:moveTo>
                          <a:pt x="829" y="506"/>
                        </a:moveTo>
                        <a:lnTo>
                          <a:pt x="783" y="552"/>
                        </a:lnTo>
                        <a:lnTo>
                          <a:pt x="414" y="552"/>
                        </a:lnTo>
                        <a:lnTo>
                          <a:pt x="368" y="506"/>
                        </a:lnTo>
                        <a:lnTo>
                          <a:pt x="368" y="460"/>
                        </a:lnTo>
                        <a:lnTo>
                          <a:pt x="414" y="414"/>
                        </a:lnTo>
                        <a:lnTo>
                          <a:pt x="783" y="414"/>
                        </a:lnTo>
                        <a:lnTo>
                          <a:pt x="829" y="460"/>
                        </a:lnTo>
                        <a:lnTo>
                          <a:pt x="829" y="506"/>
                        </a:lnTo>
                        <a:close/>
                        <a:moveTo>
                          <a:pt x="1059" y="506"/>
                        </a:moveTo>
                        <a:lnTo>
                          <a:pt x="1059" y="552"/>
                        </a:lnTo>
                        <a:lnTo>
                          <a:pt x="967" y="598"/>
                        </a:lnTo>
                        <a:lnTo>
                          <a:pt x="921" y="552"/>
                        </a:lnTo>
                        <a:lnTo>
                          <a:pt x="875" y="506"/>
                        </a:lnTo>
                        <a:lnTo>
                          <a:pt x="921" y="414"/>
                        </a:lnTo>
                        <a:lnTo>
                          <a:pt x="967" y="414"/>
                        </a:lnTo>
                        <a:lnTo>
                          <a:pt x="1059" y="414"/>
                        </a:lnTo>
                        <a:lnTo>
                          <a:pt x="1059" y="506"/>
                        </a:lnTo>
                        <a:close/>
                        <a:moveTo>
                          <a:pt x="230" y="184"/>
                        </a:moveTo>
                        <a:lnTo>
                          <a:pt x="276" y="46"/>
                        </a:lnTo>
                        <a:lnTo>
                          <a:pt x="322" y="46"/>
                        </a:lnTo>
                        <a:lnTo>
                          <a:pt x="553" y="46"/>
                        </a:lnTo>
                        <a:lnTo>
                          <a:pt x="599" y="46"/>
                        </a:lnTo>
                        <a:lnTo>
                          <a:pt x="645" y="46"/>
                        </a:lnTo>
                        <a:lnTo>
                          <a:pt x="875" y="46"/>
                        </a:lnTo>
                        <a:lnTo>
                          <a:pt x="921" y="46"/>
                        </a:lnTo>
                        <a:lnTo>
                          <a:pt x="967" y="230"/>
                        </a:lnTo>
                        <a:lnTo>
                          <a:pt x="276" y="230"/>
                        </a:lnTo>
                        <a:lnTo>
                          <a:pt x="230" y="230"/>
                        </a:lnTo>
                        <a:lnTo>
                          <a:pt x="230" y="184"/>
                        </a:lnTo>
                        <a:close/>
                        <a:moveTo>
                          <a:pt x="184" y="414"/>
                        </a:moveTo>
                        <a:lnTo>
                          <a:pt x="276" y="414"/>
                        </a:lnTo>
                        <a:lnTo>
                          <a:pt x="276" y="506"/>
                        </a:lnTo>
                        <a:lnTo>
                          <a:pt x="276" y="552"/>
                        </a:lnTo>
                        <a:lnTo>
                          <a:pt x="184" y="598"/>
                        </a:lnTo>
                        <a:lnTo>
                          <a:pt x="138" y="552"/>
                        </a:lnTo>
                        <a:lnTo>
                          <a:pt x="91" y="506"/>
                        </a:lnTo>
                        <a:lnTo>
                          <a:pt x="138" y="414"/>
                        </a:lnTo>
                        <a:lnTo>
                          <a:pt x="184" y="41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76" name="Freeform 11"/>
                  <p:cNvSpPr>
                    <a:spLocks noEditPoints="1"/>
                  </p:cNvSpPr>
                  <p:nvPr/>
                </p:nvSpPr>
                <p:spPr bwMode="auto">
                  <a:xfrm>
                    <a:off x="117475" y="3335338"/>
                    <a:ext cx="85725" cy="57150"/>
                  </a:xfrm>
                  <a:custGeom>
                    <a:avLst/>
                    <a:gdLst/>
                    <a:ahLst/>
                    <a:cxnLst>
                      <a:cxn ang="0">
                        <a:pos x="138" y="230"/>
                      </a:cxn>
                      <a:cxn ang="0">
                        <a:pos x="92" y="368"/>
                      </a:cxn>
                      <a:cxn ang="0">
                        <a:pos x="92" y="690"/>
                      </a:cxn>
                      <a:cxn ang="0">
                        <a:pos x="138" y="782"/>
                      </a:cxn>
                      <a:cxn ang="0">
                        <a:pos x="276" y="828"/>
                      </a:cxn>
                      <a:cxn ang="0">
                        <a:pos x="323" y="690"/>
                      </a:cxn>
                      <a:cxn ang="0">
                        <a:pos x="921" y="782"/>
                      </a:cxn>
                      <a:cxn ang="0">
                        <a:pos x="1060" y="828"/>
                      </a:cxn>
                      <a:cxn ang="0">
                        <a:pos x="1106" y="690"/>
                      </a:cxn>
                      <a:cxn ang="0">
                        <a:pos x="1152" y="552"/>
                      </a:cxn>
                      <a:cxn ang="0">
                        <a:pos x="1060" y="276"/>
                      </a:cxn>
                      <a:cxn ang="0">
                        <a:pos x="1197" y="230"/>
                      </a:cxn>
                      <a:cxn ang="0">
                        <a:pos x="1243" y="138"/>
                      </a:cxn>
                      <a:cxn ang="0">
                        <a:pos x="1106" y="138"/>
                      </a:cxn>
                      <a:cxn ang="0">
                        <a:pos x="1060" y="184"/>
                      </a:cxn>
                      <a:cxn ang="0">
                        <a:pos x="1013" y="46"/>
                      </a:cxn>
                      <a:cxn ang="0">
                        <a:pos x="921" y="0"/>
                      </a:cxn>
                      <a:cxn ang="0">
                        <a:pos x="552" y="0"/>
                      </a:cxn>
                      <a:cxn ang="0">
                        <a:pos x="276" y="0"/>
                      </a:cxn>
                      <a:cxn ang="0">
                        <a:pos x="184" y="230"/>
                      </a:cxn>
                      <a:cxn ang="0">
                        <a:pos x="184" y="138"/>
                      </a:cxn>
                      <a:cxn ang="0">
                        <a:pos x="46" y="138"/>
                      </a:cxn>
                      <a:cxn ang="0">
                        <a:pos x="0" y="184"/>
                      </a:cxn>
                      <a:cxn ang="0">
                        <a:pos x="829" y="506"/>
                      </a:cxn>
                      <a:cxn ang="0">
                        <a:pos x="414" y="552"/>
                      </a:cxn>
                      <a:cxn ang="0">
                        <a:pos x="368" y="460"/>
                      </a:cxn>
                      <a:cxn ang="0">
                        <a:pos x="829" y="414"/>
                      </a:cxn>
                      <a:cxn ang="0">
                        <a:pos x="829" y="506"/>
                      </a:cxn>
                      <a:cxn ang="0">
                        <a:pos x="1060" y="552"/>
                      </a:cxn>
                      <a:cxn ang="0">
                        <a:pos x="921" y="552"/>
                      </a:cxn>
                      <a:cxn ang="0">
                        <a:pos x="921" y="414"/>
                      </a:cxn>
                      <a:cxn ang="0">
                        <a:pos x="1060" y="414"/>
                      </a:cxn>
                      <a:cxn ang="0">
                        <a:pos x="230" y="184"/>
                      </a:cxn>
                      <a:cxn ang="0">
                        <a:pos x="323" y="46"/>
                      </a:cxn>
                      <a:cxn ang="0">
                        <a:pos x="644" y="46"/>
                      </a:cxn>
                      <a:cxn ang="0">
                        <a:pos x="921" y="46"/>
                      </a:cxn>
                      <a:cxn ang="0">
                        <a:pos x="1013" y="230"/>
                      </a:cxn>
                      <a:cxn ang="0">
                        <a:pos x="230" y="230"/>
                      </a:cxn>
                      <a:cxn ang="0">
                        <a:pos x="230" y="414"/>
                      </a:cxn>
                      <a:cxn ang="0">
                        <a:pos x="323" y="506"/>
                      </a:cxn>
                      <a:cxn ang="0">
                        <a:pos x="230" y="598"/>
                      </a:cxn>
                      <a:cxn ang="0">
                        <a:pos x="138" y="506"/>
                      </a:cxn>
                      <a:cxn ang="0">
                        <a:pos x="230" y="414"/>
                      </a:cxn>
                    </a:cxnLst>
                    <a:rect l="0" t="0" r="r" b="b"/>
                    <a:pathLst>
                      <a:path w="1243" h="828">
                        <a:moveTo>
                          <a:pt x="46" y="230"/>
                        </a:moveTo>
                        <a:lnTo>
                          <a:pt x="138" y="230"/>
                        </a:lnTo>
                        <a:lnTo>
                          <a:pt x="184" y="276"/>
                        </a:lnTo>
                        <a:lnTo>
                          <a:pt x="92" y="368"/>
                        </a:lnTo>
                        <a:lnTo>
                          <a:pt x="92" y="552"/>
                        </a:lnTo>
                        <a:lnTo>
                          <a:pt x="92" y="690"/>
                        </a:lnTo>
                        <a:lnTo>
                          <a:pt x="138" y="690"/>
                        </a:lnTo>
                        <a:lnTo>
                          <a:pt x="138" y="782"/>
                        </a:lnTo>
                        <a:lnTo>
                          <a:pt x="184" y="828"/>
                        </a:lnTo>
                        <a:lnTo>
                          <a:pt x="276" y="828"/>
                        </a:lnTo>
                        <a:lnTo>
                          <a:pt x="323" y="782"/>
                        </a:lnTo>
                        <a:lnTo>
                          <a:pt x="323" y="690"/>
                        </a:lnTo>
                        <a:lnTo>
                          <a:pt x="921" y="690"/>
                        </a:lnTo>
                        <a:lnTo>
                          <a:pt x="921" y="782"/>
                        </a:lnTo>
                        <a:lnTo>
                          <a:pt x="967" y="828"/>
                        </a:lnTo>
                        <a:lnTo>
                          <a:pt x="1060" y="828"/>
                        </a:lnTo>
                        <a:lnTo>
                          <a:pt x="1106" y="782"/>
                        </a:lnTo>
                        <a:lnTo>
                          <a:pt x="1106" y="690"/>
                        </a:lnTo>
                        <a:lnTo>
                          <a:pt x="1152" y="690"/>
                        </a:lnTo>
                        <a:lnTo>
                          <a:pt x="1152" y="552"/>
                        </a:lnTo>
                        <a:lnTo>
                          <a:pt x="1152" y="368"/>
                        </a:lnTo>
                        <a:lnTo>
                          <a:pt x="1060" y="276"/>
                        </a:lnTo>
                        <a:lnTo>
                          <a:pt x="1106" y="230"/>
                        </a:lnTo>
                        <a:lnTo>
                          <a:pt x="1197" y="230"/>
                        </a:lnTo>
                        <a:lnTo>
                          <a:pt x="1243" y="184"/>
                        </a:lnTo>
                        <a:lnTo>
                          <a:pt x="1243" y="138"/>
                        </a:lnTo>
                        <a:lnTo>
                          <a:pt x="1197" y="138"/>
                        </a:lnTo>
                        <a:lnTo>
                          <a:pt x="1106" y="138"/>
                        </a:lnTo>
                        <a:lnTo>
                          <a:pt x="1060" y="138"/>
                        </a:lnTo>
                        <a:lnTo>
                          <a:pt x="1060" y="184"/>
                        </a:lnTo>
                        <a:lnTo>
                          <a:pt x="1060" y="230"/>
                        </a:lnTo>
                        <a:lnTo>
                          <a:pt x="1013" y="46"/>
                        </a:lnTo>
                        <a:lnTo>
                          <a:pt x="967" y="0"/>
                        </a:lnTo>
                        <a:lnTo>
                          <a:pt x="921" y="0"/>
                        </a:lnTo>
                        <a:lnTo>
                          <a:pt x="691" y="0"/>
                        </a:lnTo>
                        <a:lnTo>
                          <a:pt x="552" y="0"/>
                        </a:lnTo>
                        <a:lnTo>
                          <a:pt x="323" y="0"/>
                        </a:lnTo>
                        <a:lnTo>
                          <a:pt x="276" y="0"/>
                        </a:lnTo>
                        <a:lnTo>
                          <a:pt x="230" y="46"/>
                        </a:lnTo>
                        <a:lnTo>
                          <a:pt x="184" y="230"/>
                        </a:lnTo>
                        <a:lnTo>
                          <a:pt x="184" y="184"/>
                        </a:lnTo>
                        <a:lnTo>
                          <a:pt x="184" y="138"/>
                        </a:lnTo>
                        <a:lnTo>
                          <a:pt x="138" y="138"/>
                        </a:lnTo>
                        <a:lnTo>
                          <a:pt x="46" y="138"/>
                        </a:lnTo>
                        <a:lnTo>
                          <a:pt x="0" y="138"/>
                        </a:lnTo>
                        <a:lnTo>
                          <a:pt x="0" y="184"/>
                        </a:lnTo>
                        <a:lnTo>
                          <a:pt x="46" y="230"/>
                        </a:lnTo>
                        <a:close/>
                        <a:moveTo>
                          <a:pt x="829" y="506"/>
                        </a:moveTo>
                        <a:lnTo>
                          <a:pt x="829" y="552"/>
                        </a:lnTo>
                        <a:lnTo>
                          <a:pt x="414" y="552"/>
                        </a:lnTo>
                        <a:lnTo>
                          <a:pt x="368" y="506"/>
                        </a:lnTo>
                        <a:lnTo>
                          <a:pt x="368" y="460"/>
                        </a:lnTo>
                        <a:lnTo>
                          <a:pt x="414" y="414"/>
                        </a:lnTo>
                        <a:lnTo>
                          <a:pt x="829" y="414"/>
                        </a:lnTo>
                        <a:lnTo>
                          <a:pt x="829" y="460"/>
                        </a:lnTo>
                        <a:lnTo>
                          <a:pt x="829" y="506"/>
                        </a:lnTo>
                        <a:close/>
                        <a:moveTo>
                          <a:pt x="1106" y="506"/>
                        </a:moveTo>
                        <a:lnTo>
                          <a:pt x="1060" y="552"/>
                        </a:lnTo>
                        <a:lnTo>
                          <a:pt x="1013" y="598"/>
                        </a:lnTo>
                        <a:lnTo>
                          <a:pt x="921" y="552"/>
                        </a:lnTo>
                        <a:lnTo>
                          <a:pt x="921" y="506"/>
                        </a:lnTo>
                        <a:lnTo>
                          <a:pt x="921" y="414"/>
                        </a:lnTo>
                        <a:lnTo>
                          <a:pt x="1013" y="414"/>
                        </a:lnTo>
                        <a:lnTo>
                          <a:pt x="1060" y="414"/>
                        </a:lnTo>
                        <a:lnTo>
                          <a:pt x="1106" y="506"/>
                        </a:lnTo>
                        <a:close/>
                        <a:moveTo>
                          <a:pt x="230" y="184"/>
                        </a:moveTo>
                        <a:lnTo>
                          <a:pt x="276" y="46"/>
                        </a:lnTo>
                        <a:lnTo>
                          <a:pt x="323" y="46"/>
                        </a:lnTo>
                        <a:lnTo>
                          <a:pt x="552" y="46"/>
                        </a:lnTo>
                        <a:lnTo>
                          <a:pt x="644" y="46"/>
                        </a:lnTo>
                        <a:lnTo>
                          <a:pt x="691" y="46"/>
                        </a:lnTo>
                        <a:lnTo>
                          <a:pt x="921" y="46"/>
                        </a:lnTo>
                        <a:lnTo>
                          <a:pt x="967" y="46"/>
                        </a:lnTo>
                        <a:lnTo>
                          <a:pt x="1013" y="230"/>
                        </a:lnTo>
                        <a:lnTo>
                          <a:pt x="276" y="230"/>
                        </a:lnTo>
                        <a:lnTo>
                          <a:pt x="230" y="230"/>
                        </a:lnTo>
                        <a:lnTo>
                          <a:pt x="230" y="184"/>
                        </a:lnTo>
                        <a:close/>
                        <a:moveTo>
                          <a:pt x="230" y="414"/>
                        </a:moveTo>
                        <a:lnTo>
                          <a:pt x="276" y="414"/>
                        </a:lnTo>
                        <a:lnTo>
                          <a:pt x="323" y="506"/>
                        </a:lnTo>
                        <a:lnTo>
                          <a:pt x="276" y="552"/>
                        </a:lnTo>
                        <a:lnTo>
                          <a:pt x="230" y="598"/>
                        </a:lnTo>
                        <a:lnTo>
                          <a:pt x="138" y="552"/>
                        </a:lnTo>
                        <a:lnTo>
                          <a:pt x="138" y="506"/>
                        </a:lnTo>
                        <a:lnTo>
                          <a:pt x="138" y="414"/>
                        </a:lnTo>
                        <a:lnTo>
                          <a:pt x="230" y="41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59" name="组合 67"/>
                <p:cNvGrpSpPr/>
                <p:nvPr/>
              </p:nvGrpSpPr>
              <p:grpSpPr>
                <a:xfrm>
                  <a:off x="5560256" y="2095499"/>
                  <a:ext cx="169505" cy="161441"/>
                  <a:chOff x="7198556" y="1523999"/>
                  <a:chExt cx="169505" cy="161441"/>
                </a:xfrm>
                <a:grpFill/>
              </p:grpSpPr>
              <p:sp>
                <p:nvSpPr>
                  <p:cNvPr id="69" name="Freeform 63"/>
                  <p:cNvSpPr>
                    <a:spLocks/>
                  </p:cNvSpPr>
                  <p:nvPr/>
                </p:nvSpPr>
                <p:spPr bwMode="auto">
                  <a:xfrm>
                    <a:off x="7198556" y="1563536"/>
                    <a:ext cx="126227" cy="120807"/>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70" name="Freeform 64"/>
                  <p:cNvSpPr>
                    <a:spLocks/>
                  </p:cNvSpPr>
                  <p:nvPr/>
                </p:nvSpPr>
                <p:spPr bwMode="auto">
                  <a:xfrm>
                    <a:off x="7199758" y="1523999"/>
                    <a:ext cx="168303" cy="161441"/>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grpSp>
            <p:nvGrpSpPr>
              <p:cNvPr id="60" name="组合 76"/>
              <p:cNvGrpSpPr/>
              <p:nvPr/>
            </p:nvGrpSpPr>
            <p:grpSpPr>
              <a:xfrm>
                <a:off x="8907529" y="2399537"/>
                <a:ext cx="952878" cy="655331"/>
                <a:chOff x="6935883" y="2247899"/>
                <a:chExt cx="952878" cy="655331"/>
              </a:xfrm>
              <a:solidFill>
                <a:srgbClr val="00B0F0"/>
              </a:solidFill>
            </p:grpSpPr>
            <p:sp>
              <p:nvSpPr>
                <p:cNvPr id="78" name="Freeform 143"/>
                <p:cNvSpPr>
                  <a:spLocks noEditPoints="1"/>
                </p:cNvSpPr>
                <p:nvPr/>
              </p:nvSpPr>
              <p:spPr bwMode="auto">
                <a:xfrm>
                  <a:off x="6935883" y="2381250"/>
                  <a:ext cx="855567" cy="521980"/>
                </a:xfrm>
                <a:custGeom>
                  <a:avLst/>
                  <a:gdLst/>
                  <a:ahLst/>
                  <a:cxnLst>
                    <a:cxn ang="0">
                      <a:pos x="6670" y="0"/>
                    </a:cxn>
                    <a:cxn ang="0">
                      <a:pos x="4324" y="1058"/>
                    </a:cxn>
                    <a:cxn ang="0">
                      <a:pos x="4692" y="2576"/>
                    </a:cxn>
                    <a:cxn ang="0">
                      <a:pos x="5934" y="5152"/>
                    </a:cxn>
                    <a:cxn ang="0">
                      <a:pos x="6855" y="4967"/>
                    </a:cxn>
                    <a:cxn ang="0">
                      <a:pos x="8234" y="2438"/>
                    </a:cxn>
                    <a:cxn ang="0">
                      <a:pos x="8970" y="1886"/>
                    </a:cxn>
                    <a:cxn ang="0">
                      <a:pos x="10258" y="5336"/>
                    </a:cxn>
                    <a:cxn ang="0">
                      <a:pos x="11224" y="5060"/>
                    </a:cxn>
                    <a:cxn ang="0">
                      <a:pos x="12144" y="5060"/>
                    </a:cxn>
                    <a:cxn ang="0">
                      <a:pos x="13432" y="2254"/>
                    </a:cxn>
                    <a:cxn ang="0">
                      <a:pos x="14306" y="1886"/>
                    </a:cxn>
                    <a:cxn ang="0">
                      <a:pos x="15502" y="5290"/>
                    </a:cxn>
                    <a:cxn ang="0">
                      <a:pos x="16330" y="3036"/>
                    </a:cxn>
                    <a:cxn ang="0">
                      <a:pos x="15226" y="414"/>
                    </a:cxn>
                    <a:cxn ang="0">
                      <a:pos x="12512" y="92"/>
                    </a:cxn>
                    <a:cxn ang="0">
                      <a:pos x="10396" y="6440"/>
                    </a:cxn>
                    <a:cxn ang="0">
                      <a:pos x="9292" y="6440"/>
                    </a:cxn>
                    <a:cxn ang="0">
                      <a:pos x="8418" y="6945"/>
                    </a:cxn>
                    <a:cxn ang="0">
                      <a:pos x="7222" y="7038"/>
                    </a:cxn>
                    <a:cxn ang="0">
                      <a:pos x="6486" y="6348"/>
                    </a:cxn>
                    <a:cxn ang="0">
                      <a:pos x="5244" y="6440"/>
                    </a:cxn>
                    <a:cxn ang="0">
                      <a:pos x="4140" y="6440"/>
                    </a:cxn>
                    <a:cxn ang="0">
                      <a:pos x="3266" y="6945"/>
                    </a:cxn>
                    <a:cxn ang="0">
                      <a:pos x="2070" y="7038"/>
                    </a:cxn>
                    <a:cxn ang="0">
                      <a:pos x="1334" y="6348"/>
                    </a:cxn>
                    <a:cxn ang="0">
                      <a:pos x="92" y="6486"/>
                    </a:cxn>
                    <a:cxn ang="0">
                      <a:pos x="276" y="5980"/>
                    </a:cxn>
                    <a:cxn ang="0">
                      <a:pos x="1518" y="5520"/>
                    </a:cxn>
                    <a:cxn ang="0">
                      <a:pos x="2990" y="5888"/>
                    </a:cxn>
                    <a:cxn ang="0">
                      <a:pos x="3910" y="2438"/>
                    </a:cxn>
                    <a:cxn ang="0">
                      <a:pos x="5474" y="5842"/>
                    </a:cxn>
                    <a:cxn ang="0">
                      <a:pos x="6394" y="5520"/>
                    </a:cxn>
                    <a:cxn ang="0">
                      <a:pos x="7038" y="5888"/>
                    </a:cxn>
                    <a:cxn ang="0">
                      <a:pos x="8786" y="2576"/>
                    </a:cxn>
                    <a:cxn ang="0">
                      <a:pos x="9292" y="2668"/>
                    </a:cxn>
                    <a:cxn ang="0">
                      <a:pos x="10856" y="5980"/>
                    </a:cxn>
                    <a:cxn ang="0">
                      <a:pos x="11822" y="5520"/>
                    </a:cxn>
                    <a:cxn ang="0">
                      <a:pos x="13294" y="5888"/>
                    </a:cxn>
                    <a:cxn ang="0">
                      <a:pos x="14214" y="2438"/>
                    </a:cxn>
                    <a:cxn ang="0">
                      <a:pos x="15778" y="5842"/>
                    </a:cxn>
                    <a:cxn ang="0">
                      <a:pos x="15916" y="6348"/>
                    </a:cxn>
                    <a:cxn ang="0">
                      <a:pos x="14490" y="6532"/>
                    </a:cxn>
                    <a:cxn ang="0">
                      <a:pos x="13662" y="6945"/>
                    </a:cxn>
                    <a:cxn ang="0">
                      <a:pos x="12420" y="6900"/>
                    </a:cxn>
                    <a:cxn ang="0">
                      <a:pos x="11868" y="6945"/>
                    </a:cxn>
                    <a:cxn ang="0">
                      <a:pos x="5658" y="7130"/>
                    </a:cxn>
                    <a:cxn ang="0">
                      <a:pos x="10074" y="10580"/>
                    </a:cxn>
                    <a:cxn ang="0">
                      <a:pos x="14306" y="7314"/>
                    </a:cxn>
                    <a:cxn ang="0">
                      <a:pos x="13478" y="7498"/>
                    </a:cxn>
                    <a:cxn ang="0">
                      <a:pos x="12743" y="7452"/>
                    </a:cxn>
                    <a:cxn ang="0">
                      <a:pos x="11822" y="7636"/>
                    </a:cxn>
                    <a:cxn ang="0">
                      <a:pos x="11316" y="7130"/>
                    </a:cxn>
                    <a:cxn ang="0">
                      <a:pos x="9430" y="7222"/>
                    </a:cxn>
                    <a:cxn ang="0">
                      <a:pos x="8648" y="7452"/>
                    </a:cxn>
                    <a:cxn ang="0">
                      <a:pos x="7774" y="7176"/>
                    </a:cxn>
                    <a:cxn ang="0">
                      <a:pos x="6992" y="7682"/>
                    </a:cxn>
                    <a:cxn ang="0">
                      <a:pos x="6209" y="7176"/>
                    </a:cxn>
                    <a:cxn ang="0">
                      <a:pos x="14352" y="7130"/>
                    </a:cxn>
                  </a:cxnLst>
                  <a:rect l="0" t="0" r="r" b="b"/>
                  <a:pathLst>
                    <a:path w="16330" h="10580">
                      <a:moveTo>
                        <a:pt x="10074" y="874"/>
                      </a:moveTo>
                      <a:lnTo>
                        <a:pt x="8924" y="460"/>
                      </a:lnTo>
                      <a:lnTo>
                        <a:pt x="8096" y="230"/>
                      </a:lnTo>
                      <a:lnTo>
                        <a:pt x="7636" y="92"/>
                      </a:lnTo>
                      <a:lnTo>
                        <a:pt x="7176" y="46"/>
                      </a:lnTo>
                      <a:lnTo>
                        <a:pt x="6670" y="0"/>
                      </a:lnTo>
                      <a:lnTo>
                        <a:pt x="6209" y="0"/>
                      </a:lnTo>
                      <a:lnTo>
                        <a:pt x="5796" y="92"/>
                      </a:lnTo>
                      <a:lnTo>
                        <a:pt x="5336" y="184"/>
                      </a:lnTo>
                      <a:lnTo>
                        <a:pt x="4968" y="414"/>
                      </a:lnTo>
                      <a:lnTo>
                        <a:pt x="4600" y="690"/>
                      </a:lnTo>
                      <a:lnTo>
                        <a:pt x="4324" y="1058"/>
                      </a:lnTo>
                      <a:lnTo>
                        <a:pt x="4094" y="1564"/>
                      </a:lnTo>
                      <a:lnTo>
                        <a:pt x="4002" y="1886"/>
                      </a:lnTo>
                      <a:lnTo>
                        <a:pt x="4232" y="1978"/>
                      </a:lnTo>
                      <a:lnTo>
                        <a:pt x="4462" y="2116"/>
                      </a:lnTo>
                      <a:lnTo>
                        <a:pt x="4600" y="2301"/>
                      </a:lnTo>
                      <a:lnTo>
                        <a:pt x="4692" y="2576"/>
                      </a:lnTo>
                      <a:lnTo>
                        <a:pt x="5106" y="5336"/>
                      </a:lnTo>
                      <a:lnTo>
                        <a:pt x="5244" y="5290"/>
                      </a:lnTo>
                      <a:lnTo>
                        <a:pt x="5520" y="5290"/>
                      </a:lnTo>
                      <a:lnTo>
                        <a:pt x="5796" y="5382"/>
                      </a:lnTo>
                      <a:lnTo>
                        <a:pt x="5842" y="5290"/>
                      </a:lnTo>
                      <a:lnTo>
                        <a:pt x="5934" y="5152"/>
                      </a:lnTo>
                      <a:lnTo>
                        <a:pt x="6072" y="5060"/>
                      </a:lnTo>
                      <a:lnTo>
                        <a:pt x="6209" y="4967"/>
                      </a:lnTo>
                      <a:lnTo>
                        <a:pt x="6394" y="4922"/>
                      </a:lnTo>
                      <a:lnTo>
                        <a:pt x="6532" y="4922"/>
                      </a:lnTo>
                      <a:lnTo>
                        <a:pt x="6716" y="4922"/>
                      </a:lnTo>
                      <a:lnTo>
                        <a:pt x="6855" y="4967"/>
                      </a:lnTo>
                      <a:lnTo>
                        <a:pt x="6992" y="5060"/>
                      </a:lnTo>
                      <a:lnTo>
                        <a:pt x="7130" y="5152"/>
                      </a:lnTo>
                      <a:lnTo>
                        <a:pt x="7222" y="5290"/>
                      </a:lnTo>
                      <a:lnTo>
                        <a:pt x="7774" y="5290"/>
                      </a:lnTo>
                      <a:lnTo>
                        <a:pt x="8188" y="2576"/>
                      </a:lnTo>
                      <a:lnTo>
                        <a:pt x="8234" y="2438"/>
                      </a:lnTo>
                      <a:lnTo>
                        <a:pt x="8326" y="2254"/>
                      </a:lnTo>
                      <a:lnTo>
                        <a:pt x="8418" y="2162"/>
                      </a:lnTo>
                      <a:lnTo>
                        <a:pt x="8510" y="2024"/>
                      </a:lnTo>
                      <a:lnTo>
                        <a:pt x="8648" y="1932"/>
                      </a:lnTo>
                      <a:lnTo>
                        <a:pt x="8786" y="1886"/>
                      </a:lnTo>
                      <a:lnTo>
                        <a:pt x="8970" y="1886"/>
                      </a:lnTo>
                      <a:lnTo>
                        <a:pt x="9154" y="1886"/>
                      </a:lnTo>
                      <a:lnTo>
                        <a:pt x="9384" y="1978"/>
                      </a:lnTo>
                      <a:lnTo>
                        <a:pt x="9614" y="2116"/>
                      </a:lnTo>
                      <a:lnTo>
                        <a:pt x="9752" y="2301"/>
                      </a:lnTo>
                      <a:lnTo>
                        <a:pt x="9844" y="2576"/>
                      </a:lnTo>
                      <a:lnTo>
                        <a:pt x="10258" y="5336"/>
                      </a:lnTo>
                      <a:lnTo>
                        <a:pt x="10396" y="5290"/>
                      </a:lnTo>
                      <a:lnTo>
                        <a:pt x="10672" y="5290"/>
                      </a:lnTo>
                      <a:lnTo>
                        <a:pt x="10948" y="5382"/>
                      </a:lnTo>
                      <a:lnTo>
                        <a:pt x="10994" y="5290"/>
                      </a:lnTo>
                      <a:lnTo>
                        <a:pt x="11086" y="5152"/>
                      </a:lnTo>
                      <a:lnTo>
                        <a:pt x="11224" y="5060"/>
                      </a:lnTo>
                      <a:lnTo>
                        <a:pt x="11362" y="4967"/>
                      </a:lnTo>
                      <a:lnTo>
                        <a:pt x="11546" y="4922"/>
                      </a:lnTo>
                      <a:lnTo>
                        <a:pt x="11684" y="4922"/>
                      </a:lnTo>
                      <a:lnTo>
                        <a:pt x="11822" y="4922"/>
                      </a:lnTo>
                      <a:lnTo>
                        <a:pt x="12006" y="4967"/>
                      </a:lnTo>
                      <a:lnTo>
                        <a:pt x="12144" y="5060"/>
                      </a:lnTo>
                      <a:lnTo>
                        <a:pt x="12282" y="5152"/>
                      </a:lnTo>
                      <a:lnTo>
                        <a:pt x="12374" y="5290"/>
                      </a:lnTo>
                      <a:lnTo>
                        <a:pt x="12926" y="5290"/>
                      </a:lnTo>
                      <a:lnTo>
                        <a:pt x="13340" y="2576"/>
                      </a:lnTo>
                      <a:lnTo>
                        <a:pt x="13387" y="2438"/>
                      </a:lnTo>
                      <a:lnTo>
                        <a:pt x="13432" y="2254"/>
                      </a:lnTo>
                      <a:lnTo>
                        <a:pt x="13570" y="2162"/>
                      </a:lnTo>
                      <a:lnTo>
                        <a:pt x="13662" y="2024"/>
                      </a:lnTo>
                      <a:lnTo>
                        <a:pt x="13800" y="1932"/>
                      </a:lnTo>
                      <a:lnTo>
                        <a:pt x="13938" y="1886"/>
                      </a:lnTo>
                      <a:lnTo>
                        <a:pt x="14122" y="1886"/>
                      </a:lnTo>
                      <a:lnTo>
                        <a:pt x="14306" y="1886"/>
                      </a:lnTo>
                      <a:lnTo>
                        <a:pt x="14536" y="1978"/>
                      </a:lnTo>
                      <a:lnTo>
                        <a:pt x="14766" y="2116"/>
                      </a:lnTo>
                      <a:lnTo>
                        <a:pt x="14904" y="2301"/>
                      </a:lnTo>
                      <a:lnTo>
                        <a:pt x="14996" y="2576"/>
                      </a:lnTo>
                      <a:lnTo>
                        <a:pt x="15410" y="5336"/>
                      </a:lnTo>
                      <a:lnTo>
                        <a:pt x="15502" y="5290"/>
                      </a:lnTo>
                      <a:lnTo>
                        <a:pt x="15778" y="5290"/>
                      </a:lnTo>
                      <a:lnTo>
                        <a:pt x="16009" y="4830"/>
                      </a:lnTo>
                      <a:lnTo>
                        <a:pt x="16146" y="4416"/>
                      </a:lnTo>
                      <a:lnTo>
                        <a:pt x="16238" y="3956"/>
                      </a:lnTo>
                      <a:lnTo>
                        <a:pt x="16330" y="3496"/>
                      </a:lnTo>
                      <a:lnTo>
                        <a:pt x="16330" y="3036"/>
                      </a:lnTo>
                      <a:lnTo>
                        <a:pt x="16330" y="2530"/>
                      </a:lnTo>
                      <a:lnTo>
                        <a:pt x="16238" y="2070"/>
                      </a:lnTo>
                      <a:lnTo>
                        <a:pt x="16054" y="1564"/>
                      </a:lnTo>
                      <a:lnTo>
                        <a:pt x="15824" y="1058"/>
                      </a:lnTo>
                      <a:lnTo>
                        <a:pt x="15548" y="690"/>
                      </a:lnTo>
                      <a:lnTo>
                        <a:pt x="15226" y="414"/>
                      </a:lnTo>
                      <a:lnTo>
                        <a:pt x="14812" y="184"/>
                      </a:lnTo>
                      <a:lnTo>
                        <a:pt x="14398" y="92"/>
                      </a:lnTo>
                      <a:lnTo>
                        <a:pt x="13938" y="0"/>
                      </a:lnTo>
                      <a:lnTo>
                        <a:pt x="13478" y="0"/>
                      </a:lnTo>
                      <a:lnTo>
                        <a:pt x="13018" y="46"/>
                      </a:lnTo>
                      <a:lnTo>
                        <a:pt x="12512" y="92"/>
                      </a:lnTo>
                      <a:lnTo>
                        <a:pt x="12098" y="230"/>
                      </a:lnTo>
                      <a:lnTo>
                        <a:pt x="11224" y="460"/>
                      </a:lnTo>
                      <a:lnTo>
                        <a:pt x="10074" y="874"/>
                      </a:lnTo>
                      <a:close/>
                      <a:moveTo>
                        <a:pt x="10580" y="6578"/>
                      </a:moveTo>
                      <a:lnTo>
                        <a:pt x="10488" y="6532"/>
                      </a:lnTo>
                      <a:lnTo>
                        <a:pt x="10396" y="6440"/>
                      </a:lnTo>
                      <a:lnTo>
                        <a:pt x="9660" y="6670"/>
                      </a:lnTo>
                      <a:lnTo>
                        <a:pt x="9614" y="6670"/>
                      </a:lnTo>
                      <a:lnTo>
                        <a:pt x="9522" y="6670"/>
                      </a:lnTo>
                      <a:lnTo>
                        <a:pt x="9430" y="6624"/>
                      </a:lnTo>
                      <a:lnTo>
                        <a:pt x="9338" y="6532"/>
                      </a:lnTo>
                      <a:lnTo>
                        <a:pt x="9292" y="6440"/>
                      </a:lnTo>
                      <a:lnTo>
                        <a:pt x="9016" y="4554"/>
                      </a:lnTo>
                      <a:lnTo>
                        <a:pt x="8694" y="6716"/>
                      </a:lnTo>
                      <a:lnTo>
                        <a:pt x="8648" y="6808"/>
                      </a:lnTo>
                      <a:lnTo>
                        <a:pt x="8602" y="6854"/>
                      </a:lnTo>
                      <a:lnTo>
                        <a:pt x="8510" y="6945"/>
                      </a:lnTo>
                      <a:lnTo>
                        <a:pt x="8418" y="6945"/>
                      </a:lnTo>
                      <a:lnTo>
                        <a:pt x="8280" y="6900"/>
                      </a:lnTo>
                      <a:lnTo>
                        <a:pt x="8234" y="6854"/>
                      </a:lnTo>
                      <a:lnTo>
                        <a:pt x="7866" y="6394"/>
                      </a:lnTo>
                      <a:lnTo>
                        <a:pt x="7360" y="6394"/>
                      </a:lnTo>
                      <a:lnTo>
                        <a:pt x="7268" y="6900"/>
                      </a:lnTo>
                      <a:lnTo>
                        <a:pt x="7222" y="7038"/>
                      </a:lnTo>
                      <a:lnTo>
                        <a:pt x="7084" y="7084"/>
                      </a:lnTo>
                      <a:lnTo>
                        <a:pt x="6992" y="7130"/>
                      </a:lnTo>
                      <a:lnTo>
                        <a:pt x="6900" y="7084"/>
                      </a:lnTo>
                      <a:lnTo>
                        <a:pt x="6808" y="7038"/>
                      </a:lnTo>
                      <a:lnTo>
                        <a:pt x="6762" y="6945"/>
                      </a:lnTo>
                      <a:lnTo>
                        <a:pt x="6486" y="6348"/>
                      </a:lnTo>
                      <a:lnTo>
                        <a:pt x="6440" y="6394"/>
                      </a:lnTo>
                      <a:lnTo>
                        <a:pt x="6302" y="6532"/>
                      </a:lnTo>
                      <a:lnTo>
                        <a:pt x="6164" y="6578"/>
                      </a:lnTo>
                      <a:lnTo>
                        <a:pt x="5428" y="6578"/>
                      </a:lnTo>
                      <a:lnTo>
                        <a:pt x="5336" y="6532"/>
                      </a:lnTo>
                      <a:lnTo>
                        <a:pt x="5244" y="6440"/>
                      </a:lnTo>
                      <a:lnTo>
                        <a:pt x="4508" y="6670"/>
                      </a:lnTo>
                      <a:lnTo>
                        <a:pt x="4462" y="6670"/>
                      </a:lnTo>
                      <a:lnTo>
                        <a:pt x="4370" y="6670"/>
                      </a:lnTo>
                      <a:lnTo>
                        <a:pt x="4278" y="6624"/>
                      </a:lnTo>
                      <a:lnTo>
                        <a:pt x="4186" y="6532"/>
                      </a:lnTo>
                      <a:lnTo>
                        <a:pt x="4140" y="6440"/>
                      </a:lnTo>
                      <a:lnTo>
                        <a:pt x="3864" y="4554"/>
                      </a:lnTo>
                      <a:lnTo>
                        <a:pt x="3542" y="6716"/>
                      </a:lnTo>
                      <a:lnTo>
                        <a:pt x="3542" y="6808"/>
                      </a:lnTo>
                      <a:lnTo>
                        <a:pt x="3450" y="6854"/>
                      </a:lnTo>
                      <a:lnTo>
                        <a:pt x="3358" y="6945"/>
                      </a:lnTo>
                      <a:lnTo>
                        <a:pt x="3266" y="6945"/>
                      </a:lnTo>
                      <a:lnTo>
                        <a:pt x="3128" y="6900"/>
                      </a:lnTo>
                      <a:lnTo>
                        <a:pt x="3082" y="6854"/>
                      </a:lnTo>
                      <a:lnTo>
                        <a:pt x="2714" y="6394"/>
                      </a:lnTo>
                      <a:lnTo>
                        <a:pt x="2208" y="6394"/>
                      </a:lnTo>
                      <a:lnTo>
                        <a:pt x="2116" y="6900"/>
                      </a:lnTo>
                      <a:lnTo>
                        <a:pt x="2070" y="7038"/>
                      </a:lnTo>
                      <a:lnTo>
                        <a:pt x="1978" y="7084"/>
                      </a:lnTo>
                      <a:lnTo>
                        <a:pt x="1840" y="7130"/>
                      </a:lnTo>
                      <a:lnTo>
                        <a:pt x="1748" y="7084"/>
                      </a:lnTo>
                      <a:lnTo>
                        <a:pt x="1656" y="7038"/>
                      </a:lnTo>
                      <a:lnTo>
                        <a:pt x="1610" y="6945"/>
                      </a:lnTo>
                      <a:lnTo>
                        <a:pt x="1334" y="6348"/>
                      </a:lnTo>
                      <a:lnTo>
                        <a:pt x="1288" y="6394"/>
                      </a:lnTo>
                      <a:lnTo>
                        <a:pt x="1150" y="6532"/>
                      </a:lnTo>
                      <a:lnTo>
                        <a:pt x="1012" y="6578"/>
                      </a:lnTo>
                      <a:lnTo>
                        <a:pt x="276" y="6578"/>
                      </a:lnTo>
                      <a:lnTo>
                        <a:pt x="184" y="6532"/>
                      </a:lnTo>
                      <a:lnTo>
                        <a:pt x="92" y="6486"/>
                      </a:lnTo>
                      <a:lnTo>
                        <a:pt x="46" y="6394"/>
                      </a:lnTo>
                      <a:lnTo>
                        <a:pt x="0" y="6302"/>
                      </a:lnTo>
                      <a:lnTo>
                        <a:pt x="46" y="6164"/>
                      </a:lnTo>
                      <a:lnTo>
                        <a:pt x="92" y="6072"/>
                      </a:lnTo>
                      <a:lnTo>
                        <a:pt x="184" y="6026"/>
                      </a:lnTo>
                      <a:lnTo>
                        <a:pt x="276" y="5980"/>
                      </a:lnTo>
                      <a:lnTo>
                        <a:pt x="874" y="5980"/>
                      </a:lnTo>
                      <a:lnTo>
                        <a:pt x="1150" y="5613"/>
                      </a:lnTo>
                      <a:lnTo>
                        <a:pt x="1242" y="5520"/>
                      </a:lnTo>
                      <a:lnTo>
                        <a:pt x="1334" y="5474"/>
                      </a:lnTo>
                      <a:lnTo>
                        <a:pt x="1426" y="5474"/>
                      </a:lnTo>
                      <a:lnTo>
                        <a:pt x="1518" y="5520"/>
                      </a:lnTo>
                      <a:lnTo>
                        <a:pt x="1656" y="5658"/>
                      </a:lnTo>
                      <a:lnTo>
                        <a:pt x="1794" y="5980"/>
                      </a:lnTo>
                      <a:lnTo>
                        <a:pt x="1886" y="5888"/>
                      </a:lnTo>
                      <a:lnTo>
                        <a:pt x="1978" y="5842"/>
                      </a:lnTo>
                      <a:lnTo>
                        <a:pt x="2852" y="5842"/>
                      </a:lnTo>
                      <a:lnTo>
                        <a:pt x="2990" y="5888"/>
                      </a:lnTo>
                      <a:lnTo>
                        <a:pt x="3082" y="5980"/>
                      </a:lnTo>
                      <a:lnTo>
                        <a:pt x="3589" y="2668"/>
                      </a:lnTo>
                      <a:lnTo>
                        <a:pt x="3634" y="2576"/>
                      </a:lnTo>
                      <a:lnTo>
                        <a:pt x="3680" y="2484"/>
                      </a:lnTo>
                      <a:lnTo>
                        <a:pt x="3818" y="2438"/>
                      </a:lnTo>
                      <a:lnTo>
                        <a:pt x="3910" y="2438"/>
                      </a:lnTo>
                      <a:lnTo>
                        <a:pt x="4002" y="2438"/>
                      </a:lnTo>
                      <a:lnTo>
                        <a:pt x="4048" y="2530"/>
                      </a:lnTo>
                      <a:lnTo>
                        <a:pt x="4140" y="2668"/>
                      </a:lnTo>
                      <a:lnTo>
                        <a:pt x="4646" y="6026"/>
                      </a:lnTo>
                      <a:lnTo>
                        <a:pt x="5382" y="5842"/>
                      </a:lnTo>
                      <a:lnTo>
                        <a:pt x="5474" y="5842"/>
                      </a:lnTo>
                      <a:lnTo>
                        <a:pt x="5566" y="5888"/>
                      </a:lnTo>
                      <a:lnTo>
                        <a:pt x="5658" y="5934"/>
                      </a:lnTo>
                      <a:lnTo>
                        <a:pt x="5704" y="5980"/>
                      </a:lnTo>
                      <a:lnTo>
                        <a:pt x="6026" y="5980"/>
                      </a:lnTo>
                      <a:lnTo>
                        <a:pt x="6302" y="5613"/>
                      </a:lnTo>
                      <a:lnTo>
                        <a:pt x="6394" y="5520"/>
                      </a:lnTo>
                      <a:lnTo>
                        <a:pt x="6486" y="5474"/>
                      </a:lnTo>
                      <a:lnTo>
                        <a:pt x="6578" y="5474"/>
                      </a:lnTo>
                      <a:lnTo>
                        <a:pt x="6670" y="5520"/>
                      </a:lnTo>
                      <a:lnTo>
                        <a:pt x="6808" y="5658"/>
                      </a:lnTo>
                      <a:lnTo>
                        <a:pt x="6946" y="5980"/>
                      </a:lnTo>
                      <a:lnTo>
                        <a:pt x="7038" y="5888"/>
                      </a:lnTo>
                      <a:lnTo>
                        <a:pt x="7130" y="5842"/>
                      </a:lnTo>
                      <a:lnTo>
                        <a:pt x="8004" y="5842"/>
                      </a:lnTo>
                      <a:lnTo>
                        <a:pt x="8142" y="5888"/>
                      </a:lnTo>
                      <a:lnTo>
                        <a:pt x="8234" y="5980"/>
                      </a:lnTo>
                      <a:lnTo>
                        <a:pt x="8740" y="2668"/>
                      </a:lnTo>
                      <a:lnTo>
                        <a:pt x="8786" y="2576"/>
                      </a:lnTo>
                      <a:lnTo>
                        <a:pt x="8832" y="2484"/>
                      </a:lnTo>
                      <a:lnTo>
                        <a:pt x="8924" y="2438"/>
                      </a:lnTo>
                      <a:lnTo>
                        <a:pt x="9062" y="2438"/>
                      </a:lnTo>
                      <a:lnTo>
                        <a:pt x="9154" y="2438"/>
                      </a:lnTo>
                      <a:lnTo>
                        <a:pt x="9200" y="2530"/>
                      </a:lnTo>
                      <a:lnTo>
                        <a:pt x="9292" y="2668"/>
                      </a:lnTo>
                      <a:lnTo>
                        <a:pt x="9798" y="6026"/>
                      </a:lnTo>
                      <a:lnTo>
                        <a:pt x="10534" y="5842"/>
                      </a:lnTo>
                      <a:lnTo>
                        <a:pt x="10626" y="5842"/>
                      </a:lnTo>
                      <a:lnTo>
                        <a:pt x="10718" y="5888"/>
                      </a:lnTo>
                      <a:lnTo>
                        <a:pt x="10764" y="5934"/>
                      </a:lnTo>
                      <a:lnTo>
                        <a:pt x="10856" y="5980"/>
                      </a:lnTo>
                      <a:lnTo>
                        <a:pt x="11178" y="5980"/>
                      </a:lnTo>
                      <a:lnTo>
                        <a:pt x="11454" y="5613"/>
                      </a:lnTo>
                      <a:lnTo>
                        <a:pt x="11546" y="5520"/>
                      </a:lnTo>
                      <a:lnTo>
                        <a:pt x="11638" y="5474"/>
                      </a:lnTo>
                      <a:lnTo>
                        <a:pt x="11730" y="5474"/>
                      </a:lnTo>
                      <a:lnTo>
                        <a:pt x="11822" y="5520"/>
                      </a:lnTo>
                      <a:lnTo>
                        <a:pt x="11960" y="5658"/>
                      </a:lnTo>
                      <a:lnTo>
                        <a:pt x="12052" y="5980"/>
                      </a:lnTo>
                      <a:lnTo>
                        <a:pt x="12190" y="5888"/>
                      </a:lnTo>
                      <a:lnTo>
                        <a:pt x="12282" y="5842"/>
                      </a:lnTo>
                      <a:lnTo>
                        <a:pt x="13156" y="5842"/>
                      </a:lnTo>
                      <a:lnTo>
                        <a:pt x="13294" y="5888"/>
                      </a:lnTo>
                      <a:lnTo>
                        <a:pt x="13387" y="5980"/>
                      </a:lnTo>
                      <a:lnTo>
                        <a:pt x="13892" y="2668"/>
                      </a:lnTo>
                      <a:lnTo>
                        <a:pt x="13938" y="2576"/>
                      </a:lnTo>
                      <a:lnTo>
                        <a:pt x="13984" y="2484"/>
                      </a:lnTo>
                      <a:lnTo>
                        <a:pt x="14076" y="2438"/>
                      </a:lnTo>
                      <a:lnTo>
                        <a:pt x="14214" y="2438"/>
                      </a:lnTo>
                      <a:lnTo>
                        <a:pt x="14306" y="2438"/>
                      </a:lnTo>
                      <a:lnTo>
                        <a:pt x="14352" y="2530"/>
                      </a:lnTo>
                      <a:lnTo>
                        <a:pt x="14444" y="2668"/>
                      </a:lnTo>
                      <a:lnTo>
                        <a:pt x="14950" y="6026"/>
                      </a:lnTo>
                      <a:lnTo>
                        <a:pt x="15686" y="5842"/>
                      </a:lnTo>
                      <a:lnTo>
                        <a:pt x="15778" y="5842"/>
                      </a:lnTo>
                      <a:lnTo>
                        <a:pt x="15870" y="5888"/>
                      </a:lnTo>
                      <a:lnTo>
                        <a:pt x="15962" y="5934"/>
                      </a:lnTo>
                      <a:lnTo>
                        <a:pt x="16009" y="6026"/>
                      </a:lnTo>
                      <a:lnTo>
                        <a:pt x="16009" y="6164"/>
                      </a:lnTo>
                      <a:lnTo>
                        <a:pt x="15962" y="6256"/>
                      </a:lnTo>
                      <a:lnTo>
                        <a:pt x="15916" y="6348"/>
                      </a:lnTo>
                      <a:lnTo>
                        <a:pt x="15824" y="6394"/>
                      </a:lnTo>
                      <a:lnTo>
                        <a:pt x="14812" y="6670"/>
                      </a:lnTo>
                      <a:lnTo>
                        <a:pt x="14766" y="6670"/>
                      </a:lnTo>
                      <a:lnTo>
                        <a:pt x="14674" y="6670"/>
                      </a:lnTo>
                      <a:lnTo>
                        <a:pt x="14582" y="6624"/>
                      </a:lnTo>
                      <a:lnTo>
                        <a:pt x="14490" y="6532"/>
                      </a:lnTo>
                      <a:lnTo>
                        <a:pt x="14444" y="6440"/>
                      </a:lnTo>
                      <a:lnTo>
                        <a:pt x="14168" y="4554"/>
                      </a:lnTo>
                      <a:lnTo>
                        <a:pt x="13846" y="6716"/>
                      </a:lnTo>
                      <a:lnTo>
                        <a:pt x="13800" y="6808"/>
                      </a:lnTo>
                      <a:lnTo>
                        <a:pt x="13754" y="6854"/>
                      </a:lnTo>
                      <a:lnTo>
                        <a:pt x="13662" y="6945"/>
                      </a:lnTo>
                      <a:lnTo>
                        <a:pt x="13524" y="6945"/>
                      </a:lnTo>
                      <a:lnTo>
                        <a:pt x="13432" y="6900"/>
                      </a:lnTo>
                      <a:lnTo>
                        <a:pt x="13340" y="6854"/>
                      </a:lnTo>
                      <a:lnTo>
                        <a:pt x="13018" y="6394"/>
                      </a:lnTo>
                      <a:lnTo>
                        <a:pt x="12512" y="6394"/>
                      </a:lnTo>
                      <a:lnTo>
                        <a:pt x="12420" y="6900"/>
                      </a:lnTo>
                      <a:lnTo>
                        <a:pt x="12374" y="7038"/>
                      </a:lnTo>
                      <a:lnTo>
                        <a:pt x="12236" y="7084"/>
                      </a:lnTo>
                      <a:lnTo>
                        <a:pt x="12144" y="7130"/>
                      </a:lnTo>
                      <a:lnTo>
                        <a:pt x="12052" y="7084"/>
                      </a:lnTo>
                      <a:lnTo>
                        <a:pt x="11960" y="7038"/>
                      </a:lnTo>
                      <a:lnTo>
                        <a:pt x="11868" y="6945"/>
                      </a:lnTo>
                      <a:lnTo>
                        <a:pt x="11638" y="6348"/>
                      </a:lnTo>
                      <a:lnTo>
                        <a:pt x="11546" y="6394"/>
                      </a:lnTo>
                      <a:lnTo>
                        <a:pt x="11454" y="6532"/>
                      </a:lnTo>
                      <a:lnTo>
                        <a:pt x="11316" y="6578"/>
                      </a:lnTo>
                      <a:lnTo>
                        <a:pt x="10580" y="6578"/>
                      </a:lnTo>
                      <a:close/>
                      <a:moveTo>
                        <a:pt x="5658" y="7130"/>
                      </a:moveTo>
                      <a:lnTo>
                        <a:pt x="6209" y="7682"/>
                      </a:lnTo>
                      <a:lnTo>
                        <a:pt x="6808" y="8234"/>
                      </a:lnTo>
                      <a:lnTo>
                        <a:pt x="7406" y="8740"/>
                      </a:lnTo>
                      <a:lnTo>
                        <a:pt x="8004" y="9200"/>
                      </a:lnTo>
                      <a:lnTo>
                        <a:pt x="9154" y="9982"/>
                      </a:lnTo>
                      <a:lnTo>
                        <a:pt x="10074" y="10580"/>
                      </a:lnTo>
                      <a:lnTo>
                        <a:pt x="10994" y="10028"/>
                      </a:lnTo>
                      <a:lnTo>
                        <a:pt x="12052" y="9292"/>
                      </a:lnTo>
                      <a:lnTo>
                        <a:pt x="12604" y="8832"/>
                      </a:lnTo>
                      <a:lnTo>
                        <a:pt x="13202" y="8372"/>
                      </a:lnTo>
                      <a:lnTo>
                        <a:pt x="13754" y="7866"/>
                      </a:lnTo>
                      <a:lnTo>
                        <a:pt x="14306" y="7314"/>
                      </a:lnTo>
                      <a:lnTo>
                        <a:pt x="14122" y="7314"/>
                      </a:lnTo>
                      <a:lnTo>
                        <a:pt x="14076" y="7314"/>
                      </a:lnTo>
                      <a:lnTo>
                        <a:pt x="13938" y="7406"/>
                      </a:lnTo>
                      <a:lnTo>
                        <a:pt x="13800" y="7452"/>
                      </a:lnTo>
                      <a:lnTo>
                        <a:pt x="13662" y="7498"/>
                      </a:lnTo>
                      <a:lnTo>
                        <a:pt x="13478" y="7498"/>
                      </a:lnTo>
                      <a:lnTo>
                        <a:pt x="13340" y="7452"/>
                      </a:lnTo>
                      <a:lnTo>
                        <a:pt x="13156" y="7406"/>
                      </a:lnTo>
                      <a:lnTo>
                        <a:pt x="13064" y="7314"/>
                      </a:lnTo>
                      <a:lnTo>
                        <a:pt x="12926" y="7176"/>
                      </a:lnTo>
                      <a:lnTo>
                        <a:pt x="12834" y="7314"/>
                      </a:lnTo>
                      <a:lnTo>
                        <a:pt x="12743" y="7452"/>
                      </a:lnTo>
                      <a:lnTo>
                        <a:pt x="12604" y="7544"/>
                      </a:lnTo>
                      <a:lnTo>
                        <a:pt x="12466" y="7636"/>
                      </a:lnTo>
                      <a:lnTo>
                        <a:pt x="12328" y="7682"/>
                      </a:lnTo>
                      <a:lnTo>
                        <a:pt x="12144" y="7682"/>
                      </a:lnTo>
                      <a:lnTo>
                        <a:pt x="12006" y="7682"/>
                      </a:lnTo>
                      <a:lnTo>
                        <a:pt x="11822" y="7636"/>
                      </a:lnTo>
                      <a:lnTo>
                        <a:pt x="11684" y="7544"/>
                      </a:lnTo>
                      <a:lnTo>
                        <a:pt x="11546" y="7452"/>
                      </a:lnTo>
                      <a:lnTo>
                        <a:pt x="11454" y="7314"/>
                      </a:lnTo>
                      <a:lnTo>
                        <a:pt x="11362" y="7176"/>
                      </a:lnTo>
                      <a:lnTo>
                        <a:pt x="11362" y="7130"/>
                      </a:lnTo>
                      <a:lnTo>
                        <a:pt x="11316" y="7130"/>
                      </a:lnTo>
                      <a:lnTo>
                        <a:pt x="10580" y="7130"/>
                      </a:lnTo>
                      <a:lnTo>
                        <a:pt x="10442" y="7084"/>
                      </a:lnTo>
                      <a:lnTo>
                        <a:pt x="10304" y="7038"/>
                      </a:lnTo>
                      <a:lnTo>
                        <a:pt x="9844" y="7176"/>
                      </a:lnTo>
                      <a:lnTo>
                        <a:pt x="9706" y="7222"/>
                      </a:lnTo>
                      <a:lnTo>
                        <a:pt x="9430" y="7222"/>
                      </a:lnTo>
                      <a:lnTo>
                        <a:pt x="9200" y="7130"/>
                      </a:lnTo>
                      <a:lnTo>
                        <a:pt x="9154" y="7314"/>
                      </a:lnTo>
                      <a:lnTo>
                        <a:pt x="8970" y="7314"/>
                      </a:lnTo>
                      <a:lnTo>
                        <a:pt x="8924" y="7314"/>
                      </a:lnTo>
                      <a:lnTo>
                        <a:pt x="8786" y="7406"/>
                      </a:lnTo>
                      <a:lnTo>
                        <a:pt x="8648" y="7452"/>
                      </a:lnTo>
                      <a:lnTo>
                        <a:pt x="8510" y="7498"/>
                      </a:lnTo>
                      <a:lnTo>
                        <a:pt x="8326" y="7498"/>
                      </a:lnTo>
                      <a:lnTo>
                        <a:pt x="8188" y="7452"/>
                      </a:lnTo>
                      <a:lnTo>
                        <a:pt x="8050" y="7406"/>
                      </a:lnTo>
                      <a:lnTo>
                        <a:pt x="7912" y="7314"/>
                      </a:lnTo>
                      <a:lnTo>
                        <a:pt x="7774" y="7176"/>
                      </a:lnTo>
                      <a:lnTo>
                        <a:pt x="7682" y="7314"/>
                      </a:lnTo>
                      <a:lnTo>
                        <a:pt x="7590" y="7452"/>
                      </a:lnTo>
                      <a:lnTo>
                        <a:pt x="7452" y="7544"/>
                      </a:lnTo>
                      <a:lnTo>
                        <a:pt x="7314" y="7636"/>
                      </a:lnTo>
                      <a:lnTo>
                        <a:pt x="7176" y="7682"/>
                      </a:lnTo>
                      <a:lnTo>
                        <a:pt x="6992" y="7682"/>
                      </a:lnTo>
                      <a:lnTo>
                        <a:pt x="6855" y="7682"/>
                      </a:lnTo>
                      <a:lnTo>
                        <a:pt x="6670" y="7636"/>
                      </a:lnTo>
                      <a:lnTo>
                        <a:pt x="6532" y="7544"/>
                      </a:lnTo>
                      <a:lnTo>
                        <a:pt x="6394" y="7452"/>
                      </a:lnTo>
                      <a:lnTo>
                        <a:pt x="6302" y="7314"/>
                      </a:lnTo>
                      <a:lnTo>
                        <a:pt x="6209" y="7176"/>
                      </a:lnTo>
                      <a:lnTo>
                        <a:pt x="6209" y="7130"/>
                      </a:lnTo>
                      <a:lnTo>
                        <a:pt x="6164" y="7130"/>
                      </a:lnTo>
                      <a:lnTo>
                        <a:pt x="5658" y="7130"/>
                      </a:lnTo>
                      <a:close/>
                      <a:moveTo>
                        <a:pt x="14306" y="7314"/>
                      </a:moveTo>
                      <a:lnTo>
                        <a:pt x="14444" y="7176"/>
                      </a:lnTo>
                      <a:lnTo>
                        <a:pt x="14352" y="7130"/>
                      </a:lnTo>
                      <a:lnTo>
                        <a:pt x="14306" y="731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nvGrpSpPr>
                <p:cNvPr id="66" name="组合 78"/>
                <p:cNvGrpSpPr/>
                <p:nvPr/>
              </p:nvGrpSpPr>
              <p:grpSpPr>
                <a:xfrm>
                  <a:off x="7719256" y="2247899"/>
                  <a:ext cx="169505" cy="161441"/>
                  <a:chOff x="7198556" y="1523999"/>
                  <a:chExt cx="169505" cy="161441"/>
                </a:xfrm>
                <a:grpFill/>
              </p:grpSpPr>
              <p:sp>
                <p:nvSpPr>
                  <p:cNvPr id="80" name="Freeform 63"/>
                  <p:cNvSpPr>
                    <a:spLocks/>
                  </p:cNvSpPr>
                  <p:nvPr/>
                </p:nvSpPr>
                <p:spPr bwMode="auto">
                  <a:xfrm>
                    <a:off x="7198556" y="1563536"/>
                    <a:ext cx="126227" cy="120807"/>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81" name="Freeform 64"/>
                  <p:cNvSpPr>
                    <a:spLocks/>
                  </p:cNvSpPr>
                  <p:nvPr/>
                </p:nvSpPr>
                <p:spPr bwMode="auto">
                  <a:xfrm>
                    <a:off x="7199758" y="1523999"/>
                    <a:ext cx="168303" cy="161441"/>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grpSp>
            <p:nvGrpSpPr>
              <p:cNvPr id="67" name="组合 81"/>
              <p:cNvGrpSpPr/>
              <p:nvPr/>
            </p:nvGrpSpPr>
            <p:grpSpPr>
              <a:xfrm>
                <a:off x="10016238" y="2668524"/>
                <a:ext cx="557380" cy="850900"/>
                <a:chOff x="8385481" y="2209800"/>
                <a:chExt cx="557380" cy="850900"/>
              </a:xfrm>
              <a:solidFill>
                <a:srgbClr val="00B0F0"/>
              </a:solidFill>
            </p:grpSpPr>
            <p:grpSp>
              <p:nvGrpSpPr>
                <p:cNvPr id="68" name="组合 82"/>
                <p:cNvGrpSpPr/>
                <p:nvPr/>
              </p:nvGrpSpPr>
              <p:grpSpPr>
                <a:xfrm>
                  <a:off x="8773356" y="2222499"/>
                  <a:ext cx="169505" cy="161441"/>
                  <a:chOff x="7198556" y="1523999"/>
                  <a:chExt cx="169505" cy="161441"/>
                </a:xfrm>
                <a:grpFill/>
              </p:grpSpPr>
              <p:sp>
                <p:nvSpPr>
                  <p:cNvPr id="96" name="Freeform 63"/>
                  <p:cNvSpPr>
                    <a:spLocks/>
                  </p:cNvSpPr>
                  <p:nvPr/>
                </p:nvSpPr>
                <p:spPr bwMode="auto">
                  <a:xfrm>
                    <a:off x="7198556" y="1563536"/>
                    <a:ext cx="126227" cy="120807"/>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97" name="Freeform 64"/>
                  <p:cNvSpPr>
                    <a:spLocks/>
                  </p:cNvSpPr>
                  <p:nvPr/>
                </p:nvSpPr>
                <p:spPr bwMode="auto">
                  <a:xfrm>
                    <a:off x="7199758" y="1523999"/>
                    <a:ext cx="168303" cy="161441"/>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77" name="组合 83"/>
                <p:cNvGrpSpPr/>
                <p:nvPr/>
              </p:nvGrpSpPr>
              <p:grpSpPr>
                <a:xfrm>
                  <a:off x="8385481" y="2209800"/>
                  <a:ext cx="364820" cy="850900"/>
                  <a:chOff x="8588680" y="2159000"/>
                  <a:chExt cx="484151" cy="1016000"/>
                </a:xfrm>
                <a:grpFill/>
              </p:grpSpPr>
              <p:grpSp>
                <p:nvGrpSpPr>
                  <p:cNvPr id="79" name="组合 232"/>
                  <p:cNvGrpSpPr/>
                  <p:nvPr/>
                </p:nvGrpSpPr>
                <p:grpSpPr>
                  <a:xfrm>
                    <a:off x="8588680" y="2457450"/>
                    <a:ext cx="484151" cy="431048"/>
                    <a:chOff x="-6780213" y="3398838"/>
                    <a:chExt cx="819150" cy="819150"/>
                  </a:xfrm>
                  <a:grpFill/>
                </p:grpSpPr>
                <p:sp>
                  <p:nvSpPr>
                    <p:cNvPr id="88" name="Freeform 535"/>
                    <p:cNvSpPr>
                      <a:spLocks noEditPoints="1"/>
                    </p:cNvSpPr>
                    <p:nvPr/>
                  </p:nvSpPr>
                  <p:spPr bwMode="auto">
                    <a:xfrm>
                      <a:off x="-6780213" y="3398838"/>
                      <a:ext cx="819150" cy="819150"/>
                    </a:xfrm>
                    <a:custGeom>
                      <a:avLst/>
                      <a:gdLst/>
                      <a:ahLst/>
                      <a:cxnLst>
                        <a:cxn ang="0">
                          <a:pos x="1" y="284"/>
                        </a:cxn>
                        <a:cxn ang="0">
                          <a:pos x="21" y="358"/>
                        </a:cxn>
                        <a:cxn ang="0">
                          <a:pos x="59" y="423"/>
                        </a:cxn>
                        <a:cxn ang="0">
                          <a:pos x="114" y="472"/>
                        </a:cxn>
                        <a:cxn ang="0">
                          <a:pos x="181" y="505"/>
                        </a:cxn>
                        <a:cxn ang="0">
                          <a:pos x="258" y="516"/>
                        </a:cxn>
                        <a:cxn ang="0">
                          <a:pos x="310" y="511"/>
                        </a:cxn>
                        <a:cxn ang="0">
                          <a:pos x="382" y="485"/>
                        </a:cxn>
                        <a:cxn ang="0">
                          <a:pos x="441" y="441"/>
                        </a:cxn>
                        <a:cxn ang="0">
                          <a:pos x="485" y="382"/>
                        </a:cxn>
                        <a:cxn ang="0">
                          <a:pos x="511" y="310"/>
                        </a:cxn>
                        <a:cxn ang="0">
                          <a:pos x="516" y="258"/>
                        </a:cxn>
                        <a:cxn ang="0">
                          <a:pos x="505" y="181"/>
                        </a:cxn>
                        <a:cxn ang="0">
                          <a:pos x="472" y="114"/>
                        </a:cxn>
                        <a:cxn ang="0">
                          <a:pos x="423" y="59"/>
                        </a:cxn>
                        <a:cxn ang="0">
                          <a:pos x="358" y="20"/>
                        </a:cxn>
                        <a:cxn ang="0">
                          <a:pos x="284" y="1"/>
                        </a:cxn>
                        <a:cxn ang="0">
                          <a:pos x="232" y="1"/>
                        </a:cxn>
                        <a:cxn ang="0">
                          <a:pos x="158" y="20"/>
                        </a:cxn>
                        <a:cxn ang="0">
                          <a:pos x="95" y="59"/>
                        </a:cxn>
                        <a:cxn ang="0">
                          <a:pos x="44" y="114"/>
                        </a:cxn>
                        <a:cxn ang="0">
                          <a:pos x="12" y="181"/>
                        </a:cxn>
                        <a:cxn ang="0">
                          <a:pos x="0" y="258"/>
                        </a:cxn>
                        <a:cxn ang="0">
                          <a:pos x="45" y="258"/>
                        </a:cxn>
                        <a:cxn ang="0">
                          <a:pos x="55" y="195"/>
                        </a:cxn>
                        <a:cxn ang="0">
                          <a:pos x="81" y="139"/>
                        </a:cxn>
                        <a:cxn ang="0">
                          <a:pos x="122" y="93"/>
                        </a:cxn>
                        <a:cxn ang="0">
                          <a:pos x="176" y="62"/>
                        </a:cxn>
                        <a:cxn ang="0">
                          <a:pos x="236" y="45"/>
                        </a:cxn>
                        <a:cxn ang="0">
                          <a:pos x="280" y="45"/>
                        </a:cxn>
                        <a:cxn ang="0">
                          <a:pos x="342" y="62"/>
                        </a:cxn>
                        <a:cxn ang="0">
                          <a:pos x="394" y="93"/>
                        </a:cxn>
                        <a:cxn ang="0">
                          <a:pos x="435" y="139"/>
                        </a:cxn>
                        <a:cxn ang="0">
                          <a:pos x="463" y="195"/>
                        </a:cxn>
                        <a:cxn ang="0">
                          <a:pos x="472" y="258"/>
                        </a:cxn>
                        <a:cxn ang="0">
                          <a:pos x="467" y="301"/>
                        </a:cxn>
                        <a:cxn ang="0">
                          <a:pos x="446" y="360"/>
                        </a:cxn>
                        <a:cxn ang="0">
                          <a:pos x="409" y="409"/>
                        </a:cxn>
                        <a:cxn ang="0">
                          <a:pos x="360" y="446"/>
                        </a:cxn>
                        <a:cxn ang="0">
                          <a:pos x="301" y="467"/>
                        </a:cxn>
                        <a:cxn ang="0">
                          <a:pos x="258" y="472"/>
                        </a:cxn>
                        <a:cxn ang="0">
                          <a:pos x="195" y="463"/>
                        </a:cxn>
                        <a:cxn ang="0">
                          <a:pos x="139" y="435"/>
                        </a:cxn>
                        <a:cxn ang="0">
                          <a:pos x="93" y="394"/>
                        </a:cxn>
                        <a:cxn ang="0">
                          <a:pos x="62" y="342"/>
                        </a:cxn>
                        <a:cxn ang="0">
                          <a:pos x="45" y="280"/>
                        </a:cxn>
                      </a:cxnLst>
                      <a:rect l="0" t="0" r="r" b="b"/>
                      <a:pathLst>
                        <a:path w="516" h="516">
                          <a:moveTo>
                            <a:pt x="0" y="258"/>
                          </a:moveTo>
                          <a:lnTo>
                            <a:pt x="0" y="258"/>
                          </a:lnTo>
                          <a:lnTo>
                            <a:pt x="1" y="284"/>
                          </a:lnTo>
                          <a:lnTo>
                            <a:pt x="5" y="310"/>
                          </a:lnTo>
                          <a:lnTo>
                            <a:pt x="12" y="335"/>
                          </a:lnTo>
                          <a:lnTo>
                            <a:pt x="21" y="358"/>
                          </a:lnTo>
                          <a:lnTo>
                            <a:pt x="31" y="382"/>
                          </a:lnTo>
                          <a:lnTo>
                            <a:pt x="44" y="402"/>
                          </a:lnTo>
                          <a:lnTo>
                            <a:pt x="59" y="423"/>
                          </a:lnTo>
                          <a:lnTo>
                            <a:pt x="75" y="441"/>
                          </a:lnTo>
                          <a:lnTo>
                            <a:pt x="95" y="457"/>
                          </a:lnTo>
                          <a:lnTo>
                            <a:pt x="114" y="472"/>
                          </a:lnTo>
                          <a:lnTo>
                            <a:pt x="136" y="485"/>
                          </a:lnTo>
                          <a:lnTo>
                            <a:pt x="158" y="496"/>
                          </a:lnTo>
                          <a:lnTo>
                            <a:pt x="181" y="505"/>
                          </a:lnTo>
                          <a:lnTo>
                            <a:pt x="206" y="511"/>
                          </a:lnTo>
                          <a:lnTo>
                            <a:pt x="232" y="515"/>
                          </a:lnTo>
                          <a:lnTo>
                            <a:pt x="258" y="516"/>
                          </a:lnTo>
                          <a:lnTo>
                            <a:pt x="258" y="516"/>
                          </a:lnTo>
                          <a:lnTo>
                            <a:pt x="284" y="515"/>
                          </a:lnTo>
                          <a:lnTo>
                            <a:pt x="310" y="511"/>
                          </a:lnTo>
                          <a:lnTo>
                            <a:pt x="335" y="505"/>
                          </a:lnTo>
                          <a:lnTo>
                            <a:pt x="358" y="496"/>
                          </a:lnTo>
                          <a:lnTo>
                            <a:pt x="382" y="485"/>
                          </a:lnTo>
                          <a:lnTo>
                            <a:pt x="402" y="472"/>
                          </a:lnTo>
                          <a:lnTo>
                            <a:pt x="423" y="457"/>
                          </a:lnTo>
                          <a:lnTo>
                            <a:pt x="441" y="441"/>
                          </a:lnTo>
                          <a:lnTo>
                            <a:pt x="457" y="423"/>
                          </a:lnTo>
                          <a:lnTo>
                            <a:pt x="472" y="402"/>
                          </a:lnTo>
                          <a:lnTo>
                            <a:pt x="485" y="382"/>
                          </a:lnTo>
                          <a:lnTo>
                            <a:pt x="496" y="358"/>
                          </a:lnTo>
                          <a:lnTo>
                            <a:pt x="505" y="335"/>
                          </a:lnTo>
                          <a:lnTo>
                            <a:pt x="511" y="310"/>
                          </a:lnTo>
                          <a:lnTo>
                            <a:pt x="515" y="284"/>
                          </a:lnTo>
                          <a:lnTo>
                            <a:pt x="516" y="258"/>
                          </a:lnTo>
                          <a:lnTo>
                            <a:pt x="516" y="258"/>
                          </a:lnTo>
                          <a:lnTo>
                            <a:pt x="515" y="232"/>
                          </a:lnTo>
                          <a:lnTo>
                            <a:pt x="511" y="206"/>
                          </a:lnTo>
                          <a:lnTo>
                            <a:pt x="505" y="181"/>
                          </a:lnTo>
                          <a:lnTo>
                            <a:pt x="496" y="158"/>
                          </a:lnTo>
                          <a:lnTo>
                            <a:pt x="485" y="136"/>
                          </a:lnTo>
                          <a:lnTo>
                            <a:pt x="472" y="114"/>
                          </a:lnTo>
                          <a:lnTo>
                            <a:pt x="457" y="95"/>
                          </a:lnTo>
                          <a:lnTo>
                            <a:pt x="441" y="75"/>
                          </a:lnTo>
                          <a:lnTo>
                            <a:pt x="423" y="59"/>
                          </a:lnTo>
                          <a:lnTo>
                            <a:pt x="402" y="44"/>
                          </a:lnTo>
                          <a:lnTo>
                            <a:pt x="382" y="31"/>
                          </a:lnTo>
                          <a:lnTo>
                            <a:pt x="358" y="20"/>
                          </a:lnTo>
                          <a:lnTo>
                            <a:pt x="335" y="12"/>
                          </a:lnTo>
                          <a:lnTo>
                            <a:pt x="310" y="5"/>
                          </a:lnTo>
                          <a:lnTo>
                            <a:pt x="284" y="1"/>
                          </a:lnTo>
                          <a:lnTo>
                            <a:pt x="258" y="0"/>
                          </a:lnTo>
                          <a:lnTo>
                            <a:pt x="258" y="0"/>
                          </a:lnTo>
                          <a:lnTo>
                            <a:pt x="232" y="1"/>
                          </a:lnTo>
                          <a:lnTo>
                            <a:pt x="206" y="5"/>
                          </a:lnTo>
                          <a:lnTo>
                            <a:pt x="181" y="12"/>
                          </a:lnTo>
                          <a:lnTo>
                            <a:pt x="158" y="20"/>
                          </a:lnTo>
                          <a:lnTo>
                            <a:pt x="136" y="31"/>
                          </a:lnTo>
                          <a:lnTo>
                            <a:pt x="114" y="44"/>
                          </a:lnTo>
                          <a:lnTo>
                            <a:pt x="95" y="59"/>
                          </a:lnTo>
                          <a:lnTo>
                            <a:pt x="75" y="75"/>
                          </a:lnTo>
                          <a:lnTo>
                            <a:pt x="59" y="95"/>
                          </a:lnTo>
                          <a:lnTo>
                            <a:pt x="44" y="114"/>
                          </a:lnTo>
                          <a:lnTo>
                            <a:pt x="31" y="136"/>
                          </a:lnTo>
                          <a:lnTo>
                            <a:pt x="21" y="158"/>
                          </a:lnTo>
                          <a:lnTo>
                            <a:pt x="12" y="181"/>
                          </a:lnTo>
                          <a:lnTo>
                            <a:pt x="5" y="206"/>
                          </a:lnTo>
                          <a:lnTo>
                            <a:pt x="1" y="232"/>
                          </a:lnTo>
                          <a:lnTo>
                            <a:pt x="0" y="258"/>
                          </a:lnTo>
                          <a:lnTo>
                            <a:pt x="0" y="258"/>
                          </a:lnTo>
                          <a:close/>
                          <a:moveTo>
                            <a:pt x="45" y="258"/>
                          </a:moveTo>
                          <a:lnTo>
                            <a:pt x="45" y="258"/>
                          </a:lnTo>
                          <a:lnTo>
                            <a:pt x="45" y="236"/>
                          </a:lnTo>
                          <a:lnTo>
                            <a:pt x="49" y="216"/>
                          </a:lnTo>
                          <a:lnTo>
                            <a:pt x="55" y="195"/>
                          </a:lnTo>
                          <a:lnTo>
                            <a:pt x="62" y="176"/>
                          </a:lnTo>
                          <a:lnTo>
                            <a:pt x="70" y="156"/>
                          </a:lnTo>
                          <a:lnTo>
                            <a:pt x="81" y="139"/>
                          </a:lnTo>
                          <a:lnTo>
                            <a:pt x="93" y="122"/>
                          </a:lnTo>
                          <a:lnTo>
                            <a:pt x="107" y="107"/>
                          </a:lnTo>
                          <a:lnTo>
                            <a:pt x="122" y="93"/>
                          </a:lnTo>
                          <a:lnTo>
                            <a:pt x="139" y="81"/>
                          </a:lnTo>
                          <a:lnTo>
                            <a:pt x="157" y="70"/>
                          </a:lnTo>
                          <a:lnTo>
                            <a:pt x="176" y="62"/>
                          </a:lnTo>
                          <a:lnTo>
                            <a:pt x="195" y="55"/>
                          </a:lnTo>
                          <a:lnTo>
                            <a:pt x="216" y="49"/>
                          </a:lnTo>
                          <a:lnTo>
                            <a:pt x="236" y="45"/>
                          </a:lnTo>
                          <a:lnTo>
                            <a:pt x="258" y="45"/>
                          </a:lnTo>
                          <a:lnTo>
                            <a:pt x="258" y="45"/>
                          </a:lnTo>
                          <a:lnTo>
                            <a:pt x="280" y="45"/>
                          </a:lnTo>
                          <a:lnTo>
                            <a:pt x="301" y="49"/>
                          </a:lnTo>
                          <a:lnTo>
                            <a:pt x="321" y="55"/>
                          </a:lnTo>
                          <a:lnTo>
                            <a:pt x="342" y="62"/>
                          </a:lnTo>
                          <a:lnTo>
                            <a:pt x="360" y="70"/>
                          </a:lnTo>
                          <a:lnTo>
                            <a:pt x="378" y="81"/>
                          </a:lnTo>
                          <a:lnTo>
                            <a:pt x="394" y="93"/>
                          </a:lnTo>
                          <a:lnTo>
                            <a:pt x="409" y="107"/>
                          </a:lnTo>
                          <a:lnTo>
                            <a:pt x="423" y="122"/>
                          </a:lnTo>
                          <a:lnTo>
                            <a:pt x="435" y="139"/>
                          </a:lnTo>
                          <a:lnTo>
                            <a:pt x="446" y="156"/>
                          </a:lnTo>
                          <a:lnTo>
                            <a:pt x="455" y="176"/>
                          </a:lnTo>
                          <a:lnTo>
                            <a:pt x="463" y="195"/>
                          </a:lnTo>
                          <a:lnTo>
                            <a:pt x="467" y="216"/>
                          </a:lnTo>
                          <a:lnTo>
                            <a:pt x="471" y="236"/>
                          </a:lnTo>
                          <a:lnTo>
                            <a:pt x="472" y="258"/>
                          </a:lnTo>
                          <a:lnTo>
                            <a:pt x="472" y="258"/>
                          </a:lnTo>
                          <a:lnTo>
                            <a:pt x="471" y="280"/>
                          </a:lnTo>
                          <a:lnTo>
                            <a:pt x="467" y="301"/>
                          </a:lnTo>
                          <a:lnTo>
                            <a:pt x="463" y="321"/>
                          </a:lnTo>
                          <a:lnTo>
                            <a:pt x="455" y="342"/>
                          </a:lnTo>
                          <a:lnTo>
                            <a:pt x="446" y="360"/>
                          </a:lnTo>
                          <a:lnTo>
                            <a:pt x="435" y="378"/>
                          </a:lnTo>
                          <a:lnTo>
                            <a:pt x="423" y="394"/>
                          </a:lnTo>
                          <a:lnTo>
                            <a:pt x="409" y="409"/>
                          </a:lnTo>
                          <a:lnTo>
                            <a:pt x="394" y="423"/>
                          </a:lnTo>
                          <a:lnTo>
                            <a:pt x="378" y="435"/>
                          </a:lnTo>
                          <a:lnTo>
                            <a:pt x="360" y="446"/>
                          </a:lnTo>
                          <a:lnTo>
                            <a:pt x="342" y="455"/>
                          </a:lnTo>
                          <a:lnTo>
                            <a:pt x="321" y="463"/>
                          </a:lnTo>
                          <a:lnTo>
                            <a:pt x="301" y="467"/>
                          </a:lnTo>
                          <a:lnTo>
                            <a:pt x="280" y="471"/>
                          </a:lnTo>
                          <a:lnTo>
                            <a:pt x="258" y="472"/>
                          </a:lnTo>
                          <a:lnTo>
                            <a:pt x="258" y="472"/>
                          </a:lnTo>
                          <a:lnTo>
                            <a:pt x="236" y="471"/>
                          </a:lnTo>
                          <a:lnTo>
                            <a:pt x="216" y="467"/>
                          </a:lnTo>
                          <a:lnTo>
                            <a:pt x="195" y="463"/>
                          </a:lnTo>
                          <a:lnTo>
                            <a:pt x="176" y="455"/>
                          </a:lnTo>
                          <a:lnTo>
                            <a:pt x="157" y="446"/>
                          </a:lnTo>
                          <a:lnTo>
                            <a:pt x="139" y="435"/>
                          </a:lnTo>
                          <a:lnTo>
                            <a:pt x="122" y="423"/>
                          </a:lnTo>
                          <a:lnTo>
                            <a:pt x="107" y="409"/>
                          </a:lnTo>
                          <a:lnTo>
                            <a:pt x="93" y="394"/>
                          </a:lnTo>
                          <a:lnTo>
                            <a:pt x="81" y="378"/>
                          </a:lnTo>
                          <a:lnTo>
                            <a:pt x="70" y="360"/>
                          </a:lnTo>
                          <a:lnTo>
                            <a:pt x="62" y="342"/>
                          </a:lnTo>
                          <a:lnTo>
                            <a:pt x="55" y="321"/>
                          </a:lnTo>
                          <a:lnTo>
                            <a:pt x="49" y="301"/>
                          </a:lnTo>
                          <a:lnTo>
                            <a:pt x="45" y="280"/>
                          </a:lnTo>
                          <a:lnTo>
                            <a:pt x="45" y="258"/>
                          </a:lnTo>
                          <a:lnTo>
                            <a:pt x="45" y="258"/>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89" name="Freeform 536"/>
                    <p:cNvSpPr>
                      <a:spLocks/>
                    </p:cNvSpPr>
                    <p:nvPr/>
                  </p:nvSpPr>
                  <p:spPr bwMode="auto">
                    <a:xfrm>
                      <a:off x="-6418263" y="3760788"/>
                      <a:ext cx="95250" cy="95250"/>
                    </a:xfrm>
                    <a:custGeom>
                      <a:avLst/>
                      <a:gdLst/>
                      <a:ahLst/>
                      <a:cxnLst>
                        <a:cxn ang="0">
                          <a:pos x="60" y="30"/>
                        </a:cxn>
                        <a:cxn ang="0">
                          <a:pos x="60" y="30"/>
                        </a:cxn>
                        <a:cxn ang="0">
                          <a:pos x="59" y="36"/>
                        </a:cxn>
                        <a:cxn ang="0">
                          <a:pos x="58" y="43"/>
                        </a:cxn>
                        <a:cxn ang="0">
                          <a:pos x="55" y="47"/>
                        </a:cxn>
                        <a:cxn ang="0">
                          <a:pos x="51" y="51"/>
                        </a:cxn>
                        <a:cxn ang="0">
                          <a:pos x="47" y="55"/>
                        </a:cxn>
                        <a:cxn ang="0">
                          <a:pos x="43" y="58"/>
                        </a:cxn>
                        <a:cxn ang="0">
                          <a:pos x="36" y="59"/>
                        </a:cxn>
                        <a:cxn ang="0">
                          <a:pos x="30" y="60"/>
                        </a:cxn>
                        <a:cxn ang="0">
                          <a:pos x="30" y="60"/>
                        </a:cxn>
                        <a:cxn ang="0">
                          <a:pos x="25" y="59"/>
                        </a:cxn>
                        <a:cxn ang="0">
                          <a:pos x="19" y="58"/>
                        </a:cxn>
                        <a:cxn ang="0">
                          <a:pos x="14" y="55"/>
                        </a:cxn>
                        <a:cxn ang="0">
                          <a:pos x="10" y="51"/>
                        </a:cxn>
                        <a:cxn ang="0">
                          <a:pos x="5" y="47"/>
                        </a:cxn>
                        <a:cxn ang="0">
                          <a:pos x="3" y="43"/>
                        </a:cxn>
                        <a:cxn ang="0">
                          <a:pos x="1" y="36"/>
                        </a:cxn>
                        <a:cxn ang="0">
                          <a:pos x="0" y="30"/>
                        </a:cxn>
                        <a:cxn ang="0">
                          <a:pos x="0" y="30"/>
                        </a:cxn>
                        <a:cxn ang="0">
                          <a:pos x="1" y="25"/>
                        </a:cxn>
                        <a:cxn ang="0">
                          <a:pos x="3" y="19"/>
                        </a:cxn>
                        <a:cxn ang="0">
                          <a:pos x="5" y="14"/>
                        </a:cxn>
                        <a:cxn ang="0">
                          <a:pos x="10" y="10"/>
                        </a:cxn>
                        <a:cxn ang="0">
                          <a:pos x="14" y="5"/>
                        </a:cxn>
                        <a:cxn ang="0">
                          <a:pos x="19" y="3"/>
                        </a:cxn>
                        <a:cxn ang="0">
                          <a:pos x="25" y="1"/>
                        </a:cxn>
                        <a:cxn ang="0">
                          <a:pos x="30" y="0"/>
                        </a:cxn>
                        <a:cxn ang="0">
                          <a:pos x="30" y="0"/>
                        </a:cxn>
                        <a:cxn ang="0">
                          <a:pos x="36" y="1"/>
                        </a:cxn>
                        <a:cxn ang="0">
                          <a:pos x="43" y="3"/>
                        </a:cxn>
                        <a:cxn ang="0">
                          <a:pos x="47" y="5"/>
                        </a:cxn>
                        <a:cxn ang="0">
                          <a:pos x="51" y="10"/>
                        </a:cxn>
                        <a:cxn ang="0">
                          <a:pos x="55" y="14"/>
                        </a:cxn>
                        <a:cxn ang="0">
                          <a:pos x="58" y="19"/>
                        </a:cxn>
                        <a:cxn ang="0">
                          <a:pos x="59" y="25"/>
                        </a:cxn>
                        <a:cxn ang="0">
                          <a:pos x="60" y="30"/>
                        </a:cxn>
                        <a:cxn ang="0">
                          <a:pos x="60" y="30"/>
                        </a:cxn>
                      </a:cxnLst>
                      <a:rect l="0" t="0" r="r" b="b"/>
                      <a:pathLst>
                        <a:path w="60" h="60">
                          <a:moveTo>
                            <a:pt x="60" y="30"/>
                          </a:moveTo>
                          <a:lnTo>
                            <a:pt x="60" y="30"/>
                          </a:lnTo>
                          <a:lnTo>
                            <a:pt x="59" y="36"/>
                          </a:lnTo>
                          <a:lnTo>
                            <a:pt x="58" y="43"/>
                          </a:lnTo>
                          <a:lnTo>
                            <a:pt x="55" y="47"/>
                          </a:lnTo>
                          <a:lnTo>
                            <a:pt x="51" y="51"/>
                          </a:lnTo>
                          <a:lnTo>
                            <a:pt x="47" y="55"/>
                          </a:lnTo>
                          <a:lnTo>
                            <a:pt x="43" y="58"/>
                          </a:lnTo>
                          <a:lnTo>
                            <a:pt x="36" y="59"/>
                          </a:lnTo>
                          <a:lnTo>
                            <a:pt x="30" y="60"/>
                          </a:lnTo>
                          <a:lnTo>
                            <a:pt x="30" y="60"/>
                          </a:lnTo>
                          <a:lnTo>
                            <a:pt x="25" y="59"/>
                          </a:lnTo>
                          <a:lnTo>
                            <a:pt x="19" y="58"/>
                          </a:lnTo>
                          <a:lnTo>
                            <a:pt x="14" y="55"/>
                          </a:lnTo>
                          <a:lnTo>
                            <a:pt x="10" y="51"/>
                          </a:lnTo>
                          <a:lnTo>
                            <a:pt x="5" y="47"/>
                          </a:lnTo>
                          <a:lnTo>
                            <a:pt x="3" y="43"/>
                          </a:lnTo>
                          <a:lnTo>
                            <a:pt x="1" y="36"/>
                          </a:lnTo>
                          <a:lnTo>
                            <a:pt x="0" y="30"/>
                          </a:lnTo>
                          <a:lnTo>
                            <a:pt x="0" y="30"/>
                          </a:lnTo>
                          <a:lnTo>
                            <a:pt x="1" y="25"/>
                          </a:lnTo>
                          <a:lnTo>
                            <a:pt x="3" y="19"/>
                          </a:lnTo>
                          <a:lnTo>
                            <a:pt x="5" y="14"/>
                          </a:lnTo>
                          <a:lnTo>
                            <a:pt x="10" y="10"/>
                          </a:lnTo>
                          <a:lnTo>
                            <a:pt x="14" y="5"/>
                          </a:lnTo>
                          <a:lnTo>
                            <a:pt x="19" y="3"/>
                          </a:lnTo>
                          <a:lnTo>
                            <a:pt x="25" y="1"/>
                          </a:lnTo>
                          <a:lnTo>
                            <a:pt x="30" y="0"/>
                          </a:lnTo>
                          <a:lnTo>
                            <a:pt x="30" y="0"/>
                          </a:lnTo>
                          <a:lnTo>
                            <a:pt x="36" y="1"/>
                          </a:lnTo>
                          <a:lnTo>
                            <a:pt x="43" y="3"/>
                          </a:lnTo>
                          <a:lnTo>
                            <a:pt x="47" y="5"/>
                          </a:lnTo>
                          <a:lnTo>
                            <a:pt x="51" y="10"/>
                          </a:lnTo>
                          <a:lnTo>
                            <a:pt x="55" y="14"/>
                          </a:lnTo>
                          <a:lnTo>
                            <a:pt x="58" y="19"/>
                          </a:lnTo>
                          <a:lnTo>
                            <a:pt x="59" y="25"/>
                          </a:lnTo>
                          <a:lnTo>
                            <a:pt x="60" y="30"/>
                          </a:lnTo>
                          <a:lnTo>
                            <a:pt x="60" y="3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90" name="Freeform 537"/>
                    <p:cNvSpPr>
                      <a:spLocks/>
                    </p:cNvSpPr>
                    <p:nvPr/>
                  </p:nvSpPr>
                  <p:spPr bwMode="auto">
                    <a:xfrm>
                      <a:off x="-6548438" y="3633788"/>
                      <a:ext cx="180975" cy="180975"/>
                    </a:xfrm>
                    <a:custGeom>
                      <a:avLst/>
                      <a:gdLst/>
                      <a:ahLst/>
                      <a:cxnLst>
                        <a:cxn ang="0">
                          <a:pos x="111" y="84"/>
                        </a:cxn>
                        <a:cxn ang="0">
                          <a:pos x="111" y="84"/>
                        </a:cxn>
                        <a:cxn ang="0">
                          <a:pos x="114" y="88"/>
                        </a:cxn>
                        <a:cxn ang="0">
                          <a:pos x="114" y="95"/>
                        </a:cxn>
                        <a:cxn ang="0">
                          <a:pos x="111" y="101"/>
                        </a:cxn>
                        <a:cxn ang="0">
                          <a:pos x="107" y="106"/>
                        </a:cxn>
                        <a:cxn ang="0">
                          <a:pos x="105" y="107"/>
                        </a:cxn>
                        <a:cxn ang="0">
                          <a:pos x="105" y="107"/>
                        </a:cxn>
                        <a:cxn ang="0">
                          <a:pos x="100" y="112"/>
                        </a:cxn>
                        <a:cxn ang="0">
                          <a:pos x="94" y="114"/>
                        </a:cxn>
                        <a:cxn ang="0">
                          <a:pos x="87" y="114"/>
                        </a:cxn>
                        <a:cxn ang="0">
                          <a:pos x="83" y="112"/>
                        </a:cxn>
                        <a:cxn ang="0">
                          <a:pos x="2" y="29"/>
                        </a:cxn>
                        <a:cxn ang="0">
                          <a:pos x="2" y="29"/>
                        </a:cxn>
                        <a:cxn ang="0">
                          <a:pos x="0" y="25"/>
                        </a:cxn>
                        <a:cxn ang="0">
                          <a:pos x="0" y="19"/>
                        </a:cxn>
                        <a:cxn ang="0">
                          <a:pos x="1" y="14"/>
                        </a:cxn>
                        <a:cxn ang="0">
                          <a:pos x="5" y="7"/>
                        </a:cxn>
                        <a:cxn ang="0">
                          <a:pos x="6" y="6"/>
                        </a:cxn>
                        <a:cxn ang="0">
                          <a:pos x="6" y="6"/>
                        </a:cxn>
                        <a:cxn ang="0">
                          <a:pos x="12" y="2"/>
                        </a:cxn>
                        <a:cxn ang="0">
                          <a:pos x="19" y="0"/>
                        </a:cxn>
                        <a:cxn ang="0">
                          <a:pos x="24" y="0"/>
                        </a:cxn>
                        <a:cxn ang="0">
                          <a:pos x="28" y="3"/>
                        </a:cxn>
                        <a:cxn ang="0">
                          <a:pos x="111" y="84"/>
                        </a:cxn>
                      </a:cxnLst>
                      <a:rect l="0" t="0" r="r" b="b"/>
                      <a:pathLst>
                        <a:path w="114" h="114">
                          <a:moveTo>
                            <a:pt x="111" y="84"/>
                          </a:moveTo>
                          <a:lnTo>
                            <a:pt x="111" y="84"/>
                          </a:lnTo>
                          <a:lnTo>
                            <a:pt x="114" y="88"/>
                          </a:lnTo>
                          <a:lnTo>
                            <a:pt x="114" y="95"/>
                          </a:lnTo>
                          <a:lnTo>
                            <a:pt x="111" y="101"/>
                          </a:lnTo>
                          <a:lnTo>
                            <a:pt x="107" y="106"/>
                          </a:lnTo>
                          <a:lnTo>
                            <a:pt x="105" y="107"/>
                          </a:lnTo>
                          <a:lnTo>
                            <a:pt x="105" y="107"/>
                          </a:lnTo>
                          <a:lnTo>
                            <a:pt x="100" y="112"/>
                          </a:lnTo>
                          <a:lnTo>
                            <a:pt x="94" y="114"/>
                          </a:lnTo>
                          <a:lnTo>
                            <a:pt x="87" y="114"/>
                          </a:lnTo>
                          <a:lnTo>
                            <a:pt x="83" y="112"/>
                          </a:lnTo>
                          <a:lnTo>
                            <a:pt x="2" y="29"/>
                          </a:lnTo>
                          <a:lnTo>
                            <a:pt x="2" y="29"/>
                          </a:lnTo>
                          <a:lnTo>
                            <a:pt x="0" y="25"/>
                          </a:lnTo>
                          <a:lnTo>
                            <a:pt x="0" y="19"/>
                          </a:lnTo>
                          <a:lnTo>
                            <a:pt x="1" y="14"/>
                          </a:lnTo>
                          <a:lnTo>
                            <a:pt x="5" y="7"/>
                          </a:lnTo>
                          <a:lnTo>
                            <a:pt x="6" y="6"/>
                          </a:lnTo>
                          <a:lnTo>
                            <a:pt x="6" y="6"/>
                          </a:lnTo>
                          <a:lnTo>
                            <a:pt x="12" y="2"/>
                          </a:lnTo>
                          <a:lnTo>
                            <a:pt x="19" y="0"/>
                          </a:lnTo>
                          <a:lnTo>
                            <a:pt x="24" y="0"/>
                          </a:lnTo>
                          <a:lnTo>
                            <a:pt x="28" y="3"/>
                          </a:lnTo>
                          <a:lnTo>
                            <a:pt x="111" y="8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91" name="Freeform 538"/>
                    <p:cNvSpPr>
                      <a:spLocks/>
                    </p:cNvSpPr>
                    <p:nvPr/>
                  </p:nvSpPr>
                  <p:spPr bwMode="auto">
                    <a:xfrm>
                      <a:off x="-6372226" y="3590926"/>
                      <a:ext cx="211138" cy="211138"/>
                    </a:xfrm>
                    <a:custGeom>
                      <a:avLst/>
                      <a:gdLst/>
                      <a:ahLst/>
                      <a:cxnLst>
                        <a:cxn ang="0">
                          <a:pos x="123" y="0"/>
                        </a:cxn>
                        <a:cxn ang="0">
                          <a:pos x="0" y="123"/>
                        </a:cxn>
                        <a:cxn ang="0">
                          <a:pos x="9" y="133"/>
                        </a:cxn>
                        <a:cxn ang="0">
                          <a:pos x="133" y="9"/>
                        </a:cxn>
                        <a:cxn ang="0">
                          <a:pos x="123" y="0"/>
                        </a:cxn>
                      </a:cxnLst>
                      <a:rect l="0" t="0" r="r" b="b"/>
                      <a:pathLst>
                        <a:path w="133" h="133">
                          <a:moveTo>
                            <a:pt x="123" y="0"/>
                          </a:moveTo>
                          <a:lnTo>
                            <a:pt x="0" y="123"/>
                          </a:lnTo>
                          <a:lnTo>
                            <a:pt x="9" y="133"/>
                          </a:lnTo>
                          <a:lnTo>
                            <a:pt x="133" y="9"/>
                          </a:lnTo>
                          <a:lnTo>
                            <a:pt x="123"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92" name="Rectangle 539"/>
                    <p:cNvSpPr>
                      <a:spLocks noChangeArrowheads="1"/>
                    </p:cNvSpPr>
                    <p:nvPr/>
                  </p:nvSpPr>
                  <p:spPr bwMode="auto">
                    <a:xfrm>
                      <a:off x="-6400801" y="4075113"/>
                      <a:ext cx="60325" cy="95250"/>
                    </a:xfrm>
                    <a:prstGeom prst="rect">
                      <a:avLst/>
                    </a:prstGeom>
                    <a:grpFill/>
                    <a:ln w="9525">
                      <a:noFill/>
                      <a:miter lim="800000"/>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93" name="Rectangle 540"/>
                    <p:cNvSpPr>
                      <a:spLocks noChangeArrowheads="1"/>
                    </p:cNvSpPr>
                    <p:nvPr/>
                  </p:nvSpPr>
                  <p:spPr bwMode="auto">
                    <a:xfrm>
                      <a:off x="-6400801" y="3446463"/>
                      <a:ext cx="60325" cy="96838"/>
                    </a:xfrm>
                    <a:prstGeom prst="rect">
                      <a:avLst/>
                    </a:prstGeom>
                    <a:grpFill/>
                    <a:ln w="9525">
                      <a:noFill/>
                      <a:miter lim="800000"/>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94" name="Rectangle 541"/>
                    <p:cNvSpPr>
                      <a:spLocks noChangeArrowheads="1"/>
                    </p:cNvSpPr>
                    <p:nvPr/>
                  </p:nvSpPr>
                  <p:spPr bwMode="auto">
                    <a:xfrm>
                      <a:off x="-6732588" y="3778251"/>
                      <a:ext cx="96838" cy="60325"/>
                    </a:xfrm>
                    <a:prstGeom prst="rect">
                      <a:avLst/>
                    </a:prstGeom>
                    <a:grpFill/>
                    <a:ln w="9525">
                      <a:noFill/>
                      <a:miter lim="800000"/>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95" name="Rectangle 542"/>
                    <p:cNvSpPr>
                      <a:spLocks noChangeArrowheads="1"/>
                    </p:cNvSpPr>
                    <p:nvPr/>
                  </p:nvSpPr>
                  <p:spPr bwMode="auto">
                    <a:xfrm>
                      <a:off x="-6103938" y="3778251"/>
                      <a:ext cx="95250" cy="60325"/>
                    </a:xfrm>
                    <a:prstGeom prst="rect">
                      <a:avLst/>
                    </a:prstGeom>
                    <a:grpFill/>
                    <a:ln w="9525">
                      <a:noFill/>
                      <a:miter lim="800000"/>
                      <a:headEnd/>
                      <a:tailEnd/>
                    </a:ln>
                  </p:spPr>
                  <p:txBody>
                    <a:bodyPr vert="horz" wrap="square" lIns="68574" tIns="34287" rIns="68574" bIns="34287" numCol="1" anchor="t" anchorCtr="0" compatLnSpc="1">
                      <a:prstTxWarp prst="textNoShape">
                        <a:avLst/>
                      </a:prstTxWarp>
                    </a:bodyPr>
                    <a:lstStyle/>
                    <a:p>
                      <a:endParaRPr lang="zh-CN" altLang="en-US"/>
                    </a:p>
                  </p:txBody>
                </p:sp>
              </p:grpSp>
              <p:sp>
                <p:nvSpPr>
                  <p:cNvPr id="86" name="矩形 85"/>
                  <p:cNvSpPr/>
                  <p:nvPr/>
                </p:nvSpPr>
                <p:spPr bwMode="auto">
                  <a:xfrm>
                    <a:off x="8712200" y="2159000"/>
                    <a:ext cx="203200" cy="317500"/>
                  </a:xfrm>
                  <a:prstGeom prst="rect">
                    <a:avLst/>
                  </a:prstGeom>
                  <a:grpFill/>
                  <a:ln w="9525" cap="flat" cmpd="sng" algn="ctr">
                    <a:no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endParaRPr lang="zh-CN" altLang="en-US" sz="1350" b="1" kern="0" dirty="0">
                      <a:solidFill>
                        <a:srgbClr val="FFFFFF"/>
                      </a:solidFill>
                      <a:latin typeface="FrutigerNext LT Medium" panose="020B0603040504020204" pitchFamily="34" charset="0"/>
                    </a:endParaRPr>
                  </a:p>
                </p:txBody>
              </p:sp>
              <p:sp>
                <p:nvSpPr>
                  <p:cNvPr id="87" name="矩形 86"/>
                  <p:cNvSpPr/>
                  <p:nvPr/>
                </p:nvSpPr>
                <p:spPr bwMode="auto">
                  <a:xfrm>
                    <a:off x="8737600" y="2857500"/>
                    <a:ext cx="203200" cy="317500"/>
                  </a:xfrm>
                  <a:prstGeom prst="rect">
                    <a:avLst/>
                  </a:prstGeom>
                  <a:grpFill/>
                  <a:ln w="9525" cap="flat" cmpd="sng" algn="ctr">
                    <a:noFill/>
                    <a:prstDash val="solid"/>
                  </a:ln>
                  <a:effectLst>
                    <a:outerShdw blurRad="40000" dist="23000" dir="5400000" rotWithShape="0">
                      <a:srgbClr val="000000">
                        <a:alpha val="35000"/>
                      </a:srgbClr>
                    </a:outerShdw>
                  </a:effectLst>
                  <a:extLst/>
                </p:spPr>
                <p:txBody>
                  <a:bodyPr lIns="51416" tIns="25708" rIns="51416" bIns="25708" rtlCol="0" anchor="ctr"/>
                  <a:lstStyle/>
                  <a:p>
                    <a:pPr marL="151734" indent="-151734" algn="ctr">
                      <a:buClr>
                        <a:srgbClr val="5F5F5F"/>
                      </a:buClr>
                      <a:buSzPct val="80000"/>
                    </a:pPr>
                    <a:endParaRPr lang="zh-CN" altLang="en-US" sz="1350" b="1" kern="0" dirty="0">
                      <a:solidFill>
                        <a:srgbClr val="FFFFFF"/>
                      </a:solidFill>
                      <a:latin typeface="FrutigerNext LT Medium" panose="020B0603040504020204" pitchFamily="34" charset="0"/>
                    </a:endParaRPr>
                  </a:p>
                </p:txBody>
              </p:sp>
            </p:grpSp>
          </p:grpSp>
          <p:grpSp>
            <p:nvGrpSpPr>
              <p:cNvPr id="82" name="组合 97"/>
              <p:cNvGrpSpPr/>
              <p:nvPr/>
            </p:nvGrpSpPr>
            <p:grpSpPr>
              <a:xfrm>
                <a:off x="10544285" y="3290533"/>
                <a:ext cx="655184" cy="777231"/>
                <a:chOff x="9227477" y="2324099"/>
                <a:chExt cx="655184" cy="777231"/>
              </a:xfrm>
              <a:solidFill>
                <a:srgbClr val="00B0F0"/>
              </a:solidFill>
            </p:grpSpPr>
            <p:grpSp>
              <p:nvGrpSpPr>
                <p:cNvPr id="83" name="组合 152"/>
                <p:cNvGrpSpPr/>
                <p:nvPr/>
              </p:nvGrpSpPr>
              <p:grpSpPr>
                <a:xfrm>
                  <a:off x="9227477" y="2464927"/>
                  <a:ext cx="510269" cy="636403"/>
                  <a:chOff x="10201275" y="5540375"/>
                  <a:chExt cx="282575" cy="352425"/>
                </a:xfrm>
                <a:grpFill/>
              </p:grpSpPr>
              <p:sp>
                <p:nvSpPr>
                  <p:cNvPr id="102" name="Freeform 65"/>
                  <p:cNvSpPr>
                    <a:spLocks noEditPoints="1"/>
                  </p:cNvSpPr>
                  <p:nvPr/>
                </p:nvSpPr>
                <p:spPr bwMode="auto">
                  <a:xfrm>
                    <a:off x="10201275" y="5673725"/>
                    <a:ext cx="282575" cy="219075"/>
                  </a:xfrm>
                  <a:custGeom>
                    <a:avLst/>
                    <a:gdLst/>
                    <a:ahLst/>
                    <a:cxnLst>
                      <a:cxn ang="0">
                        <a:pos x="178" y="22"/>
                      </a:cxn>
                      <a:cxn ang="0">
                        <a:pos x="176" y="14"/>
                      </a:cxn>
                      <a:cxn ang="0">
                        <a:pos x="164" y="2"/>
                      </a:cxn>
                      <a:cxn ang="0">
                        <a:pos x="22" y="0"/>
                      </a:cxn>
                      <a:cxn ang="0">
                        <a:pos x="14" y="2"/>
                      </a:cxn>
                      <a:cxn ang="0">
                        <a:pos x="2" y="14"/>
                      </a:cxn>
                      <a:cxn ang="0">
                        <a:pos x="0" y="118"/>
                      </a:cxn>
                      <a:cxn ang="0">
                        <a:pos x="2" y="126"/>
                      </a:cxn>
                      <a:cxn ang="0">
                        <a:pos x="14" y="138"/>
                      </a:cxn>
                      <a:cxn ang="0">
                        <a:pos x="156" y="138"/>
                      </a:cxn>
                      <a:cxn ang="0">
                        <a:pos x="164" y="138"/>
                      </a:cxn>
                      <a:cxn ang="0">
                        <a:pos x="176" y="126"/>
                      </a:cxn>
                      <a:cxn ang="0">
                        <a:pos x="178" y="112"/>
                      </a:cxn>
                      <a:cxn ang="0">
                        <a:pos x="150" y="100"/>
                      </a:cxn>
                      <a:cxn ang="0">
                        <a:pos x="178" y="84"/>
                      </a:cxn>
                      <a:cxn ang="0">
                        <a:pos x="150" y="72"/>
                      </a:cxn>
                      <a:cxn ang="0">
                        <a:pos x="178" y="54"/>
                      </a:cxn>
                      <a:cxn ang="0">
                        <a:pos x="150" y="44"/>
                      </a:cxn>
                      <a:cxn ang="0">
                        <a:pos x="96" y="80"/>
                      </a:cxn>
                      <a:cxn ang="0">
                        <a:pos x="96" y="96"/>
                      </a:cxn>
                      <a:cxn ang="0">
                        <a:pos x="90" y="102"/>
                      </a:cxn>
                      <a:cxn ang="0">
                        <a:pos x="84" y="100"/>
                      </a:cxn>
                      <a:cxn ang="0">
                        <a:pos x="82" y="80"/>
                      </a:cxn>
                      <a:cxn ang="0">
                        <a:pos x="78" y="78"/>
                      </a:cxn>
                      <a:cxn ang="0">
                        <a:pos x="72" y="70"/>
                      </a:cxn>
                      <a:cxn ang="0">
                        <a:pos x="72" y="64"/>
                      </a:cxn>
                      <a:cxn ang="0">
                        <a:pos x="76" y="52"/>
                      </a:cxn>
                      <a:cxn ang="0">
                        <a:pos x="90" y="46"/>
                      </a:cxn>
                      <a:cxn ang="0">
                        <a:pos x="96" y="48"/>
                      </a:cxn>
                      <a:cxn ang="0">
                        <a:pos x="106" y="58"/>
                      </a:cxn>
                      <a:cxn ang="0">
                        <a:pos x="108" y="64"/>
                      </a:cxn>
                      <a:cxn ang="0">
                        <a:pos x="104" y="74"/>
                      </a:cxn>
                      <a:cxn ang="0">
                        <a:pos x="96" y="80"/>
                      </a:cxn>
                    </a:cxnLst>
                    <a:rect l="0" t="0" r="r" b="b"/>
                    <a:pathLst>
                      <a:path w="178" h="138">
                        <a:moveTo>
                          <a:pt x="178" y="44"/>
                        </a:moveTo>
                        <a:lnTo>
                          <a:pt x="178" y="22"/>
                        </a:lnTo>
                        <a:lnTo>
                          <a:pt x="178" y="22"/>
                        </a:lnTo>
                        <a:lnTo>
                          <a:pt x="176" y="14"/>
                        </a:lnTo>
                        <a:lnTo>
                          <a:pt x="172" y="6"/>
                        </a:lnTo>
                        <a:lnTo>
                          <a:pt x="164" y="2"/>
                        </a:lnTo>
                        <a:lnTo>
                          <a:pt x="156" y="0"/>
                        </a:lnTo>
                        <a:lnTo>
                          <a:pt x="22" y="0"/>
                        </a:lnTo>
                        <a:lnTo>
                          <a:pt x="22" y="0"/>
                        </a:lnTo>
                        <a:lnTo>
                          <a:pt x="14" y="2"/>
                        </a:lnTo>
                        <a:lnTo>
                          <a:pt x="6" y="6"/>
                        </a:lnTo>
                        <a:lnTo>
                          <a:pt x="2" y="14"/>
                        </a:lnTo>
                        <a:lnTo>
                          <a:pt x="0" y="22"/>
                        </a:lnTo>
                        <a:lnTo>
                          <a:pt x="0" y="118"/>
                        </a:lnTo>
                        <a:lnTo>
                          <a:pt x="0" y="118"/>
                        </a:lnTo>
                        <a:lnTo>
                          <a:pt x="2" y="126"/>
                        </a:lnTo>
                        <a:lnTo>
                          <a:pt x="6" y="132"/>
                        </a:lnTo>
                        <a:lnTo>
                          <a:pt x="14" y="138"/>
                        </a:lnTo>
                        <a:lnTo>
                          <a:pt x="22" y="138"/>
                        </a:lnTo>
                        <a:lnTo>
                          <a:pt x="156" y="138"/>
                        </a:lnTo>
                        <a:lnTo>
                          <a:pt x="156" y="138"/>
                        </a:lnTo>
                        <a:lnTo>
                          <a:pt x="164" y="138"/>
                        </a:lnTo>
                        <a:lnTo>
                          <a:pt x="172" y="132"/>
                        </a:lnTo>
                        <a:lnTo>
                          <a:pt x="176" y="126"/>
                        </a:lnTo>
                        <a:lnTo>
                          <a:pt x="178" y="118"/>
                        </a:lnTo>
                        <a:lnTo>
                          <a:pt x="178" y="112"/>
                        </a:lnTo>
                        <a:lnTo>
                          <a:pt x="150" y="112"/>
                        </a:lnTo>
                        <a:lnTo>
                          <a:pt x="150" y="100"/>
                        </a:lnTo>
                        <a:lnTo>
                          <a:pt x="178" y="100"/>
                        </a:lnTo>
                        <a:lnTo>
                          <a:pt x="178" y="84"/>
                        </a:lnTo>
                        <a:lnTo>
                          <a:pt x="150" y="84"/>
                        </a:lnTo>
                        <a:lnTo>
                          <a:pt x="150" y="72"/>
                        </a:lnTo>
                        <a:lnTo>
                          <a:pt x="178" y="72"/>
                        </a:lnTo>
                        <a:lnTo>
                          <a:pt x="178" y="54"/>
                        </a:lnTo>
                        <a:lnTo>
                          <a:pt x="150" y="54"/>
                        </a:lnTo>
                        <a:lnTo>
                          <a:pt x="150" y="44"/>
                        </a:lnTo>
                        <a:lnTo>
                          <a:pt x="178" y="44"/>
                        </a:lnTo>
                        <a:close/>
                        <a:moveTo>
                          <a:pt x="96" y="80"/>
                        </a:moveTo>
                        <a:lnTo>
                          <a:pt x="96" y="96"/>
                        </a:lnTo>
                        <a:lnTo>
                          <a:pt x="96" y="96"/>
                        </a:lnTo>
                        <a:lnTo>
                          <a:pt x="94" y="100"/>
                        </a:lnTo>
                        <a:lnTo>
                          <a:pt x="90" y="102"/>
                        </a:lnTo>
                        <a:lnTo>
                          <a:pt x="90" y="102"/>
                        </a:lnTo>
                        <a:lnTo>
                          <a:pt x="84" y="100"/>
                        </a:lnTo>
                        <a:lnTo>
                          <a:pt x="82" y="96"/>
                        </a:lnTo>
                        <a:lnTo>
                          <a:pt x="82" y="80"/>
                        </a:lnTo>
                        <a:lnTo>
                          <a:pt x="82" y="80"/>
                        </a:lnTo>
                        <a:lnTo>
                          <a:pt x="78" y="78"/>
                        </a:lnTo>
                        <a:lnTo>
                          <a:pt x="74" y="74"/>
                        </a:lnTo>
                        <a:lnTo>
                          <a:pt x="72" y="70"/>
                        </a:lnTo>
                        <a:lnTo>
                          <a:pt x="72" y="64"/>
                        </a:lnTo>
                        <a:lnTo>
                          <a:pt x="72" y="64"/>
                        </a:lnTo>
                        <a:lnTo>
                          <a:pt x="72" y="58"/>
                        </a:lnTo>
                        <a:lnTo>
                          <a:pt x="76" y="52"/>
                        </a:lnTo>
                        <a:lnTo>
                          <a:pt x="82" y="48"/>
                        </a:lnTo>
                        <a:lnTo>
                          <a:pt x="90" y="46"/>
                        </a:lnTo>
                        <a:lnTo>
                          <a:pt x="90" y="46"/>
                        </a:lnTo>
                        <a:lnTo>
                          <a:pt x="96" y="48"/>
                        </a:lnTo>
                        <a:lnTo>
                          <a:pt x="102" y="52"/>
                        </a:lnTo>
                        <a:lnTo>
                          <a:pt x="106" y="58"/>
                        </a:lnTo>
                        <a:lnTo>
                          <a:pt x="108" y="64"/>
                        </a:lnTo>
                        <a:lnTo>
                          <a:pt x="108" y="64"/>
                        </a:lnTo>
                        <a:lnTo>
                          <a:pt x="106" y="70"/>
                        </a:lnTo>
                        <a:lnTo>
                          <a:pt x="104" y="74"/>
                        </a:lnTo>
                        <a:lnTo>
                          <a:pt x="102" y="78"/>
                        </a:lnTo>
                        <a:lnTo>
                          <a:pt x="96" y="80"/>
                        </a:lnTo>
                        <a:lnTo>
                          <a:pt x="96" y="8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03" name="Freeform 66"/>
                  <p:cNvSpPr>
                    <a:spLocks/>
                  </p:cNvSpPr>
                  <p:nvPr/>
                </p:nvSpPr>
                <p:spPr bwMode="auto">
                  <a:xfrm>
                    <a:off x="10229850" y="5540375"/>
                    <a:ext cx="225425" cy="127000"/>
                  </a:xfrm>
                  <a:custGeom>
                    <a:avLst/>
                    <a:gdLst/>
                    <a:ahLst/>
                    <a:cxnLst>
                      <a:cxn ang="0">
                        <a:pos x="24" y="54"/>
                      </a:cxn>
                      <a:cxn ang="0">
                        <a:pos x="24" y="54"/>
                      </a:cxn>
                      <a:cxn ang="0">
                        <a:pos x="26" y="48"/>
                      </a:cxn>
                      <a:cxn ang="0">
                        <a:pos x="28" y="42"/>
                      </a:cxn>
                      <a:cxn ang="0">
                        <a:pos x="30" y="36"/>
                      </a:cxn>
                      <a:cxn ang="0">
                        <a:pos x="36" y="30"/>
                      </a:cxn>
                      <a:cxn ang="0">
                        <a:pos x="40" y="26"/>
                      </a:cxn>
                      <a:cxn ang="0">
                        <a:pos x="46" y="22"/>
                      </a:cxn>
                      <a:cxn ang="0">
                        <a:pos x="52" y="20"/>
                      </a:cxn>
                      <a:cxn ang="0">
                        <a:pos x="60" y="20"/>
                      </a:cxn>
                      <a:cxn ang="0">
                        <a:pos x="82" y="20"/>
                      </a:cxn>
                      <a:cxn ang="0">
                        <a:pos x="82" y="20"/>
                      </a:cxn>
                      <a:cxn ang="0">
                        <a:pos x="90" y="20"/>
                      </a:cxn>
                      <a:cxn ang="0">
                        <a:pos x="96" y="22"/>
                      </a:cxn>
                      <a:cxn ang="0">
                        <a:pos x="102" y="26"/>
                      </a:cxn>
                      <a:cxn ang="0">
                        <a:pos x="108" y="30"/>
                      </a:cxn>
                      <a:cxn ang="0">
                        <a:pos x="112" y="36"/>
                      </a:cxn>
                      <a:cxn ang="0">
                        <a:pos x="114" y="42"/>
                      </a:cxn>
                      <a:cxn ang="0">
                        <a:pos x="116" y="48"/>
                      </a:cxn>
                      <a:cxn ang="0">
                        <a:pos x="118" y="54"/>
                      </a:cxn>
                      <a:cxn ang="0">
                        <a:pos x="118" y="80"/>
                      </a:cxn>
                      <a:cxn ang="0">
                        <a:pos x="142" y="80"/>
                      </a:cxn>
                      <a:cxn ang="0">
                        <a:pos x="142" y="48"/>
                      </a:cxn>
                      <a:cxn ang="0">
                        <a:pos x="142" y="48"/>
                      </a:cxn>
                      <a:cxn ang="0">
                        <a:pos x="142" y="38"/>
                      </a:cxn>
                      <a:cxn ang="0">
                        <a:pos x="138" y="28"/>
                      </a:cxn>
                      <a:cxn ang="0">
                        <a:pos x="134" y="20"/>
                      </a:cxn>
                      <a:cxn ang="0">
                        <a:pos x="128" y="14"/>
                      </a:cxn>
                      <a:cxn ang="0">
                        <a:pos x="122" y="8"/>
                      </a:cxn>
                      <a:cxn ang="0">
                        <a:pos x="114" y="4"/>
                      </a:cxn>
                      <a:cxn ang="0">
                        <a:pos x="104" y="0"/>
                      </a:cxn>
                      <a:cxn ang="0">
                        <a:pos x="94" y="0"/>
                      </a:cxn>
                      <a:cxn ang="0">
                        <a:pos x="48" y="0"/>
                      </a:cxn>
                      <a:cxn ang="0">
                        <a:pos x="48" y="0"/>
                      </a:cxn>
                      <a:cxn ang="0">
                        <a:pos x="38" y="0"/>
                      </a:cxn>
                      <a:cxn ang="0">
                        <a:pos x="30" y="4"/>
                      </a:cxn>
                      <a:cxn ang="0">
                        <a:pos x="22" y="8"/>
                      </a:cxn>
                      <a:cxn ang="0">
                        <a:pos x="14" y="14"/>
                      </a:cxn>
                      <a:cxn ang="0">
                        <a:pos x="8" y="20"/>
                      </a:cxn>
                      <a:cxn ang="0">
                        <a:pos x="4" y="28"/>
                      </a:cxn>
                      <a:cxn ang="0">
                        <a:pos x="2" y="38"/>
                      </a:cxn>
                      <a:cxn ang="0">
                        <a:pos x="0" y="48"/>
                      </a:cxn>
                      <a:cxn ang="0">
                        <a:pos x="0" y="80"/>
                      </a:cxn>
                      <a:cxn ang="0">
                        <a:pos x="24" y="80"/>
                      </a:cxn>
                      <a:cxn ang="0">
                        <a:pos x="24" y="54"/>
                      </a:cxn>
                    </a:cxnLst>
                    <a:rect l="0" t="0" r="r" b="b"/>
                    <a:pathLst>
                      <a:path w="142" h="80">
                        <a:moveTo>
                          <a:pt x="24" y="54"/>
                        </a:moveTo>
                        <a:lnTo>
                          <a:pt x="24" y="54"/>
                        </a:lnTo>
                        <a:lnTo>
                          <a:pt x="26" y="48"/>
                        </a:lnTo>
                        <a:lnTo>
                          <a:pt x="28" y="42"/>
                        </a:lnTo>
                        <a:lnTo>
                          <a:pt x="30" y="36"/>
                        </a:lnTo>
                        <a:lnTo>
                          <a:pt x="36" y="30"/>
                        </a:lnTo>
                        <a:lnTo>
                          <a:pt x="40" y="26"/>
                        </a:lnTo>
                        <a:lnTo>
                          <a:pt x="46" y="22"/>
                        </a:lnTo>
                        <a:lnTo>
                          <a:pt x="52" y="20"/>
                        </a:lnTo>
                        <a:lnTo>
                          <a:pt x="60" y="20"/>
                        </a:lnTo>
                        <a:lnTo>
                          <a:pt x="82" y="20"/>
                        </a:lnTo>
                        <a:lnTo>
                          <a:pt x="82" y="20"/>
                        </a:lnTo>
                        <a:lnTo>
                          <a:pt x="90" y="20"/>
                        </a:lnTo>
                        <a:lnTo>
                          <a:pt x="96" y="22"/>
                        </a:lnTo>
                        <a:lnTo>
                          <a:pt x="102" y="26"/>
                        </a:lnTo>
                        <a:lnTo>
                          <a:pt x="108" y="30"/>
                        </a:lnTo>
                        <a:lnTo>
                          <a:pt x="112" y="36"/>
                        </a:lnTo>
                        <a:lnTo>
                          <a:pt x="114" y="42"/>
                        </a:lnTo>
                        <a:lnTo>
                          <a:pt x="116" y="48"/>
                        </a:lnTo>
                        <a:lnTo>
                          <a:pt x="118" y="54"/>
                        </a:lnTo>
                        <a:lnTo>
                          <a:pt x="118" y="80"/>
                        </a:lnTo>
                        <a:lnTo>
                          <a:pt x="142" y="80"/>
                        </a:lnTo>
                        <a:lnTo>
                          <a:pt x="142" y="48"/>
                        </a:lnTo>
                        <a:lnTo>
                          <a:pt x="142" y="48"/>
                        </a:lnTo>
                        <a:lnTo>
                          <a:pt x="142" y="38"/>
                        </a:lnTo>
                        <a:lnTo>
                          <a:pt x="138" y="28"/>
                        </a:lnTo>
                        <a:lnTo>
                          <a:pt x="134" y="20"/>
                        </a:lnTo>
                        <a:lnTo>
                          <a:pt x="128" y="14"/>
                        </a:lnTo>
                        <a:lnTo>
                          <a:pt x="122" y="8"/>
                        </a:lnTo>
                        <a:lnTo>
                          <a:pt x="114" y="4"/>
                        </a:lnTo>
                        <a:lnTo>
                          <a:pt x="104" y="0"/>
                        </a:lnTo>
                        <a:lnTo>
                          <a:pt x="94" y="0"/>
                        </a:lnTo>
                        <a:lnTo>
                          <a:pt x="48" y="0"/>
                        </a:lnTo>
                        <a:lnTo>
                          <a:pt x="48" y="0"/>
                        </a:lnTo>
                        <a:lnTo>
                          <a:pt x="38" y="0"/>
                        </a:lnTo>
                        <a:lnTo>
                          <a:pt x="30" y="4"/>
                        </a:lnTo>
                        <a:lnTo>
                          <a:pt x="22" y="8"/>
                        </a:lnTo>
                        <a:lnTo>
                          <a:pt x="14" y="14"/>
                        </a:lnTo>
                        <a:lnTo>
                          <a:pt x="8" y="20"/>
                        </a:lnTo>
                        <a:lnTo>
                          <a:pt x="4" y="28"/>
                        </a:lnTo>
                        <a:lnTo>
                          <a:pt x="2" y="38"/>
                        </a:lnTo>
                        <a:lnTo>
                          <a:pt x="0" y="48"/>
                        </a:lnTo>
                        <a:lnTo>
                          <a:pt x="0" y="80"/>
                        </a:lnTo>
                        <a:lnTo>
                          <a:pt x="24" y="80"/>
                        </a:lnTo>
                        <a:lnTo>
                          <a:pt x="24" y="5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sp>
              <p:nvSpPr>
                <p:cNvPr id="100" name="Freeform 63"/>
                <p:cNvSpPr>
                  <a:spLocks/>
                </p:cNvSpPr>
                <p:nvPr/>
              </p:nvSpPr>
              <p:spPr bwMode="auto">
                <a:xfrm>
                  <a:off x="9713156" y="2363636"/>
                  <a:ext cx="126227" cy="120807"/>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01" name="Freeform 64"/>
                <p:cNvSpPr>
                  <a:spLocks/>
                </p:cNvSpPr>
                <p:nvPr/>
              </p:nvSpPr>
              <p:spPr bwMode="auto">
                <a:xfrm>
                  <a:off x="9714358" y="2324099"/>
                  <a:ext cx="168303" cy="161441"/>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84" name="组合 106"/>
              <p:cNvGrpSpPr/>
              <p:nvPr/>
            </p:nvGrpSpPr>
            <p:grpSpPr>
              <a:xfrm>
                <a:off x="5820351" y="2645663"/>
                <a:ext cx="863913" cy="689335"/>
                <a:chOff x="5765487" y="2590799"/>
                <a:chExt cx="863913" cy="689335"/>
              </a:xfrm>
            </p:grpSpPr>
            <p:sp>
              <p:nvSpPr>
                <p:cNvPr id="104" name="Freeform 49"/>
                <p:cNvSpPr>
                  <a:spLocks noEditPoints="1"/>
                </p:cNvSpPr>
                <p:nvPr/>
              </p:nvSpPr>
              <p:spPr bwMode="auto">
                <a:xfrm>
                  <a:off x="5765487" y="2724149"/>
                  <a:ext cx="863913" cy="555985"/>
                </a:xfrm>
                <a:custGeom>
                  <a:avLst/>
                  <a:gdLst/>
                  <a:ahLst/>
                  <a:cxnLst>
                    <a:cxn ang="0">
                      <a:pos x="578" y="412"/>
                    </a:cxn>
                    <a:cxn ang="0">
                      <a:pos x="52" y="274"/>
                    </a:cxn>
                    <a:cxn ang="0">
                      <a:pos x="100" y="310"/>
                    </a:cxn>
                    <a:cxn ang="0">
                      <a:pos x="130" y="320"/>
                    </a:cxn>
                    <a:cxn ang="0">
                      <a:pos x="138" y="312"/>
                    </a:cxn>
                    <a:cxn ang="0">
                      <a:pos x="112" y="278"/>
                    </a:cxn>
                    <a:cxn ang="0">
                      <a:pos x="96" y="238"/>
                    </a:cxn>
                    <a:cxn ang="0">
                      <a:pos x="230" y="198"/>
                    </a:cxn>
                    <a:cxn ang="0">
                      <a:pos x="260" y="242"/>
                    </a:cxn>
                    <a:cxn ang="0">
                      <a:pos x="278" y="198"/>
                    </a:cxn>
                    <a:cxn ang="0">
                      <a:pos x="414" y="72"/>
                    </a:cxn>
                    <a:cxn ang="0">
                      <a:pos x="484" y="258"/>
                    </a:cxn>
                    <a:cxn ang="0">
                      <a:pos x="448" y="250"/>
                    </a:cxn>
                    <a:cxn ang="0">
                      <a:pos x="416" y="240"/>
                    </a:cxn>
                    <a:cxn ang="0">
                      <a:pos x="384" y="250"/>
                    </a:cxn>
                    <a:cxn ang="0">
                      <a:pos x="360" y="284"/>
                    </a:cxn>
                    <a:cxn ang="0">
                      <a:pos x="470" y="404"/>
                    </a:cxn>
                    <a:cxn ang="0">
                      <a:pos x="516" y="386"/>
                    </a:cxn>
                    <a:cxn ang="0">
                      <a:pos x="548" y="332"/>
                    </a:cxn>
                    <a:cxn ang="0">
                      <a:pos x="546" y="284"/>
                    </a:cxn>
                    <a:cxn ang="0">
                      <a:pos x="510" y="232"/>
                    </a:cxn>
                    <a:cxn ang="0">
                      <a:pos x="450" y="62"/>
                    </a:cxn>
                    <a:cxn ang="0">
                      <a:pos x="460" y="38"/>
                    </a:cxn>
                    <a:cxn ang="0">
                      <a:pos x="450" y="12"/>
                    </a:cxn>
                    <a:cxn ang="0">
                      <a:pos x="424" y="0"/>
                    </a:cxn>
                    <a:cxn ang="0">
                      <a:pos x="394" y="16"/>
                    </a:cxn>
                    <a:cxn ang="0">
                      <a:pos x="102" y="158"/>
                    </a:cxn>
                    <a:cxn ang="0">
                      <a:pos x="92" y="138"/>
                    </a:cxn>
                    <a:cxn ang="0">
                      <a:pos x="60" y="124"/>
                    </a:cxn>
                    <a:cxn ang="0">
                      <a:pos x="26" y="136"/>
                    </a:cxn>
                    <a:cxn ang="0">
                      <a:pos x="16" y="150"/>
                    </a:cxn>
                    <a:cxn ang="0">
                      <a:pos x="12" y="184"/>
                    </a:cxn>
                    <a:cxn ang="0">
                      <a:pos x="28" y="236"/>
                    </a:cxn>
                    <a:cxn ang="0">
                      <a:pos x="454" y="332"/>
                    </a:cxn>
                    <a:cxn ang="0">
                      <a:pos x="438" y="316"/>
                    </a:cxn>
                    <a:cxn ang="0">
                      <a:pos x="446" y="302"/>
                    </a:cxn>
                    <a:cxn ang="0">
                      <a:pos x="464" y="304"/>
                    </a:cxn>
                    <a:cxn ang="0">
                      <a:pos x="468" y="322"/>
                    </a:cxn>
                    <a:cxn ang="0">
                      <a:pos x="454" y="332"/>
                    </a:cxn>
                    <a:cxn ang="0">
                      <a:pos x="438" y="22"/>
                    </a:cxn>
                    <a:cxn ang="0">
                      <a:pos x="444" y="44"/>
                    </a:cxn>
                    <a:cxn ang="0">
                      <a:pos x="426" y="56"/>
                    </a:cxn>
                    <a:cxn ang="0">
                      <a:pos x="406" y="36"/>
                    </a:cxn>
                    <a:cxn ang="0">
                      <a:pos x="418" y="18"/>
                    </a:cxn>
                    <a:cxn ang="0">
                      <a:pos x="246" y="124"/>
                    </a:cxn>
                    <a:cxn ang="0">
                      <a:pos x="262" y="142"/>
                    </a:cxn>
                    <a:cxn ang="0">
                      <a:pos x="252" y="156"/>
                    </a:cxn>
                    <a:cxn ang="0">
                      <a:pos x="234" y="154"/>
                    </a:cxn>
                    <a:cxn ang="0">
                      <a:pos x="230" y="134"/>
                    </a:cxn>
                    <a:cxn ang="0">
                      <a:pos x="246" y="124"/>
                    </a:cxn>
                    <a:cxn ang="0">
                      <a:pos x="74" y="152"/>
                    </a:cxn>
                    <a:cxn ang="0">
                      <a:pos x="80" y="180"/>
                    </a:cxn>
                    <a:cxn ang="0">
                      <a:pos x="56" y="196"/>
                    </a:cxn>
                    <a:cxn ang="0">
                      <a:pos x="28" y="170"/>
                    </a:cxn>
                    <a:cxn ang="0">
                      <a:pos x="46" y="146"/>
                    </a:cxn>
                  </a:cxnLst>
                  <a:rect l="0" t="0" r="r" b="b"/>
                  <a:pathLst>
                    <a:path w="578" h="452">
                      <a:moveTo>
                        <a:pt x="0" y="412"/>
                      </a:moveTo>
                      <a:lnTo>
                        <a:pt x="0" y="452"/>
                      </a:lnTo>
                      <a:lnTo>
                        <a:pt x="578" y="452"/>
                      </a:lnTo>
                      <a:lnTo>
                        <a:pt x="578" y="412"/>
                      </a:lnTo>
                      <a:lnTo>
                        <a:pt x="36" y="412"/>
                      </a:lnTo>
                      <a:lnTo>
                        <a:pt x="38" y="254"/>
                      </a:lnTo>
                      <a:lnTo>
                        <a:pt x="38" y="254"/>
                      </a:lnTo>
                      <a:lnTo>
                        <a:pt x="52" y="274"/>
                      </a:lnTo>
                      <a:lnTo>
                        <a:pt x="74" y="292"/>
                      </a:lnTo>
                      <a:lnTo>
                        <a:pt x="74" y="292"/>
                      </a:lnTo>
                      <a:lnTo>
                        <a:pt x="88" y="302"/>
                      </a:lnTo>
                      <a:lnTo>
                        <a:pt x="100" y="310"/>
                      </a:lnTo>
                      <a:lnTo>
                        <a:pt x="112" y="316"/>
                      </a:lnTo>
                      <a:lnTo>
                        <a:pt x="112" y="316"/>
                      </a:lnTo>
                      <a:lnTo>
                        <a:pt x="122" y="320"/>
                      </a:lnTo>
                      <a:lnTo>
                        <a:pt x="130" y="320"/>
                      </a:lnTo>
                      <a:lnTo>
                        <a:pt x="132" y="320"/>
                      </a:lnTo>
                      <a:lnTo>
                        <a:pt x="136" y="316"/>
                      </a:lnTo>
                      <a:lnTo>
                        <a:pt x="136" y="316"/>
                      </a:lnTo>
                      <a:lnTo>
                        <a:pt x="138" y="312"/>
                      </a:lnTo>
                      <a:lnTo>
                        <a:pt x="136" y="306"/>
                      </a:lnTo>
                      <a:lnTo>
                        <a:pt x="134" y="302"/>
                      </a:lnTo>
                      <a:lnTo>
                        <a:pt x="130" y="296"/>
                      </a:lnTo>
                      <a:lnTo>
                        <a:pt x="112" y="278"/>
                      </a:lnTo>
                      <a:lnTo>
                        <a:pt x="112" y="278"/>
                      </a:lnTo>
                      <a:lnTo>
                        <a:pt x="104" y="264"/>
                      </a:lnTo>
                      <a:lnTo>
                        <a:pt x="98" y="252"/>
                      </a:lnTo>
                      <a:lnTo>
                        <a:pt x="96" y="238"/>
                      </a:lnTo>
                      <a:lnTo>
                        <a:pt x="96" y="222"/>
                      </a:lnTo>
                      <a:lnTo>
                        <a:pt x="218" y="162"/>
                      </a:lnTo>
                      <a:lnTo>
                        <a:pt x="218" y="198"/>
                      </a:lnTo>
                      <a:lnTo>
                        <a:pt x="230" y="198"/>
                      </a:lnTo>
                      <a:lnTo>
                        <a:pt x="176" y="402"/>
                      </a:lnTo>
                      <a:lnTo>
                        <a:pt x="202" y="402"/>
                      </a:lnTo>
                      <a:lnTo>
                        <a:pt x="236" y="242"/>
                      </a:lnTo>
                      <a:lnTo>
                        <a:pt x="260" y="242"/>
                      </a:lnTo>
                      <a:lnTo>
                        <a:pt x="296" y="402"/>
                      </a:lnTo>
                      <a:lnTo>
                        <a:pt x="320" y="402"/>
                      </a:lnTo>
                      <a:lnTo>
                        <a:pt x="266" y="198"/>
                      </a:lnTo>
                      <a:lnTo>
                        <a:pt x="278" y="198"/>
                      </a:lnTo>
                      <a:lnTo>
                        <a:pt x="278" y="132"/>
                      </a:lnTo>
                      <a:lnTo>
                        <a:pt x="406" y="70"/>
                      </a:lnTo>
                      <a:lnTo>
                        <a:pt x="406" y="70"/>
                      </a:lnTo>
                      <a:lnTo>
                        <a:pt x="414" y="72"/>
                      </a:lnTo>
                      <a:lnTo>
                        <a:pt x="424" y="74"/>
                      </a:lnTo>
                      <a:lnTo>
                        <a:pt x="424" y="74"/>
                      </a:lnTo>
                      <a:lnTo>
                        <a:pt x="434" y="72"/>
                      </a:lnTo>
                      <a:lnTo>
                        <a:pt x="484" y="258"/>
                      </a:lnTo>
                      <a:lnTo>
                        <a:pt x="468" y="274"/>
                      </a:lnTo>
                      <a:lnTo>
                        <a:pt x="468" y="274"/>
                      </a:lnTo>
                      <a:lnTo>
                        <a:pt x="460" y="260"/>
                      </a:lnTo>
                      <a:lnTo>
                        <a:pt x="448" y="250"/>
                      </a:lnTo>
                      <a:lnTo>
                        <a:pt x="440" y="246"/>
                      </a:lnTo>
                      <a:lnTo>
                        <a:pt x="432" y="242"/>
                      </a:lnTo>
                      <a:lnTo>
                        <a:pt x="424" y="240"/>
                      </a:lnTo>
                      <a:lnTo>
                        <a:pt x="416" y="240"/>
                      </a:lnTo>
                      <a:lnTo>
                        <a:pt x="416" y="240"/>
                      </a:lnTo>
                      <a:lnTo>
                        <a:pt x="404" y="242"/>
                      </a:lnTo>
                      <a:lnTo>
                        <a:pt x="394" y="244"/>
                      </a:lnTo>
                      <a:lnTo>
                        <a:pt x="384" y="250"/>
                      </a:lnTo>
                      <a:lnTo>
                        <a:pt x="376" y="256"/>
                      </a:lnTo>
                      <a:lnTo>
                        <a:pt x="368" y="264"/>
                      </a:lnTo>
                      <a:lnTo>
                        <a:pt x="362" y="274"/>
                      </a:lnTo>
                      <a:lnTo>
                        <a:pt x="360" y="284"/>
                      </a:lnTo>
                      <a:lnTo>
                        <a:pt x="358" y="296"/>
                      </a:lnTo>
                      <a:lnTo>
                        <a:pt x="358" y="296"/>
                      </a:lnTo>
                      <a:lnTo>
                        <a:pt x="358" y="404"/>
                      </a:lnTo>
                      <a:lnTo>
                        <a:pt x="470" y="404"/>
                      </a:lnTo>
                      <a:lnTo>
                        <a:pt x="470" y="358"/>
                      </a:lnTo>
                      <a:lnTo>
                        <a:pt x="504" y="396"/>
                      </a:lnTo>
                      <a:lnTo>
                        <a:pt x="504" y="396"/>
                      </a:lnTo>
                      <a:lnTo>
                        <a:pt x="516" y="386"/>
                      </a:lnTo>
                      <a:lnTo>
                        <a:pt x="528" y="374"/>
                      </a:lnTo>
                      <a:lnTo>
                        <a:pt x="536" y="362"/>
                      </a:lnTo>
                      <a:lnTo>
                        <a:pt x="544" y="348"/>
                      </a:lnTo>
                      <a:lnTo>
                        <a:pt x="548" y="332"/>
                      </a:lnTo>
                      <a:lnTo>
                        <a:pt x="550" y="318"/>
                      </a:lnTo>
                      <a:lnTo>
                        <a:pt x="550" y="300"/>
                      </a:lnTo>
                      <a:lnTo>
                        <a:pt x="546" y="284"/>
                      </a:lnTo>
                      <a:lnTo>
                        <a:pt x="546" y="284"/>
                      </a:lnTo>
                      <a:lnTo>
                        <a:pt x="540" y="268"/>
                      </a:lnTo>
                      <a:lnTo>
                        <a:pt x="532" y="254"/>
                      </a:lnTo>
                      <a:lnTo>
                        <a:pt x="522" y="242"/>
                      </a:lnTo>
                      <a:lnTo>
                        <a:pt x="510" y="232"/>
                      </a:lnTo>
                      <a:lnTo>
                        <a:pt x="492" y="250"/>
                      </a:lnTo>
                      <a:lnTo>
                        <a:pt x="442" y="68"/>
                      </a:lnTo>
                      <a:lnTo>
                        <a:pt x="442" y="68"/>
                      </a:lnTo>
                      <a:lnTo>
                        <a:pt x="450" y="62"/>
                      </a:lnTo>
                      <a:lnTo>
                        <a:pt x="456" y="54"/>
                      </a:lnTo>
                      <a:lnTo>
                        <a:pt x="458" y="46"/>
                      </a:lnTo>
                      <a:lnTo>
                        <a:pt x="460" y="38"/>
                      </a:lnTo>
                      <a:lnTo>
                        <a:pt x="460" y="38"/>
                      </a:lnTo>
                      <a:lnTo>
                        <a:pt x="460" y="30"/>
                      </a:lnTo>
                      <a:lnTo>
                        <a:pt x="458" y="24"/>
                      </a:lnTo>
                      <a:lnTo>
                        <a:pt x="454" y="18"/>
                      </a:lnTo>
                      <a:lnTo>
                        <a:pt x="450" y="12"/>
                      </a:lnTo>
                      <a:lnTo>
                        <a:pt x="444" y="8"/>
                      </a:lnTo>
                      <a:lnTo>
                        <a:pt x="438" y="4"/>
                      </a:lnTo>
                      <a:lnTo>
                        <a:pt x="430" y="2"/>
                      </a:lnTo>
                      <a:lnTo>
                        <a:pt x="424" y="0"/>
                      </a:lnTo>
                      <a:lnTo>
                        <a:pt x="424" y="0"/>
                      </a:lnTo>
                      <a:lnTo>
                        <a:pt x="412" y="2"/>
                      </a:lnTo>
                      <a:lnTo>
                        <a:pt x="402" y="8"/>
                      </a:lnTo>
                      <a:lnTo>
                        <a:pt x="394" y="16"/>
                      </a:lnTo>
                      <a:lnTo>
                        <a:pt x="390" y="26"/>
                      </a:lnTo>
                      <a:lnTo>
                        <a:pt x="102" y="168"/>
                      </a:lnTo>
                      <a:lnTo>
                        <a:pt x="102" y="168"/>
                      </a:lnTo>
                      <a:lnTo>
                        <a:pt x="102" y="158"/>
                      </a:lnTo>
                      <a:lnTo>
                        <a:pt x="102" y="158"/>
                      </a:lnTo>
                      <a:lnTo>
                        <a:pt x="98" y="148"/>
                      </a:lnTo>
                      <a:lnTo>
                        <a:pt x="92" y="138"/>
                      </a:lnTo>
                      <a:lnTo>
                        <a:pt x="92" y="138"/>
                      </a:lnTo>
                      <a:lnTo>
                        <a:pt x="84" y="132"/>
                      </a:lnTo>
                      <a:lnTo>
                        <a:pt x="76" y="128"/>
                      </a:lnTo>
                      <a:lnTo>
                        <a:pt x="68" y="126"/>
                      </a:lnTo>
                      <a:lnTo>
                        <a:pt x="60" y="124"/>
                      </a:lnTo>
                      <a:lnTo>
                        <a:pt x="50" y="124"/>
                      </a:lnTo>
                      <a:lnTo>
                        <a:pt x="42" y="126"/>
                      </a:lnTo>
                      <a:lnTo>
                        <a:pt x="34" y="130"/>
                      </a:lnTo>
                      <a:lnTo>
                        <a:pt x="26" y="136"/>
                      </a:lnTo>
                      <a:lnTo>
                        <a:pt x="26" y="136"/>
                      </a:lnTo>
                      <a:lnTo>
                        <a:pt x="20" y="142"/>
                      </a:lnTo>
                      <a:lnTo>
                        <a:pt x="20" y="142"/>
                      </a:lnTo>
                      <a:lnTo>
                        <a:pt x="16" y="150"/>
                      </a:lnTo>
                      <a:lnTo>
                        <a:pt x="16" y="150"/>
                      </a:lnTo>
                      <a:lnTo>
                        <a:pt x="14" y="162"/>
                      </a:lnTo>
                      <a:lnTo>
                        <a:pt x="12" y="184"/>
                      </a:lnTo>
                      <a:lnTo>
                        <a:pt x="12" y="184"/>
                      </a:lnTo>
                      <a:lnTo>
                        <a:pt x="14" y="196"/>
                      </a:lnTo>
                      <a:lnTo>
                        <a:pt x="18" y="208"/>
                      </a:lnTo>
                      <a:lnTo>
                        <a:pt x="22" y="222"/>
                      </a:lnTo>
                      <a:lnTo>
                        <a:pt x="28" y="236"/>
                      </a:lnTo>
                      <a:lnTo>
                        <a:pt x="26" y="412"/>
                      </a:lnTo>
                      <a:lnTo>
                        <a:pt x="0" y="412"/>
                      </a:lnTo>
                      <a:close/>
                      <a:moveTo>
                        <a:pt x="454" y="332"/>
                      </a:moveTo>
                      <a:lnTo>
                        <a:pt x="454" y="332"/>
                      </a:lnTo>
                      <a:lnTo>
                        <a:pt x="446" y="330"/>
                      </a:lnTo>
                      <a:lnTo>
                        <a:pt x="442" y="326"/>
                      </a:lnTo>
                      <a:lnTo>
                        <a:pt x="438" y="322"/>
                      </a:lnTo>
                      <a:lnTo>
                        <a:pt x="438" y="316"/>
                      </a:lnTo>
                      <a:lnTo>
                        <a:pt x="438" y="316"/>
                      </a:lnTo>
                      <a:lnTo>
                        <a:pt x="438" y="310"/>
                      </a:lnTo>
                      <a:lnTo>
                        <a:pt x="442" y="304"/>
                      </a:lnTo>
                      <a:lnTo>
                        <a:pt x="446" y="302"/>
                      </a:lnTo>
                      <a:lnTo>
                        <a:pt x="454" y="300"/>
                      </a:lnTo>
                      <a:lnTo>
                        <a:pt x="454" y="300"/>
                      </a:lnTo>
                      <a:lnTo>
                        <a:pt x="460" y="302"/>
                      </a:lnTo>
                      <a:lnTo>
                        <a:pt x="464" y="304"/>
                      </a:lnTo>
                      <a:lnTo>
                        <a:pt x="468" y="310"/>
                      </a:lnTo>
                      <a:lnTo>
                        <a:pt x="468" y="316"/>
                      </a:lnTo>
                      <a:lnTo>
                        <a:pt x="468" y="316"/>
                      </a:lnTo>
                      <a:lnTo>
                        <a:pt x="468" y="322"/>
                      </a:lnTo>
                      <a:lnTo>
                        <a:pt x="464" y="326"/>
                      </a:lnTo>
                      <a:lnTo>
                        <a:pt x="460" y="330"/>
                      </a:lnTo>
                      <a:lnTo>
                        <a:pt x="454" y="332"/>
                      </a:lnTo>
                      <a:lnTo>
                        <a:pt x="454" y="332"/>
                      </a:lnTo>
                      <a:close/>
                      <a:moveTo>
                        <a:pt x="426" y="16"/>
                      </a:moveTo>
                      <a:lnTo>
                        <a:pt x="426" y="16"/>
                      </a:lnTo>
                      <a:lnTo>
                        <a:pt x="432" y="18"/>
                      </a:lnTo>
                      <a:lnTo>
                        <a:pt x="438" y="22"/>
                      </a:lnTo>
                      <a:lnTo>
                        <a:pt x="444" y="28"/>
                      </a:lnTo>
                      <a:lnTo>
                        <a:pt x="444" y="36"/>
                      </a:lnTo>
                      <a:lnTo>
                        <a:pt x="444" y="36"/>
                      </a:lnTo>
                      <a:lnTo>
                        <a:pt x="444" y="44"/>
                      </a:lnTo>
                      <a:lnTo>
                        <a:pt x="438" y="50"/>
                      </a:lnTo>
                      <a:lnTo>
                        <a:pt x="432" y="54"/>
                      </a:lnTo>
                      <a:lnTo>
                        <a:pt x="426" y="56"/>
                      </a:lnTo>
                      <a:lnTo>
                        <a:pt x="426" y="56"/>
                      </a:lnTo>
                      <a:lnTo>
                        <a:pt x="418" y="54"/>
                      </a:lnTo>
                      <a:lnTo>
                        <a:pt x="412" y="50"/>
                      </a:lnTo>
                      <a:lnTo>
                        <a:pt x="408" y="44"/>
                      </a:lnTo>
                      <a:lnTo>
                        <a:pt x="406" y="36"/>
                      </a:lnTo>
                      <a:lnTo>
                        <a:pt x="406" y="36"/>
                      </a:lnTo>
                      <a:lnTo>
                        <a:pt x="408" y="28"/>
                      </a:lnTo>
                      <a:lnTo>
                        <a:pt x="412" y="22"/>
                      </a:lnTo>
                      <a:lnTo>
                        <a:pt x="418" y="18"/>
                      </a:lnTo>
                      <a:lnTo>
                        <a:pt x="426" y="16"/>
                      </a:lnTo>
                      <a:lnTo>
                        <a:pt x="426" y="16"/>
                      </a:lnTo>
                      <a:close/>
                      <a:moveTo>
                        <a:pt x="246" y="124"/>
                      </a:moveTo>
                      <a:lnTo>
                        <a:pt x="246" y="124"/>
                      </a:lnTo>
                      <a:lnTo>
                        <a:pt x="252" y="126"/>
                      </a:lnTo>
                      <a:lnTo>
                        <a:pt x="258" y="130"/>
                      </a:lnTo>
                      <a:lnTo>
                        <a:pt x="262" y="134"/>
                      </a:lnTo>
                      <a:lnTo>
                        <a:pt x="262" y="142"/>
                      </a:lnTo>
                      <a:lnTo>
                        <a:pt x="262" y="142"/>
                      </a:lnTo>
                      <a:lnTo>
                        <a:pt x="262" y="148"/>
                      </a:lnTo>
                      <a:lnTo>
                        <a:pt x="258" y="154"/>
                      </a:lnTo>
                      <a:lnTo>
                        <a:pt x="252" y="156"/>
                      </a:lnTo>
                      <a:lnTo>
                        <a:pt x="246" y="158"/>
                      </a:lnTo>
                      <a:lnTo>
                        <a:pt x="246" y="158"/>
                      </a:lnTo>
                      <a:lnTo>
                        <a:pt x="240" y="156"/>
                      </a:lnTo>
                      <a:lnTo>
                        <a:pt x="234" y="154"/>
                      </a:lnTo>
                      <a:lnTo>
                        <a:pt x="230" y="148"/>
                      </a:lnTo>
                      <a:lnTo>
                        <a:pt x="228" y="142"/>
                      </a:lnTo>
                      <a:lnTo>
                        <a:pt x="228" y="142"/>
                      </a:lnTo>
                      <a:lnTo>
                        <a:pt x="230" y="134"/>
                      </a:lnTo>
                      <a:lnTo>
                        <a:pt x="234" y="130"/>
                      </a:lnTo>
                      <a:lnTo>
                        <a:pt x="240" y="126"/>
                      </a:lnTo>
                      <a:lnTo>
                        <a:pt x="246" y="124"/>
                      </a:lnTo>
                      <a:lnTo>
                        <a:pt x="246" y="124"/>
                      </a:lnTo>
                      <a:close/>
                      <a:moveTo>
                        <a:pt x="56" y="144"/>
                      </a:moveTo>
                      <a:lnTo>
                        <a:pt x="56" y="144"/>
                      </a:lnTo>
                      <a:lnTo>
                        <a:pt x="66" y="146"/>
                      </a:lnTo>
                      <a:lnTo>
                        <a:pt x="74" y="152"/>
                      </a:lnTo>
                      <a:lnTo>
                        <a:pt x="80" y="160"/>
                      </a:lnTo>
                      <a:lnTo>
                        <a:pt x="82" y="170"/>
                      </a:lnTo>
                      <a:lnTo>
                        <a:pt x="82" y="170"/>
                      </a:lnTo>
                      <a:lnTo>
                        <a:pt x="80" y="180"/>
                      </a:lnTo>
                      <a:lnTo>
                        <a:pt x="74" y="190"/>
                      </a:lnTo>
                      <a:lnTo>
                        <a:pt x="66" y="194"/>
                      </a:lnTo>
                      <a:lnTo>
                        <a:pt x="56" y="196"/>
                      </a:lnTo>
                      <a:lnTo>
                        <a:pt x="56" y="196"/>
                      </a:lnTo>
                      <a:lnTo>
                        <a:pt x="46" y="194"/>
                      </a:lnTo>
                      <a:lnTo>
                        <a:pt x="36" y="190"/>
                      </a:lnTo>
                      <a:lnTo>
                        <a:pt x="30" y="180"/>
                      </a:lnTo>
                      <a:lnTo>
                        <a:pt x="28" y="170"/>
                      </a:lnTo>
                      <a:lnTo>
                        <a:pt x="28" y="170"/>
                      </a:lnTo>
                      <a:lnTo>
                        <a:pt x="30" y="160"/>
                      </a:lnTo>
                      <a:lnTo>
                        <a:pt x="36" y="152"/>
                      </a:lnTo>
                      <a:lnTo>
                        <a:pt x="46" y="146"/>
                      </a:lnTo>
                      <a:lnTo>
                        <a:pt x="56" y="144"/>
                      </a:lnTo>
                      <a:lnTo>
                        <a:pt x="56" y="144"/>
                      </a:lnTo>
                      <a:close/>
                    </a:path>
                  </a:pathLst>
                </a:custGeom>
                <a:solidFill>
                  <a:srgbClr val="00B0F0"/>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05" name="Freeform 63"/>
                <p:cNvSpPr>
                  <a:spLocks/>
                </p:cNvSpPr>
                <p:nvPr/>
              </p:nvSpPr>
              <p:spPr bwMode="auto">
                <a:xfrm>
                  <a:off x="6427700" y="2630336"/>
                  <a:ext cx="126227" cy="120807"/>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solidFill>
                  <a:srgbClr val="00B0F0"/>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sp>
              <p:nvSpPr>
                <p:cNvPr id="106" name="Freeform 64"/>
                <p:cNvSpPr>
                  <a:spLocks/>
                </p:cNvSpPr>
                <p:nvPr/>
              </p:nvSpPr>
              <p:spPr bwMode="auto">
                <a:xfrm>
                  <a:off x="6428902" y="2590799"/>
                  <a:ext cx="168303" cy="161441"/>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solidFill>
                  <a:srgbClr val="00B0F0"/>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a:p>
              </p:txBody>
            </p:sp>
          </p:grpSp>
          <p:grpSp>
            <p:nvGrpSpPr>
              <p:cNvPr id="85" name="组合 108"/>
              <p:cNvGrpSpPr>
                <a:grpSpLocks noChangeAspect="1"/>
              </p:cNvGrpSpPr>
              <p:nvPr/>
            </p:nvGrpSpPr>
            <p:grpSpPr>
              <a:xfrm>
                <a:off x="8328092" y="2378180"/>
                <a:ext cx="306084" cy="547425"/>
                <a:chOff x="4741002" y="2588471"/>
                <a:chExt cx="1036858" cy="2451473"/>
              </a:xfrm>
            </p:grpSpPr>
            <p:sp>
              <p:nvSpPr>
                <p:cNvPr id="110" name="椭圆 109"/>
                <p:cNvSpPr/>
                <p:nvPr/>
              </p:nvSpPr>
              <p:spPr>
                <a:xfrm>
                  <a:off x="5049358" y="2588471"/>
                  <a:ext cx="420148" cy="42014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sp>
              <p:nvSpPr>
                <p:cNvPr id="111" name="任意多边形 110"/>
                <p:cNvSpPr/>
                <p:nvPr/>
              </p:nvSpPr>
              <p:spPr>
                <a:xfrm>
                  <a:off x="4741002" y="3035080"/>
                  <a:ext cx="1036858" cy="2004864"/>
                </a:xfrm>
                <a:custGeom>
                  <a:avLst/>
                  <a:gdLst>
                    <a:gd name="connsiteX0" fmla="*/ 250660 w 1503929"/>
                    <a:gd name="connsiteY0" fmla="*/ 0 h 2601661"/>
                    <a:gd name="connsiteX1" fmla="*/ 1253269 w 1503929"/>
                    <a:gd name="connsiteY1" fmla="*/ 0 h 2601661"/>
                    <a:gd name="connsiteX2" fmla="*/ 1503929 w 1503929"/>
                    <a:gd name="connsiteY2" fmla="*/ 250660 h 2601661"/>
                    <a:gd name="connsiteX3" fmla="*/ 1503929 w 1503929"/>
                    <a:gd name="connsiteY3" fmla="*/ 969466 h 2601661"/>
                    <a:gd name="connsiteX4" fmla="*/ 1337830 w 1503929"/>
                    <a:gd name="connsiteY4" fmla="*/ 1273835 h 2601661"/>
                    <a:gd name="connsiteX5" fmla="*/ 1201589 w 1503929"/>
                    <a:gd name="connsiteY5" fmla="*/ 1098640 h 2601661"/>
                    <a:gd name="connsiteX6" fmla="*/ 1198671 w 1503929"/>
                    <a:gd name="connsiteY6" fmla="*/ 1063799 h 2601661"/>
                    <a:gd name="connsiteX7" fmla="*/ 1198671 w 1503929"/>
                    <a:gd name="connsiteY7" fmla="*/ 542915 h 2601661"/>
                    <a:gd name="connsiteX8" fmla="*/ 1151556 w 1503929"/>
                    <a:gd name="connsiteY8" fmla="*/ 495800 h 2601661"/>
                    <a:gd name="connsiteX9" fmla="*/ 1104441 w 1503929"/>
                    <a:gd name="connsiteY9" fmla="*/ 542915 h 2601661"/>
                    <a:gd name="connsiteX10" fmla="*/ 1104442 w 1503929"/>
                    <a:gd name="connsiteY10" fmla="*/ 2503652 h 2601661"/>
                    <a:gd name="connsiteX11" fmla="*/ 1081278 w 1503929"/>
                    <a:gd name="connsiteY11" fmla="*/ 2541055 h 2601661"/>
                    <a:gd name="connsiteX12" fmla="*/ 959769 w 1503929"/>
                    <a:gd name="connsiteY12" fmla="*/ 2601660 h 2601661"/>
                    <a:gd name="connsiteX13" fmla="*/ 801427 w 1503929"/>
                    <a:gd name="connsiteY13" fmla="*/ 2481581 h 2601661"/>
                    <a:gd name="connsiteX14" fmla="*/ 800216 w 1503929"/>
                    <a:gd name="connsiteY14" fmla="*/ 2475803 h 2601661"/>
                    <a:gd name="connsiteX15" fmla="*/ 800216 w 1503929"/>
                    <a:gd name="connsiteY15" fmla="*/ 1640961 h 2601661"/>
                    <a:gd name="connsiteX16" fmla="*/ 753101 w 1503929"/>
                    <a:gd name="connsiteY16" fmla="*/ 1593846 h 2601661"/>
                    <a:gd name="connsiteX17" fmla="*/ 705986 w 1503929"/>
                    <a:gd name="connsiteY17" fmla="*/ 1640961 h 2601661"/>
                    <a:gd name="connsiteX18" fmla="*/ 705987 w 1503929"/>
                    <a:gd name="connsiteY18" fmla="*/ 2475796 h 2601661"/>
                    <a:gd name="connsiteX19" fmla="*/ 704774 w 1503929"/>
                    <a:gd name="connsiteY19" fmla="*/ 2481582 h 2601661"/>
                    <a:gd name="connsiteX20" fmla="*/ 546433 w 1503929"/>
                    <a:gd name="connsiteY20" fmla="*/ 2601661 h 2601661"/>
                    <a:gd name="connsiteX21" fmla="*/ 424923 w 1503929"/>
                    <a:gd name="connsiteY21" fmla="*/ 2541056 h 2601661"/>
                    <a:gd name="connsiteX22" fmla="*/ 401759 w 1503929"/>
                    <a:gd name="connsiteY22" fmla="*/ 2503653 h 2601661"/>
                    <a:gd name="connsiteX23" fmla="*/ 401759 w 1503929"/>
                    <a:gd name="connsiteY23" fmla="*/ 542915 h 2601661"/>
                    <a:gd name="connsiteX24" fmla="*/ 354644 w 1503929"/>
                    <a:gd name="connsiteY24" fmla="*/ 495800 h 2601661"/>
                    <a:gd name="connsiteX25" fmla="*/ 307529 w 1503929"/>
                    <a:gd name="connsiteY25" fmla="*/ 542915 h 2601661"/>
                    <a:gd name="connsiteX26" fmla="*/ 307529 w 1503929"/>
                    <a:gd name="connsiteY26" fmla="*/ 1021717 h 2601661"/>
                    <a:gd name="connsiteX27" fmla="*/ 299315 w 1503929"/>
                    <a:gd name="connsiteY27" fmla="*/ 1098640 h 2601661"/>
                    <a:gd name="connsiteX28" fmla="*/ 147010 w 1503929"/>
                    <a:gd name="connsiteY28" fmla="*/ 1273835 h 2601661"/>
                    <a:gd name="connsiteX29" fmla="*/ 10769 w 1503929"/>
                    <a:gd name="connsiteY29" fmla="*/ 1098640 h 2601661"/>
                    <a:gd name="connsiteX30" fmla="*/ 0 w 1503929"/>
                    <a:gd name="connsiteY30" fmla="*/ 970063 h 2601661"/>
                    <a:gd name="connsiteX31" fmla="*/ 0 w 1503929"/>
                    <a:gd name="connsiteY31" fmla="*/ 250660 h 2601661"/>
                    <a:gd name="connsiteX32" fmla="*/ 250660 w 1503929"/>
                    <a:gd name="connsiteY32" fmla="*/ 0 h 260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03929" h="2601661">
                      <a:moveTo>
                        <a:pt x="250660" y="0"/>
                      </a:moveTo>
                      <a:lnTo>
                        <a:pt x="1253269" y="0"/>
                      </a:lnTo>
                      <a:cubicBezTo>
                        <a:pt x="1391705" y="0"/>
                        <a:pt x="1503929" y="112224"/>
                        <a:pt x="1503929" y="250660"/>
                      </a:cubicBezTo>
                      <a:lnTo>
                        <a:pt x="1503929" y="969466"/>
                      </a:lnTo>
                      <a:cubicBezTo>
                        <a:pt x="1503929" y="1162927"/>
                        <a:pt x="1424293" y="1273835"/>
                        <a:pt x="1337830" y="1273835"/>
                      </a:cubicBezTo>
                      <a:cubicBezTo>
                        <a:pt x="1272982" y="1273835"/>
                        <a:pt x="1222685" y="1211449"/>
                        <a:pt x="1201589" y="1098640"/>
                      </a:cubicBezTo>
                      <a:lnTo>
                        <a:pt x="1198671" y="1063799"/>
                      </a:lnTo>
                      <a:lnTo>
                        <a:pt x="1198671" y="542915"/>
                      </a:lnTo>
                      <a:cubicBezTo>
                        <a:pt x="1198671" y="516894"/>
                        <a:pt x="1177577" y="495800"/>
                        <a:pt x="1151556" y="495800"/>
                      </a:cubicBezTo>
                      <a:cubicBezTo>
                        <a:pt x="1125535" y="495800"/>
                        <a:pt x="1104441" y="516894"/>
                        <a:pt x="1104441" y="542915"/>
                      </a:cubicBezTo>
                      <a:lnTo>
                        <a:pt x="1104442" y="2503652"/>
                      </a:lnTo>
                      <a:lnTo>
                        <a:pt x="1081278" y="2541055"/>
                      </a:lnTo>
                      <a:cubicBezTo>
                        <a:pt x="1050178" y="2576635"/>
                        <a:pt x="1007216" y="2601660"/>
                        <a:pt x="959769" y="2601660"/>
                      </a:cubicBezTo>
                      <a:cubicBezTo>
                        <a:pt x="888598" y="2601660"/>
                        <a:pt x="827518" y="2545352"/>
                        <a:pt x="801427" y="2481581"/>
                      </a:cubicBezTo>
                      <a:lnTo>
                        <a:pt x="800216" y="2475803"/>
                      </a:lnTo>
                      <a:lnTo>
                        <a:pt x="800216" y="1640961"/>
                      </a:lnTo>
                      <a:cubicBezTo>
                        <a:pt x="800216" y="1614940"/>
                        <a:pt x="779122" y="1593846"/>
                        <a:pt x="753101" y="1593846"/>
                      </a:cubicBezTo>
                      <a:cubicBezTo>
                        <a:pt x="727080" y="1593846"/>
                        <a:pt x="705986" y="1614940"/>
                        <a:pt x="705986" y="1640961"/>
                      </a:cubicBezTo>
                      <a:lnTo>
                        <a:pt x="705987" y="2475796"/>
                      </a:lnTo>
                      <a:lnTo>
                        <a:pt x="704774" y="2481582"/>
                      </a:lnTo>
                      <a:cubicBezTo>
                        <a:pt x="678683" y="2545353"/>
                        <a:pt x="617604" y="2601661"/>
                        <a:pt x="546433" y="2601661"/>
                      </a:cubicBezTo>
                      <a:cubicBezTo>
                        <a:pt x="498985" y="2601661"/>
                        <a:pt x="456023" y="2576636"/>
                        <a:pt x="424923" y="2541056"/>
                      </a:cubicBezTo>
                      <a:lnTo>
                        <a:pt x="401759" y="2503653"/>
                      </a:lnTo>
                      <a:lnTo>
                        <a:pt x="401759" y="542915"/>
                      </a:lnTo>
                      <a:cubicBezTo>
                        <a:pt x="401759" y="516894"/>
                        <a:pt x="380665" y="495800"/>
                        <a:pt x="354644" y="495800"/>
                      </a:cubicBezTo>
                      <a:cubicBezTo>
                        <a:pt x="328623" y="495800"/>
                        <a:pt x="307529" y="516894"/>
                        <a:pt x="307529" y="542915"/>
                      </a:cubicBezTo>
                      <a:lnTo>
                        <a:pt x="307529" y="1021717"/>
                      </a:lnTo>
                      <a:lnTo>
                        <a:pt x="299315" y="1098640"/>
                      </a:lnTo>
                      <a:cubicBezTo>
                        <a:pt x="272864" y="1211449"/>
                        <a:pt x="211857" y="1273835"/>
                        <a:pt x="147010" y="1273835"/>
                      </a:cubicBezTo>
                      <a:cubicBezTo>
                        <a:pt x="82162" y="1273835"/>
                        <a:pt x="31865" y="1211449"/>
                        <a:pt x="10769" y="1098640"/>
                      </a:cubicBezTo>
                      <a:lnTo>
                        <a:pt x="0" y="970063"/>
                      </a:lnTo>
                      <a:lnTo>
                        <a:pt x="0" y="250660"/>
                      </a:lnTo>
                      <a:cubicBezTo>
                        <a:pt x="0" y="112224"/>
                        <a:pt x="112224" y="0"/>
                        <a:pt x="250660"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latin typeface="+mj-lt"/>
                  </a:endParaRPr>
                </a:p>
              </p:txBody>
            </p:sp>
          </p:grpSp>
        </p:grpSp>
        <p:sp>
          <p:nvSpPr>
            <p:cNvPr id="115" name="矩形 114"/>
            <p:cNvSpPr/>
            <p:nvPr/>
          </p:nvSpPr>
          <p:spPr>
            <a:xfrm>
              <a:off x="5254143" y="2494446"/>
              <a:ext cx="3421444" cy="800288"/>
            </a:xfrm>
            <a:prstGeom prst="rect">
              <a:avLst/>
            </a:prstGeom>
          </p:spPr>
          <p:txBody>
            <a:bodyPr wrap="square">
              <a:spAutoFit/>
            </a:bodyPr>
            <a:lstStyle/>
            <a:p>
              <a:pPr algn="ctr">
                <a:buNone/>
              </a:pPr>
              <a:r>
                <a:rPr lang="en-US" altLang="zh-CN" b="1" dirty="0">
                  <a:solidFill>
                    <a:srgbClr val="FFFF00"/>
                  </a:solidFill>
                </a:rPr>
                <a:t>1M</a:t>
              </a:r>
            </a:p>
            <a:p>
              <a:pPr algn="ctr">
                <a:buNone/>
              </a:pPr>
              <a:r>
                <a:rPr lang="en-US" altLang="zh-CN" sz="1500" dirty="0">
                  <a:solidFill>
                    <a:schemeClr val="bg1"/>
                  </a:solidFill>
                </a:rPr>
                <a:t>Connections/km</a:t>
              </a:r>
              <a:r>
                <a:rPr lang="en-US" altLang="zh-CN" sz="1500" baseline="30000" dirty="0">
                  <a:solidFill>
                    <a:schemeClr val="bg1"/>
                  </a:solidFill>
                </a:rPr>
                <a:t>2</a:t>
              </a:r>
              <a:endParaRPr lang="zh-CN" altLang="en-US" sz="1500" baseline="30000" dirty="0">
                <a:solidFill>
                  <a:schemeClr val="bg1"/>
                </a:solidFill>
              </a:endParaRPr>
            </a:p>
          </p:txBody>
        </p:sp>
        <p:sp>
          <p:nvSpPr>
            <p:cNvPr id="4" name="矩形 3"/>
            <p:cNvSpPr/>
            <p:nvPr/>
          </p:nvSpPr>
          <p:spPr>
            <a:xfrm>
              <a:off x="7926337" y="3092401"/>
              <a:ext cx="1651034" cy="800288"/>
            </a:xfrm>
            <a:prstGeom prst="rect">
              <a:avLst/>
            </a:prstGeom>
          </p:spPr>
          <p:txBody>
            <a:bodyPr wrap="none">
              <a:spAutoFit/>
            </a:bodyPr>
            <a:lstStyle/>
            <a:p>
              <a:pPr algn="ctr"/>
              <a:r>
                <a:rPr lang="en-US" altLang="zh-CN" b="1" dirty="0">
                  <a:solidFill>
                    <a:srgbClr val="FFFF00"/>
                  </a:solidFill>
                  <a:sym typeface="Wingdings" panose="05000000000000000000" pitchFamily="2" charset="2"/>
                </a:rPr>
                <a:t>1ms</a:t>
              </a:r>
              <a:r>
                <a:rPr lang="en-US" altLang="zh-CN" b="1" dirty="0">
                  <a:solidFill>
                    <a:schemeClr val="bg1"/>
                  </a:solidFill>
                  <a:sym typeface="Wingdings" panose="05000000000000000000" pitchFamily="2" charset="2"/>
                </a:rPr>
                <a:t> </a:t>
              </a:r>
            </a:p>
            <a:p>
              <a:r>
                <a:rPr lang="en-US" altLang="zh-CN" sz="1500" dirty="0">
                  <a:solidFill>
                    <a:schemeClr val="bg1"/>
                  </a:solidFill>
                  <a:latin typeface="FrutigerNext LT Medium" panose="020B0603040504020204" pitchFamily="34" charset="0"/>
                  <a:sym typeface="Wingdings" panose="05000000000000000000" pitchFamily="2" charset="2"/>
                </a:rPr>
                <a:t>L</a:t>
              </a:r>
              <a:r>
                <a:rPr lang="en-US" altLang="zh-CN" sz="1500" dirty="0">
                  <a:solidFill>
                    <a:schemeClr val="bg1"/>
                  </a:solidFill>
                  <a:latin typeface="FrutigerNext LT Medium" panose="020B0603040504020204" pitchFamily="34" charset="0"/>
                  <a:sym typeface="Wingdings" panose="05000000000000000000" pitchFamily="2" charset="2"/>
                </a:rPr>
                <a:t>atency</a:t>
              </a:r>
            </a:p>
          </p:txBody>
        </p:sp>
        <p:sp>
          <p:nvSpPr>
            <p:cNvPr id="126" name="矩形 125"/>
            <p:cNvSpPr/>
            <p:nvPr/>
          </p:nvSpPr>
          <p:spPr>
            <a:xfrm>
              <a:off x="5785673" y="3501802"/>
              <a:ext cx="2752473" cy="1108092"/>
            </a:xfrm>
            <a:prstGeom prst="rect">
              <a:avLst/>
            </a:prstGeom>
          </p:spPr>
          <p:txBody>
            <a:bodyPr wrap="square">
              <a:spAutoFit/>
            </a:bodyPr>
            <a:lstStyle/>
            <a:p>
              <a:pPr algn="ctr"/>
              <a:r>
                <a:rPr lang="en-US" altLang="zh-CN" b="1" dirty="0">
                  <a:solidFill>
                    <a:srgbClr val="FFFF00"/>
                  </a:solidFill>
                  <a:sym typeface="Wingdings" panose="05000000000000000000" pitchFamily="2" charset="2"/>
                </a:rPr>
                <a:t>10Gbps </a:t>
              </a:r>
            </a:p>
            <a:p>
              <a:pPr algn="ctr"/>
              <a:r>
                <a:rPr lang="en-US" altLang="zh-CN" sz="1500" dirty="0">
                  <a:solidFill>
                    <a:schemeClr val="bg1"/>
                  </a:solidFill>
                  <a:latin typeface="FrutigerNext LT Medium" panose="020B0603040504020204" pitchFamily="34" charset="0"/>
                  <a:sym typeface="Wingdings" panose="05000000000000000000" pitchFamily="2" charset="2"/>
                </a:rPr>
                <a:t>Per connection</a:t>
              </a:r>
            </a:p>
          </p:txBody>
        </p:sp>
      </p:grpSp>
      <p:sp>
        <p:nvSpPr>
          <p:cNvPr id="127" name="文本框 126"/>
          <p:cNvSpPr txBox="1"/>
          <p:nvPr/>
        </p:nvSpPr>
        <p:spPr>
          <a:xfrm>
            <a:off x="2741477" y="4811618"/>
            <a:ext cx="2317329" cy="369332"/>
          </a:xfrm>
          <a:prstGeom prst="rect">
            <a:avLst/>
          </a:prstGeom>
          <a:noFill/>
        </p:spPr>
        <p:txBody>
          <a:bodyPr wrap="square" rtlCol="0">
            <a:spAutoFit/>
          </a:bodyPr>
          <a:lstStyle/>
          <a:p>
            <a:pPr algn="ctr"/>
            <a:r>
              <a:rPr lang="en-US" altLang="zh-CN" dirty="0" smtClean="0">
                <a:solidFill>
                  <a:schemeClr val="bg1"/>
                </a:solidFill>
                <a:latin typeface="FrutigerNext LT Medium" panose="020B0603040504020204" pitchFamily="34" charset="0"/>
              </a:rPr>
              <a:t>All connection</a:t>
            </a:r>
            <a:endParaRPr lang="zh-CN" altLang="en-US" dirty="0" smtClean="0">
              <a:solidFill>
                <a:schemeClr val="bg1"/>
              </a:solidFill>
              <a:latin typeface="FrutigerNext LT Medium" panose="020B0603040504020204" pitchFamily="34" charset="0"/>
            </a:endParaRPr>
          </a:p>
        </p:txBody>
      </p:sp>
      <p:grpSp>
        <p:nvGrpSpPr>
          <p:cNvPr id="131" name="组合 33"/>
          <p:cNvGrpSpPr/>
          <p:nvPr/>
        </p:nvGrpSpPr>
        <p:grpSpPr>
          <a:xfrm>
            <a:off x="6500692" y="2079761"/>
            <a:ext cx="2392208" cy="3113262"/>
            <a:chOff x="2835924" y="1609344"/>
            <a:chExt cx="3189887" cy="4151376"/>
          </a:xfrm>
        </p:grpSpPr>
        <p:sp>
          <p:nvSpPr>
            <p:cNvPr id="132" name="Freeform 6"/>
            <p:cNvSpPr>
              <a:spLocks/>
            </p:cNvSpPr>
            <p:nvPr/>
          </p:nvSpPr>
          <p:spPr bwMode="auto">
            <a:xfrm>
              <a:off x="2926767" y="3185886"/>
              <a:ext cx="2847297" cy="2013176"/>
            </a:xfrm>
            <a:custGeom>
              <a:avLst/>
              <a:gdLst/>
              <a:ahLst/>
              <a:cxnLst>
                <a:cxn ang="0">
                  <a:pos x="0" y="0"/>
                </a:cxn>
                <a:cxn ang="0">
                  <a:pos x="594" y="0"/>
                </a:cxn>
                <a:cxn ang="0">
                  <a:pos x="481" y="217"/>
                </a:cxn>
                <a:cxn ang="0">
                  <a:pos x="594" y="434"/>
                </a:cxn>
                <a:cxn ang="0">
                  <a:pos x="0" y="434"/>
                </a:cxn>
                <a:cxn ang="0">
                  <a:pos x="113" y="217"/>
                </a:cxn>
                <a:cxn ang="0">
                  <a:pos x="0" y="0"/>
                </a:cxn>
              </a:cxnLst>
              <a:rect l="0" t="0" r="r" b="b"/>
              <a:pathLst>
                <a:path w="594" h="434">
                  <a:moveTo>
                    <a:pt x="0" y="0"/>
                  </a:moveTo>
                  <a:cubicBezTo>
                    <a:pt x="594" y="0"/>
                    <a:pt x="594" y="0"/>
                    <a:pt x="594" y="0"/>
                  </a:cubicBezTo>
                  <a:cubicBezTo>
                    <a:pt x="525" y="50"/>
                    <a:pt x="481" y="129"/>
                    <a:pt x="481" y="217"/>
                  </a:cubicBezTo>
                  <a:cubicBezTo>
                    <a:pt x="481" y="305"/>
                    <a:pt x="525" y="384"/>
                    <a:pt x="594" y="434"/>
                  </a:cubicBezTo>
                  <a:cubicBezTo>
                    <a:pt x="0" y="434"/>
                    <a:pt x="0" y="434"/>
                    <a:pt x="0" y="434"/>
                  </a:cubicBezTo>
                  <a:cubicBezTo>
                    <a:pt x="68" y="384"/>
                    <a:pt x="113" y="305"/>
                    <a:pt x="113" y="217"/>
                  </a:cubicBezTo>
                  <a:cubicBezTo>
                    <a:pt x="113" y="129"/>
                    <a:pt x="68" y="50"/>
                    <a:pt x="0" y="0"/>
                  </a:cubicBezTo>
                  <a:close/>
                </a:path>
              </a:pathLst>
            </a:custGeom>
            <a:gradFill flip="none" rotWithShape="1">
              <a:gsLst>
                <a:gs pos="47000">
                  <a:srgbClr val="008BBC">
                    <a:alpha val="63000"/>
                  </a:srgbClr>
                </a:gs>
                <a:gs pos="100000">
                  <a:srgbClr val="0070C0">
                    <a:alpha val="0"/>
                  </a:srgbClr>
                </a:gs>
                <a:gs pos="0">
                  <a:srgbClr val="0070C0">
                    <a:alpha val="0"/>
                  </a:srgbClr>
                </a:gs>
              </a:gsLst>
              <a:lin ang="16200000" scaled="1"/>
              <a:tileRect/>
            </a:gradFill>
            <a:ln w="9525">
              <a:noFill/>
              <a:miter lim="800000"/>
              <a:headEnd/>
              <a:tailEnd/>
            </a:ln>
          </p:spPr>
          <p:txBody>
            <a:bodyPr vert="horz" wrap="square" lIns="91450" tIns="45725" rIns="91450" bIns="45725" numCol="1" anchor="t" anchorCtr="0" compatLnSpc="1">
              <a:prstTxWarp prst="textNoShape">
                <a:avLst/>
              </a:prstTxWarp>
            </a:bodyPr>
            <a:lstStyle/>
            <a:p>
              <a:pPr indent="-179996" defTabSz="502625">
                <a:lnSpc>
                  <a:spcPts val="2799"/>
                </a:lnSpc>
                <a:buClr>
                  <a:srgbClr val="CC9900"/>
                </a:buClr>
                <a:buFont typeface="Arial" pitchFamily="34" charset="0"/>
                <a:buChar char="•"/>
              </a:pPr>
              <a:endParaRPr lang="zh-CN" altLang="en-US" sz="450" dirty="0">
                <a:solidFill>
                  <a:schemeClr val="bg1"/>
                </a:solidFill>
                <a:sym typeface="Arial" pitchFamily="34" charset="0"/>
              </a:endParaRPr>
            </a:p>
          </p:txBody>
        </p:sp>
        <p:sp>
          <p:nvSpPr>
            <p:cNvPr id="133" name="Freeform 45"/>
            <p:cNvSpPr>
              <a:spLocks/>
            </p:cNvSpPr>
            <p:nvPr>
              <p:custDataLst>
                <p:tags r:id="rId1"/>
              </p:custDataLst>
            </p:nvPr>
          </p:nvSpPr>
          <p:spPr bwMode="auto">
            <a:xfrm>
              <a:off x="2859748" y="1609344"/>
              <a:ext cx="3054956" cy="1546615"/>
            </a:xfrm>
            <a:custGeom>
              <a:avLst/>
              <a:gdLst/>
              <a:ahLst/>
              <a:cxnLst>
                <a:cxn ang="0">
                  <a:pos x="120" y="754"/>
                </a:cxn>
                <a:cxn ang="0">
                  <a:pos x="805" y="754"/>
                </a:cxn>
                <a:cxn ang="0">
                  <a:pos x="1176" y="753"/>
                </a:cxn>
                <a:cxn ang="0">
                  <a:pos x="1225" y="737"/>
                </a:cxn>
                <a:cxn ang="0">
                  <a:pos x="1267" y="707"/>
                </a:cxn>
                <a:cxn ang="0">
                  <a:pos x="1297" y="667"/>
                </a:cxn>
                <a:cxn ang="0">
                  <a:pos x="1318" y="616"/>
                </a:cxn>
                <a:cxn ang="0">
                  <a:pos x="1323" y="560"/>
                </a:cxn>
                <a:cxn ang="0">
                  <a:pos x="1318" y="525"/>
                </a:cxn>
                <a:cxn ang="0">
                  <a:pos x="1299" y="474"/>
                </a:cxn>
                <a:cxn ang="0">
                  <a:pos x="1269" y="434"/>
                </a:cxn>
                <a:cxn ang="0">
                  <a:pos x="1230" y="402"/>
                </a:cxn>
                <a:cxn ang="0">
                  <a:pos x="1183" y="385"/>
                </a:cxn>
                <a:cxn ang="0">
                  <a:pos x="1149" y="381"/>
                </a:cxn>
                <a:cxn ang="0">
                  <a:pos x="1144" y="375"/>
                </a:cxn>
                <a:cxn ang="0">
                  <a:pos x="1113" y="435"/>
                </a:cxn>
                <a:cxn ang="0">
                  <a:pos x="1073" y="484"/>
                </a:cxn>
                <a:cxn ang="0">
                  <a:pos x="1103" y="397"/>
                </a:cxn>
                <a:cxn ang="0">
                  <a:pos x="1112" y="306"/>
                </a:cxn>
                <a:cxn ang="0">
                  <a:pos x="1105" y="248"/>
                </a:cxn>
                <a:cxn ang="0">
                  <a:pos x="1076" y="167"/>
                </a:cxn>
                <a:cxn ang="0">
                  <a:pos x="1027" y="98"/>
                </a:cxn>
                <a:cxn ang="0">
                  <a:pos x="984" y="59"/>
                </a:cxn>
                <a:cxn ang="0">
                  <a:pos x="896" y="15"/>
                </a:cxn>
                <a:cxn ang="0">
                  <a:pos x="840" y="4"/>
                </a:cxn>
                <a:cxn ang="0">
                  <a:pos x="769" y="2"/>
                </a:cxn>
                <a:cxn ang="0">
                  <a:pos x="724" y="10"/>
                </a:cxn>
                <a:cxn ang="0">
                  <a:pos x="678" y="25"/>
                </a:cxn>
                <a:cxn ang="0">
                  <a:pos x="607" y="73"/>
                </a:cxn>
                <a:cxn ang="0">
                  <a:pos x="550" y="137"/>
                </a:cxn>
                <a:cxn ang="0">
                  <a:pos x="521" y="187"/>
                </a:cxn>
                <a:cxn ang="0">
                  <a:pos x="503" y="243"/>
                </a:cxn>
                <a:cxn ang="0">
                  <a:pos x="489" y="248"/>
                </a:cxn>
                <a:cxn ang="0">
                  <a:pos x="452" y="213"/>
                </a:cxn>
                <a:cxn ang="0">
                  <a:pos x="424" y="194"/>
                </a:cxn>
                <a:cxn ang="0">
                  <a:pos x="376" y="177"/>
                </a:cxn>
                <a:cxn ang="0">
                  <a:pos x="326" y="171"/>
                </a:cxn>
                <a:cxn ang="0">
                  <a:pos x="292" y="174"/>
                </a:cxn>
                <a:cxn ang="0">
                  <a:pos x="241" y="186"/>
                </a:cxn>
                <a:cxn ang="0">
                  <a:pos x="192" y="211"/>
                </a:cxn>
                <a:cxn ang="0">
                  <a:pos x="159" y="236"/>
                </a:cxn>
                <a:cxn ang="0">
                  <a:pos x="118" y="284"/>
                </a:cxn>
                <a:cxn ang="0">
                  <a:pos x="91" y="336"/>
                </a:cxn>
                <a:cxn ang="0">
                  <a:pos x="81" y="380"/>
                </a:cxn>
                <a:cxn ang="0">
                  <a:pos x="84" y="446"/>
                </a:cxn>
                <a:cxn ang="0">
                  <a:pos x="110" y="510"/>
                </a:cxn>
                <a:cxn ang="0">
                  <a:pos x="86" y="513"/>
                </a:cxn>
                <a:cxn ang="0">
                  <a:pos x="56" y="527"/>
                </a:cxn>
                <a:cxn ang="0">
                  <a:pos x="31" y="548"/>
                </a:cxn>
                <a:cxn ang="0">
                  <a:pos x="12" y="577"/>
                </a:cxn>
                <a:cxn ang="0">
                  <a:pos x="2" y="613"/>
                </a:cxn>
                <a:cxn ang="0">
                  <a:pos x="0" y="638"/>
                </a:cxn>
                <a:cxn ang="0">
                  <a:pos x="7" y="673"/>
                </a:cxn>
                <a:cxn ang="0">
                  <a:pos x="22" y="704"/>
                </a:cxn>
                <a:cxn ang="0">
                  <a:pos x="44" y="729"/>
                </a:cxn>
                <a:cxn ang="0">
                  <a:pos x="73" y="746"/>
                </a:cxn>
                <a:cxn ang="0">
                  <a:pos x="105" y="754"/>
                </a:cxn>
              </a:cxnLst>
              <a:rect l="0" t="0" r="r" b="b"/>
              <a:pathLst>
                <a:path w="1323" h="756">
                  <a:moveTo>
                    <a:pt x="115" y="756"/>
                  </a:moveTo>
                  <a:lnTo>
                    <a:pt x="115" y="756"/>
                  </a:lnTo>
                  <a:lnTo>
                    <a:pt x="120" y="754"/>
                  </a:lnTo>
                  <a:lnTo>
                    <a:pt x="618" y="754"/>
                  </a:lnTo>
                  <a:lnTo>
                    <a:pt x="639" y="754"/>
                  </a:lnTo>
                  <a:lnTo>
                    <a:pt x="805" y="754"/>
                  </a:lnTo>
                  <a:lnTo>
                    <a:pt x="1159" y="754"/>
                  </a:lnTo>
                  <a:lnTo>
                    <a:pt x="1159" y="754"/>
                  </a:lnTo>
                  <a:lnTo>
                    <a:pt x="1176" y="753"/>
                  </a:lnTo>
                  <a:lnTo>
                    <a:pt x="1193" y="749"/>
                  </a:lnTo>
                  <a:lnTo>
                    <a:pt x="1210" y="744"/>
                  </a:lnTo>
                  <a:lnTo>
                    <a:pt x="1225" y="737"/>
                  </a:lnTo>
                  <a:lnTo>
                    <a:pt x="1240" y="729"/>
                  </a:lnTo>
                  <a:lnTo>
                    <a:pt x="1253" y="719"/>
                  </a:lnTo>
                  <a:lnTo>
                    <a:pt x="1267" y="707"/>
                  </a:lnTo>
                  <a:lnTo>
                    <a:pt x="1279" y="695"/>
                  </a:lnTo>
                  <a:lnTo>
                    <a:pt x="1289" y="682"/>
                  </a:lnTo>
                  <a:lnTo>
                    <a:pt x="1297" y="667"/>
                  </a:lnTo>
                  <a:lnTo>
                    <a:pt x="1306" y="651"/>
                  </a:lnTo>
                  <a:lnTo>
                    <a:pt x="1312" y="634"/>
                  </a:lnTo>
                  <a:lnTo>
                    <a:pt x="1318" y="616"/>
                  </a:lnTo>
                  <a:lnTo>
                    <a:pt x="1321" y="599"/>
                  </a:lnTo>
                  <a:lnTo>
                    <a:pt x="1323" y="580"/>
                  </a:lnTo>
                  <a:lnTo>
                    <a:pt x="1323" y="560"/>
                  </a:lnTo>
                  <a:lnTo>
                    <a:pt x="1323" y="560"/>
                  </a:lnTo>
                  <a:lnTo>
                    <a:pt x="1321" y="542"/>
                  </a:lnTo>
                  <a:lnTo>
                    <a:pt x="1318" y="525"/>
                  </a:lnTo>
                  <a:lnTo>
                    <a:pt x="1312" y="506"/>
                  </a:lnTo>
                  <a:lnTo>
                    <a:pt x="1307" y="489"/>
                  </a:lnTo>
                  <a:lnTo>
                    <a:pt x="1299" y="474"/>
                  </a:lnTo>
                  <a:lnTo>
                    <a:pt x="1291" y="459"/>
                  </a:lnTo>
                  <a:lnTo>
                    <a:pt x="1280" y="446"/>
                  </a:lnTo>
                  <a:lnTo>
                    <a:pt x="1269" y="434"/>
                  </a:lnTo>
                  <a:lnTo>
                    <a:pt x="1257" y="422"/>
                  </a:lnTo>
                  <a:lnTo>
                    <a:pt x="1243" y="412"/>
                  </a:lnTo>
                  <a:lnTo>
                    <a:pt x="1230" y="402"/>
                  </a:lnTo>
                  <a:lnTo>
                    <a:pt x="1215" y="395"/>
                  </a:lnTo>
                  <a:lnTo>
                    <a:pt x="1199" y="390"/>
                  </a:lnTo>
                  <a:lnTo>
                    <a:pt x="1183" y="385"/>
                  </a:lnTo>
                  <a:lnTo>
                    <a:pt x="1166" y="381"/>
                  </a:lnTo>
                  <a:lnTo>
                    <a:pt x="1149" y="381"/>
                  </a:lnTo>
                  <a:lnTo>
                    <a:pt x="1149" y="381"/>
                  </a:lnTo>
                  <a:lnTo>
                    <a:pt x="1142" y="381"/>
                  </a:lnTo>
                  <a:lnTo>
                    <a:pt x="1142" y="381"/>
                  </a:lnTo>
                  <a:lnTo>
                    <a:pt x="1144" y="375"/>
                  </a:lnTo>
                  <a:lnTo>
                    <a:pt x="1144" y="375"/>
                  </a:lnTo>
                  <a:lnTo>
                    <a:pt x="1130" y="407"/>
                  </a:lnTo>
                  <a:lnTo>
                    <a:pt x="1113" y="435"/>
                  </a:lnTo>
                  <a:lnTo>
                    <a:pt x="1095" y="461"/>
                  </a:lnTo>
                  <a:lnTo>
                    <a:pt x="1073" y="484"/>
                  </a:lnTo>
                  <a:lnTo>
                    <a:pt x="1073" y="484"/>
                  </a:lnTo>
                  <a:lnTo>
                    <a:pt x="1085" y="456"/>
                  </a:lnTo>
                  <a:lnTo>
                    <a:pt x="1097" y="425"/>
                  </a:lnTo>
                  <a:lnTo>
                    <a:pt x="1103" y="397"/>
                  </a:lnTo>
                  <a:lnTo>
                    <a:pt x="1108" y="366"/>
                  </a:lnTo>
                  <a:lnTo>
                    <a:pt x="1112" y="336"/>
                  </a:lnTo>
                  <a:lnTo>
                    <a:pt x="1112" y="306"/>
                  </a:lnTo>
                  <a:lnTo>
                    <a:pt x="1110" y="277"/>
                  </a:lnTo>
                  <a:lnTo>
                    <a:pt x="1105" y="248"/>
                  </a:lnTo>
                  <a:lnTo>
                    <a:pt x="1105" y="248"/>
                  </a:lnTo>
                  <a:lnTo>
                    <a:pt x="1097" y="219"/>
                  </a:lnTo>
                  <a:lnTo>
                    <a:pt x="1088" y="192"/>
                  </a:lnTo>
                  <a:lnTo>
                    <a:pt x="1076" y="167"/>
                  </a:lnTo>
                  <a:lnTo>
                    <a:pt x="1061" y="142"/>
                  </a:lnTo>
                  <a:lnTo>
                    <a:pt x="1046" y="118"/>
                  </a:lnTo>
                  <a:lnTo>
                    <a:pt x="1027" y="98"/>
                  </a:lnTo>
                  <a:lnTo>
                    <a:pt x="1007" y="78"/>
                  </a:lnTo>
                  <a:lnTo>
                    <a:pt x="984" y="59"/>
                  </a:lnTo>
                  <a:lnTo>
                    <a:pt x="984" y="59"/>
                  </a:lnTo>
                  <a:lnTo>
                    <a:pt x="957" y="42"/>
                  </a:lnTo>
                  <a:lnTo>
                    <a:pt x="926" y="27"/>
                  </a:lnTo>
                  <a:lnTo>
                    <a:pt x="896" y="15"/>
                  </a:lnTo>
                  <a:lnTo>
                    <a:pt x="862" y="7"/>
                  </a:lnTo>
                  <a:lnTo>
                    <a:pt x="862" y="7"/>
                  </a:lnTo>
                  <a:lnTo>
                    <a:pt x="840" y="4"/>
                  </a:lnTo>
                  <a:lnTo>
                    <a:pt x="817" y="2"/>
                  </a:lnTo>
                  <a:lnTo>
                    <a:pt x="793" y="0"/>
                  </a:lnTo>
                  <a:lnTo>
                    <a:pt x="769" y="2"/>
                  </a:lnTo>
                  <a:lnTo>
                    <a:pt x="769" y="2"/>
                  </a:lnTo>
                  <a:lnTo>
                    <a:pt x="746" y="5"/>
                  </a:lnTo>
                  <a:lnTo>
                    <a:pt x="724" y="10"/>
                  </a:lnTo>
                  <a:lnTo>
                    <a:pt x="700" y="17"/>
                  </a:lnTo>
                  <a:lnTo>
                    <a:pt x="678" y="25"/>
                  </a:lnTo>
                  <a:lnTo>
                    <a:pt x="678" y="25"/>
                  </a:lnTo>
                  <a:lnTo>
                    <a:pt x="653" y="39"/>
                  </a:lnTo>
                  <a:lnTo>
                    <a:pt x="629" y="56"/>
                  </a:lnTo>
                  <a:lnTo>
                    <a:pt x="607" y="73"/>
                  </a:lnTo>
                  <a:lnTo>
                    <a:pt x="585" y="93"/>
                  </a:lnTo>
                  <a:lnTo>
                    <a:pt x="567" y="113"/>
                  </a:lnTo>
                  <a:lnTo>
                    <a:pt x="550" y="137"/>
                  </a:lnTo>
                  <a:lnTo>
                    <a:pt x="535" y="162"/>
                  </a:lnTo>
                  <a:lnTo>
                    <a:pt x="521" y="187"/>
                  </a:lnTo>
                  <a:lnTo>
                    <a:pt x="521" y="187"/>
                  </a:lnTo>
                  <a:lnTo>
                    <a:pt x="515" y="206"/>
                  </a:lnTo>
                  <a:lnTo>
                    <a:pt x="508" y="225"/>
                  </a:lnTo>
                  <a:lnTo>
                    <a:pt x="503" y="243"/>
                  </a:lnTo>
                  <a:lnTo>
                    <a:pt x="499" y="262"/>
                  </a:lnTo>
                  <a:lnTo>
                    <a:pt x="499" y="262"/>
                  </a:lnTo>
                  <a:lnTo>
                    <a:pt x="489" y="248"/>
                  </a:lnTo>
                  <a:lnTo>
                    <a:pt x="478" y="235"/>
                  </a:lnTo>
                  <a:lnTo>
                    <a:pt x="466" y="223"/>
                  </a:lnTo>
                  <a:lnTo>
                    <a:pt x="452" y="213"/>
                  </a:lnTo>
                  <a:lnTo>
                    <a:pt x="452" y="213"/>
                  </a:lnTo>
                  <a:lnTo>
                    <a:pt x="439" y="203"/>
                  </a:lnTo>
                  <a:lnTo>
                    <a:pt x="424" y="194"/>
                  </a:lnTo>
                  <a:lnTo>
                    <a:pt x="408" y="187"/>
                  </a:lnTo>
                  <a:lnTo>
                    <a:pt x="393" y="182"/>
                  </a:lnTo>
                  <a:lnTo>
                    <a:pt x="376" y="177"/>
                  </a:lnTo>
                  <a:lnTo>
                    <a:pt x="359" y="174"/>
                  </a:lnTo>
                  <a:lnTo>
                    <a:pt x="343" y="172"/>
                  </a:lnTo>
                  <a:lnTo>
                    <a:pt x="326" y="171"/>
                  </a:lnTo>
                  <a:lnTo>
                    <a:pt x="326" y="171"/>
                  </a:lnTo>
                  <a:lnTo>
                    <a:pt x="309" y="172"/>
                  </a:lnTo>
                  <a:lnTo>
                    <a:pt x="292" y="174"/>
                  </a:lnTo>
                  <a:lnTo>
                    <a:pt x="275" y="177"/>
                  </a:lnTo>
                  <a:lnTo>
                    <a:pt x="258" y="181"/>
                  </a:lnTo>
                  <a:lnTo>
                    <a:pt x="241" y="186"/>
                  </a:lnTo>
                  <a:lnTo>
                    <a:pt x="224" y="192"/>
                  </a:lnTo>
                  <a:lnTo>
                    <a:pt x="209" y="201"/>
                  </a:lnTo>
                  <a:lnTo>
                    <a:pt x="192" y="211"/>
                  </a:lnTo>
                  <a:lnTo>
                    <a:pt x="192" y="211"/>
                  </a:lnTo>
                  <a:lnTo>
                    <a:pt x="176" y="223"/>
                  </a:lnTo>
                  <a:lnTo>
                    <a:pt x="159" y="236"/>
                  </a:lnTo>
                  <a:lnTo>
                    <a:pt x="144" y="252"/>
                  </a:lnTo>
                  <a:lnTo>
                    <a:pt x="130" y="267"/>
                  </a:lnTo>
                  <a:lnTo>
                    <a:pt x="118" y="284"/>
                  </a:lnTo>
                  <a:lnTo>
                    <a:pt x="108" y="300"/>
                  </a:lnTo>
                  <a:lnTo>
                    <a:pt x="100" y="317"/>
                  </a:lnTo>
                  <a:lnTo>
                    <a:pt x="91" y="336"/>
                  </a:lnTo>
                  <a:lnTo>
                    <a:pt x="91" y="336"/>
                  </a:lnTo>
                  <a:lnTo>
                    <a:pt x="86" y="358"/>
                  </a:lnTo>
                  <a:lnTo>
                    <a:pt x="81" y="380"/>
                  </a:lnTo>
                  <a:lnTo>
                    <a:pt x="79" y="402"/>
                  </a:lnTo>
                  <a:lnTo>
                    <a:pt x="81" y="424"/>
                  </a:lnTo>
                  <a:lnTo>
                    <a:pt x="84" y="446"/>
                  </a:lnTo>
                  <a:lnTo>
                    <a:pt x="90" y="467"/>
                  </a:lnTo>
                  <a:lnTo>
                    <a:pt x="98" y="489"/>
                  </a:lnTo>
                  <a:lnTo>
                    <a:pt x="110" y="510"/>
                  </a:lnTo>
                  <a:lnTo>
                    <a:pt x="110" y="510"/>
                  </a:lnTo>
                  <a:lnTo>
                    <a:pt x="98" y="510"/>
                  </a:lnTo>
                  <a:lnTo>
                    <a:pt x="86" y="513"/>
                  </a:lnTo>
                  <a:lnTo>
                    <a:pt x="76" y="516"/>
                  </a:lnTo>
                  <a:lnTo>
                    <a:pt x="66" y="520"/>
                  </a:lnTo>
                  <a:lnTo>
                    <a:pt x="56" y="527"/>
                  </a:lnTo>
                  <a:lnTo>
                    <a:pt x="46" y="533"/>
                  </a:lnTo>
                  <a:lnTo>
                    <a:pt x="37" y="540"/>
                  </a:lnTo>
                  <a:lnTo>
                    <a:pt x="31" y="548"/>
                  </a:lnTo>
                  <a:lnTo>
                    <a:pt x="24" y="557"/>
                  </a:lnTo>
                  <a:lnTo>
                    <a:pt x="17" y="567"/>
                  </a:lnTo>
                  <a:lnTo>
                    <a:pt x="12" y="577"/>
                  </a:lnTo>
                  <a:lnTo>
                    <a:pt x="7" y="589"/>
                  </a:lnTo>
                  <a:lnTo>
                    <a:pt x="4" y="601"/>
                  </a:lnTo>
                  <a:lnTo>
                    <a:pt x="2" y="613"/>
                  </a:lnTo>
                  <a:lnTo>
                    <a:pt x="0" y="624"/>
                  </a:lnTo>
                  <a:lnTo>
                    <a:pt x="0" y="638"/>
                  </a:lnTo>
                  <a:lnTo>
                    <a:pt x="0" y="638"/>
                  </a:lnTo>
                  <a:lnTo>
                    <a:pt x="2" y="650"/>
                  </a:lnTo>
                  <a:lnTo>
                    <a:pt x="4" y="661"/>
                  </a:lnTo>
                  <a:lnTo>
                    <a:pt x="7" y="673"/>
                  </a:lnTo>
                  <a:lnTo>
                    <a:pt x="12" y="683"/>
                  </a:lnTo>
                  <a:lnTo>
                    <a:pt x="17" y="694"/>
                  </a:lnTo>
                  <a:lnTo>
                    <a:pt x="22" y="704"/>
                  </a:lnTo>
                  <a:lnTo>
                    <a:pt x="29" y="712"/>
                  </a:lnTo>
                  <a:lnTo>
                    <a:pt x="36" y="721"/>
                  </a:lnTo>
                  <a:lnTo>
                    <a:pt x="44" y="729"/>
                  </a:lnTo>
                  <a:lnTo>
                    <a:pt x="52" y="736"/>
                  </a:lnTo>
                  <a:lnTo>
                    <a:pt x="63" y="741"/>
                  </a:lnTo>
                  <a:lnTo>
                    <a:pt x="73" y="746"/>
                  </a:lnTo>
                  <a:lnTo>
                    <a:pt x="83" y="749"/>
                  </a:lnTo>
                  <a:lnTo>
                    <a:pt x="93" y="753"/>
                  </a:lnTo>
                  <a:lnTo>
                    <a:pt x="105" y="754"/>
                  </a:lnTo>
                  <a:lnTo>
                    <a:pt x="115" y="756"/>
                  </a:lnTo>
                  <a:lnTo>
                    <a:pt x="115" y="756"/>
                  </a:lnTo>
                  <a:close/>
                </a:path>
              </a:pathLst>
            </a:cu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2700000" scaled="1"/>
              <a:tileRect/>
            </a:gradFill>
            <a:ln w="12700" cap="flat" cmpd="sng" algn="ctr">
              <a:solidFill>
                <a:srgbClr val="6DA6D9"/>
              </a:solidFill>
              <a:prstDash val="solid"/>
              <a:round/>
              <a:headEnd type="none" w="med" len="med"/>
              <a:tailEnd type="none" w="med" len="med"/>
            </a:ln>
            <a:effectLst/>
            <a:scene3d>
              <a:camera prst="orthographicFront"/>
              <a:lightRig rig="flat" dir="t"/>
            </a:scene3d>
          </p:spPr>
          <p:txBody>
            <a:bodyPr rtlCol="0" anchor="ctr"/>
            <a:lstStyle/>
            <a:p>
              <a:pPr marL="0" lvl="4" indent="-179996" algn="ctr" defTabSz="502625" fontAlgn="ctr">
                <a:lnSpc>
                  <a:spcPts val="2799"/>
                </a:lnSpc>
                <a:spcBef>
                  <a:spcPts val="850"/>
                </a:spcBef>
                <a:buClr>
                  <a:srgbClr val="CC9900"/>
                </a:buClr>
                <a:buSzPct val="60000"/>
                <a:buFont typeface="Arial" pitchFamily="34" charset="0"/>
                <a:buChar char="•"/>
              </a:pPr>
              <a:endParaRPr lang="zh-CN" altLang="en-US" sz="825" dirty="0">
                <a:sym typeface="Arial"/>
              </a:endParaRPr>
            </a:p>
          </p:txBody>
        </p:sp>
        <p:sp>
          <p:nvSpPr>
            <p:cNvPr id="134" name="TextBox 12"/>
            <p:cNvSpPr txBox="1"/>
            <p:nvPr/>
          </p:nvSpPr>
          <p:spPr>
            <a:xfrm>
              <a:off x="3132244" y="2279183"/>
              <a:ext cx="2486455" cy="615607"/>
            </a:xfrm>
            <a:prstGeom prst="rect">
              <a:avLst/>
            </a:prstGeom>
            <a:noFill/>
          </p:spPr>
          <p:txBody>
            <a:bodyPr wrap="square" rtlCol="0">
              <a:spAutoFit/>
            </a:bodyPr>
            <a:lstStyle/>
            <a:p>
              <a:pPr algn="ctr"/>
              <a:r>
                <a:rPr kumimoji="1" lang="en-US" altLang="zh-CN" sz="2400" b="1" dirty="0">
                  <a:solidFill>
                    <a:schemeClr val="bg1"/>
                  </a:solidFill>
                  <a:cs typeface="Arial" pitchFamily="34" charset="0"/>
                  <a:sym typeface="Huawei Script Regular" charset="0"/>
                </a:rPr>
                <a:t>Cloud</a:t>
              </a:r>
            </a:p>
          </p:txBody>
        </p:sp>
        <p:sp>
          <p:nvSpPr>
            <p:cNvPr id="135" name="矩形 134"/>
            <p:cNvSpPr/>
            <p:nvPr/>
          </p:nvSpPr>
          <p:spPr>
            <a:xfrm>
              <a:off x="3875779" y="3454980"/>
              <a:ext cx="992266" cy="615620"/>
            </a:xfrm>
            <a:prstGeom prst="rect">
              <a:avLst/>
            </a:prstGeom>
            <a:noFill/>
          </p:spPr>
          <p:txBody>
            <a:bodyPr wrap="none" lIns="91450" tIns="45725" rIns="91450" bIns="45725">
              <a:spAutoFit/>
            </a:bodyPr>
            <a:lstStyle/>
            <a:p>
              <a:pPr algn="ctr"/>
              <a:r>
                <a:rPr kumimoji="1" lang="en-US" altLang="zh-CN" sz="2400" b="1" dirty="0">
                  <a:solidFill>
                    <a:schemeClr val="bg1"/>
                  </a:solidFill>
                  <a:cs typeface="Arial" pitchFamily="34" charset="0"/>
                  <a:sym typeface="Huawei Script Regular" charset="0"/>
                </a:rPr>
                <a:t>Pipe</a:t>
              </a:r>
              <a:endParaRPr kumimoji="1" lang="en-US" altLang="zh-CN" sz="2400" b="1" dirty="0">
                <a:solidFill>
                  <a:schemeClr val="bg1"/>
                </a:solidFill>
                <a:cs typeface="Arial" pitchFamily="34" charset="0"/>
                <a:sym typeface="Huawei Script Regular" charset="0"/>
              </a:endParaRPr>
            </a:p>
          </p:txBody>
        </p:sp>
        <p:sp>
          <p:nvSpPr>
            <p:cNvPr id="136" name="加号 135"/>
            <p:cNvSpPr/>
            <p:nvPr/>
          </p:nvSpPr>
          <p:spPr bwMode="auto">
            <a:xfrm>
              <a:off x="4182921" y="4146600"/>
              <a:ext cx="309702" cy="291791"/>
            </a:xfrm>
            <a:prstGeom prst="mathPlus">
              <a:avLst/>
            </a:prstGeom>
            <a:solidFill>
              <a:schemeClr val="bg1">
                <a:alpha val="63000"/>
              </a:schemeClr>
            </a:solidFill>
            <a:ln w="12700">
              <a:noFill/>
            </a:ln>
            <a:effectLst/>
            <a:extLst/>
          </p:spPr>
          <p:txBody>
            <a:bodyPr lIns="51417" tIns="25709" rIns="51417" bIns="25709"/>
            <a:lstStyle/>
            <a:p>
              <a:pPr defTabSz="914034">
                <a:buClr>
                  <a:srgbClr val="CC9900"/>
                </a:buClr>
                <a:buFont typeface="Wingdings" pitchFamily="2" charset="2"/>
                <a:buChar char="n"/>
                <a:defRPr/>
              </a:pPr>
              <a:endParaRPr lang="zh-CN" altLang="en-US" sz="600" dirty="0">
                <a:solidFill>
                  <a:schemeClr val="bg1"/>
                </a:solidFill>
              </a:endParaRPr>
            </a:p>
          </p:txBody>
        </p:sp>
        <p:sp>
          <p:nvSpPr>
            <p:cNvPr id="137" name="矩形 136"/>
            <p:cNvSpPr/>
            <p:nvPr/>
          </p:nvSpPr>
          <p:spPr>
            <a:xfrm>
              <a:off x="3629163" y="4589450"/>
              <a:ext cx="1548193" cy="615620"/>
            </a:xfrm>
            <a:prstGeom prst="rect">
              <a:avLst/>
            </a:prstGeom>
          </p:spPr>
          <p:txBody>
            <a:bodyPr wrap="none" lIns="91450" tIns="45725" rIns="91450" bIns="45725">
              <a:spAutoFit/>
            </a:bodyPr>
            <a:lstStyle/>
            <a:p>
              <a:pPr algn="ctr"/>
              <a:r>
                <a:rPr kumimoji="1" lang="en-US" altLang="zh-CN" sz="2400" b="1" dirty="0">
                  <a:solidFill>
                    <a:schemeClr val="bg1"/>
                  </a:solidFill>
                  <a:cs typeface="Arial" pitchFamily="34" charset="0"/>
                  <a:sym typeface="Huawei Script Regular" charset="0"/>
                </a:rPr>
                <a:t>Devices</a:t>
              </a:r>
              <a:endParaRPr kumimoji="1" lang="en-US" altLang="zh-CN" sz="2400" b="1" dirty="0">
                <a:solidFill>
                  <a:schemeClr val="bg1"/>
                </a:solidFill>
                <a:cs typeface="Arial" pitchFamily="34" charset="0"/>
                <a:sym typeface="Huawei Script Regular" charset="0"/>
              </a:endParaRPr>
            </a:p>
          </p:txBody>
        </p:sp>
        <p:sp>
          <p:nvSpPr>
            <p:cNvPr id="138" name="Freeform 18"/>
            <p:cNvSpPr>
              <a:spLocks noEditPoints="1"/>
            </p:cNvSpPr>
            <p:nvPr/>
          </p:nvSpPr>
          <p:spPr bwMode="auto">
            <a:xfrm>
              <a:off x="4589194" y="4023921"/>
              <a:ext cx="474140" cy="470883"/>
            </a:xfrm>
            <a:custGeom>
              <a:avLst/>
              <a:gdLst/>
              <a:ahLst/>
              <a:cxnLst>
                <a:cxn ang="0">
                  <a:pos x="27" y="159"/>
                </a:cxn>
                <a:cxn ang="0">
                  <a:pos x="160" y="159"/>
                </a:cxn>
                <a:cxn ang="0">
                  <a:pos x="187" y="94"/>
                </a:cxn>
                <a:cxn ang="0">
                  <a:pos x="161" y="30"/>
                </a:cxn>
                <a:cxn ang="0">
                  <a:pos x="159" y="28"/>
                </a:cxn>
                <a:cxn ang="0">
                  <a:pos x="156" y="25"/>
                </a:cxn>
                <a:cxn ang="0">
                  <a:pos x="155" y="24"/>
                </a:cxn>
                <a:cxn ang="0">
                  <a:pos x="31" y="24"/>
                </a:cxn>
                <a:cxn ang="0">
                  <a:pos x="27" y="28"/>
                </a:cxn>
                <a:cxn ang="0">
                  <a:pos x="27" y="28"/>
                </a:cxn>
                <a:cxn ang="0">
                  <a:pos x="25" y="30"/>
                </a:cxn>
                <a:cxn ang="0">
                  <a:pos x="0" y="94"/>
                </a:cxn>
                <a:cxn ang="0">
                  <a:pos x="26" y="158"/>
                </a:cxn>
                <a:cxn ang="0">
                  <a:pos x="46" y="91"/>
                </a:cxn>
                <a:cxn ang="0">
                  <a:pos x="26" y="38"/>
                </a:cxn>
                <a:cxn ang="0">
                  <a:pos x="135" y="91"/>
                </a:cxn>
                <a:cxn ang="0">
                  <a:pos x="96" y="55"/>
                </a:cxn>
                <a:cxn ang="0">
                  <a:pos x="129" y="51"/>
                </a:cxn>
                <a:cxn ang="0">
                  <a:pos x="141" y="96"/>
                </a:cxn>
                <a:cxn ang="0">
                  <a:pos x="160" y="150"/>
                </a:cxn>
                <a:cxn ang="0">
                  <a:pos x="138" y="120"/>
                </a:cxn>
                <a:cxn ang="0">
                  <a:pos x="132" y="119"/>
                </a:cxn>
                <a:cxn ang="0">
                  <a:pos x="96" y="132"/>
                </a:cxn>
                <a:cxn ang="0">
                  <a:pos x="135" y="96"/>
                </a:cxn>
                <a:cxn ang="0">
                  <a:pos x="49" y="120"/>
                </a:cxn>
                <a:cxn ang="0">
                  <a:pos x="26" y="150"/>
                </a:cxn>
                <a:cxn ang="0">
                  <a:pos x="46" y="97"/>
                </a:cxn>
                <a:cxn ang="0">
                  <a:pos x="54" y="119"/>
                </a:cxn>
                <a:cxn ang="0">
                  <a:pos x="90" y="97"/>
                </a:cxn>
                <a:cxn ang="0">
                  <a:pos x="59" y="137"/>
                </a:cxn>
                <a:cxn ang="0">
                  <a:pos x="90" y="138"/>
                </a:cxn>
                <a:cxn ang="0">
                  <a:pos x="61" y="142"/>
                </a:cxn>
                <a:cxn ang="0">
                  <a:pos x="96" y="180"/>
                </a:cxn>
                <a:cxn ang="0">
                  <a:pos x="126" y="141"/>
                </a:cxn>
                <a:cxn ang="0">
                  <a:pos x="96" y="49"/>
                </a:cxn>
                <a:cxn ang="0">
                  <a:pos x="127" y="46"/>
                </a:cxn>
                <a:cxn ang="0">
                  <a:pos x="90" y="49"/>
                </a:cxn>
                <a:cxn ang="0">
                  <a:pos x="90" y="8"/>
                </a:cxn>
                <a:cxn ang="0">
                  <a:pos x="90" y="55"/>
                </a:cxn>
                <a:cxn ang="0">
                  <a:pos x="51" y="91"/>
                </a:cxn>
                <a:cxn ang="0">
                  <a:pos x="90" y="55"/>
                </a:cxn>
                <a:cxn ang="0">
                  <a:pos x="30" y="154"/>
                </a:cxn>
                <a:cxn ang="0">
                  <a:pos x="78" y="180"/>
                </a:cxn>
                <a:cxn ang="0">
                  <a:pos x="30" y="154"/>
                </a:cxn>
                <a:cxn ang="0">
                  <a:pos x="108" y="180"/>
                </a:cxn>
                <a:cxn ang="0">
                  <a:pos x="156" y="154"/>
                </a:cxn>
                <a:cxn ang="0">
                  <a:pos x="156" y="155"/>
                </a:cxn>
                <a:cxn ang="0">
                  <a:pos x="141" y="91"/>
                </a:cxn>
                <a:cxn ang="0">
                  <a:pos x="160" y="37"/>
                </a:cxn>
                <a:cxn ang="0">
                  <a:pos x="153" y="30"/>
                </a:cxn>
                <a:cxn ang="0">
                  <a:pos x="155" y="32"/>
                </a:cxn>
                <a:cxn ang="0">
                  <a:pos x="156" y="33"/>
                </a:cxn>
                <a:cxn ang="0">
                  <a:pos x="104" y="7"/>
                </a:cxn>
                <a:cxn ang="0">
                  <a:pos x="153" y="30"/>
                </a:cxn>
                <a:cxn ang="0">
                  <a:pos x="32" y="32"/>
                </a:cxn>
                <a:cxn ang="0">
                  <a:pos x="35" y="29"/>
                </a:cxn>
                <a:cxn ang="0">
                  <a:pos x="54" y="43"/>
                </a:cxn>
                <a:cxn ang="0">
                  <a:pos x="31" y="32"/>
                </a:cxn>
              </a:cxnLst>
              <a:rect l="0" t="0" r="r" b="b"/>
              <a:pathLst>
                <a:path w="187" h="187">
                  <a:moveTo>
                    <a:pt x="26" y="158"/>
                  </a:moveTo>
                  <a:cubicBezTo>
                    <a:pt x="26" y="158"/>
                    <a:pt x="26" y="159"/>
                    <a:pt x="27" y="159"/>
                  </a:cubicBezTo>
                  <a:cubicBezTo>
                    <a:pt x="44" y="177"/>
                    <a:pt x="68" y="187"/>
                    <a:pt x="93" y="187"/>
                  </a:cubicBezTo>
                  <a:cubicBezTo>
                    <a:pt x="119" y="187"/>
                    <a:pt x="142" y="177"/>
                    <a:pt x="160" y="159"/>
                  </a:cubicBezTo>
                  <a:cubicBezTo>
                    <a:pt x="160" y="159"/>
                    <a:pt x="160" y="158"/>
                    <a:pt x="160" y="158"/>
                  </a:cubicBezTo>
                  <a:cubicBezTo>
                    <a:pt x="177" y="141"/>
                    <a:pt x="187" y="118"/>
                    <a:pt x="187" y="94"/>
                  </a:cubicBezTo>
                  <a:cubicBezTo>
                    <a:pt x="187" y="70"/>
                    <a:pt x="178" y="47"/>
                    <a:pt x="162" y="30"/>
                  </a:cubicBezTo>
                  <a:cubicBezTo>
                    <a:pt x="161" y="30"/>
                    <a:pt x="161" y="30"/>
                    <a:pt x="161" y="30"/>
                  </a:cubicBezTo>
                  <a:cubicBezTo>
                    <a:pt x="161" y="29"/>
                    <a:pt x="161" y="29"/>
                    <a:pt x="161" y="29"/>
                  </a:cubicBezTo>
                  <a:cubicBezTo>
                    <a:pt x="161" y="29"/>
                    <a:pt x="160" y="28"/>
                    <a:pt x="159" y="28"/>
                  </a:cubicBezTo>
                  <a:cubicBezTo>
                    <a:pt x="159" y="28"/>
                    <a:pt x="159" y="27"/>
                    <a:pt x="159" y="28"/>
                  </a:cubicBezTo>
                  <a:cubicBezTo>
                    <a:pt x="158" y="26"/>
                    <a:pt x="157" y="26"/>
                    <a:pt x="156" y="25"/>
                  </a:cubicBezTo>
                  <a:cubicBezTo>
                    <a:pt x="155" y="24"/>
                    <a:pt x="155" y="24"/>
                    <a:pt x="155" y="24"/>
                  </a:cubicBezTo>
                  <a:cubicBezTo>
                    <a:pt x="155" y="24"/>
                    <a:pt x="155" y="24"/>
                    <a:pt x="155" y="24"/>
                  </a:cubicBezTo>
                  <a:cubicBezTo>
                    <a:pt x="138" y="9"/>
                    <a:pt x="116" y="0"/>
                    <a:pt x="93" y="0"/>
                  </a:cubicBezTo>
                  <a:cubicBezTo>
                    <a:pt x="70" y="0"/>
                    <a:pt x="48" y="9"/>
                    <a:pt x="31" y="24"/>
                  </a:cubicBezTo>
                  <a:cubicBezTo>
                    <a:pt x="30" y="25"/>
                    <a:pt x="30" y="25"/>
                    <a:pt x="30" y="25"/>
                  </a:cubicBezTo>
                  <a:cubicBezTo>
                    <a:pt x="29" y="26"/>
                    <a:pt x="28" y="27"/>
                    <a:pt x="27" y="28"/>
                  </a:cubicBezTo>
                  <a:cubicBezTo>
                    <a:pt x="30" y="30"/>
                    <a:pt x="30" y="30"/>
                    <a:pt x="30" y="30"/>
                  </a:cubicBezTo>
                  <a:cubicBezTo>
                    <a:pt x="27" y="28"/>
                    <a:pt x="27" y="28"/>
                    <a:pt x="27" y="28"/>
                  </a:cubicBezTo>
                  <a:cubicBezTo>
                    <a:pt x="27" y="28"/>
                    <a:pt x="27" y="28"/>
                    <a:pt x="27" y="28"/>
                  </a:cubicBezTo>
                  <a:cubicBezTo>
                    <a:pt x="26" y="29"/>
                    <a:pt x="26" y="29"/>
                    <a:pt x="25" y="30"/>
                  </a:cubicBezTo>
                  <a:cubicBezTo>
                    <a:pt x="25" y="30"/>
                    <a:pt x="25" y="30"/>
                    <a:pt x="25" y="30"/>
                  </a:cubicBezTo>
                  <a:cubicBezTo>
                    <a:pt x="9" y="48"/>
                    <a:pt x="0" y="70"/>
                    <a:pt x="0" y="94"/>
                  </a:cubicBezTo>
                  <a:cubicBezTo>
                    <a:pt x="0" y="94"/>
                    <a:pt x="0" y="94"/>
                    <a:pt x="0" y="94"/>
                  </a:cubicBezTo>
                  <a:cubicBezTo>
                    <a:pt x="0" y="118"/>
                    <a:pt x="9" y="141"/>
                    <a:pt x="26" y="158"/>
                  </a:cubicBezTo>
                  <a:close/>
                  <a:moveTo>
                    <a:pt x="52" y="49"/>
                  </a:moveTo>
                  <a:cubicBezTo>
                    <a:pt x="48" y="62"/>
                    <a:pt x="46" y="77"/>
                    <a:pt x="46" y="91"/>
                  </a:cubicBezTo>
                  <a:cubicBezTo>
                    <a:pt x="6" y="91"/>
                    <a:pt x="6" y="91"/>
                    <a:pt x="6" y="91"/>
                  </a:cubicBezTo>
                  <a:cubicBezTo>
                    <a:pt x="7" y="71"/>
                    <a:pt x="14" y="53"/>
                    <a:pt x="26" y="38"/>
                  </a:cubicBezTo>
                  <a:cubicBezTo>
                    <a:pt x="33" y="42"/>
                    <a:pt x="42" y="46"/>
                    <a:pt x="52" y="49"/>
                  </a:cubicBezTo>
                  <a:close/>
                  <a:moveTo>
                    <a:pt x="135" y="91"/>
                  </a:moveTo>
                  <a:cubicBezTo>
                    <a:pt x="96" y="91"/>
                    <a:pt x="96" y="91"/>
                    <a:pt x="96" y="91"/>
                  </a:cubicBezTo>
                  <a:cubicBezTo>
                    <a:pt x="96" y="55"/>
                    <a:pt x="96" y="55"/>
                    <a:pt x="96" y="55"/>
                  </a:cubicBezTo>
                  <a:cubicBezTo>
                    <a:pt x="97" y="55"/>
                    <a:pt x="97" y="55"/>
                    <a:pt x="97" y="55"/>
                  </a:cubicBezTo>
                  <a:cubicBezTo>
                    <a:pt x="108" y="55"/>
                    <a:pt x="119" y="54"/>
                    <a:pt x="129" y="51"/>
                  </a:cubicBezTo>
                  <a:cubicBezTo>
                    <a:pt x="133" y="64"/>
                    <a:pt x="135" y="77"/>
                    <a:pt x="135" y="91"/>
                  </a:cubicBezTo>
                  <a:close/>
                  <a:moveTo>
                    <a:pt x="141" y="96"/>
                  </a:moveTo>
                  <a:cubicBezTo>
                    <a:pt x="181" y="96"/>
                    <a:pt x="181" y="96"/>
                    <a:pt x="181" y="96"/>
                  </a:cubicBezTo>
                  <a:cubicBezTo>
                    <a:pt x="180" y="116"/>
                    <a:pt x="173" y="135"/>
                    <a:pt x="160" y="150"/>
                  </a:cubicBezTo>
                  <a:cubicBezTo>
                    <a:pt x="152" y="144"/>
                    <a:pt x="143" y="140"/>
                    <a:pt x="133" y="137"/>
                  </a:cubicBezTo>
                  <a:cubicBezTo>
                    <a:pt x="135" y="132"/>
                    <a:pt x="137" y="126"/>
                    <a:pt x="138" y="120"/>
                  </a:cubicBezTo>
                  <a:cubicBezTo>
                    <a:pt x="139" y="113"/>
                    <a:pt x="140" y="105"/>
                    <a:pt x="141" y="96"/>
                  </a:cubicBezTo>
                  <a:close/>
                  <a:moveTo>
                    <a:pt x="132" y="119"/>
                  </a:moveTo>
                  <a:cubicBezTo>
                    <a:pt x="131" y="125"/>
                    <a:pt x="130" y="130"/>
                    <a:pt x="128" y="136"/>
                  </a:cubicBezTo>
                  <a:cubicBezTo>
                    <a:pt x="118" y="133"/>
                    <a:pt x="107" y="132"/>
                    <a:pt x="96" y="132"/>
                  </a:cubicBezTo>
                  <a:cubicBezTo>
                    <a:pt x="96" y="97"/>
                    <a:pt x="96" y="97"/>
                    <a:pt x="96" y="97"/>
                  </a:cubicBezTo>
                  <a:cubicBezTo>
                    <a:pt x="135" y="96"/>
                    <a:pt x="135" y="96"/>
                    <a:pt x="135" y="96"/>
                  </a:cubicBezTo>
                  <a:cubicBezTo>
                    <a:pt x="135" y="104"/>
                    <a:pt x="134" y="112"/>
                    <a:pt x="132" y="119"/>
                  </a:cubicBezTo>
                  <a:close/>
                  <a:moveTo>
                    <a:pt x="49" y="120"/>
                  </a:moveTo>
                  <a:cubicBezTo>
                    <a:pt x="50" y="126"/>
                    <a:pt x="51" y="133"/>
                    <a:pt x="53" y="138"/>
                  </a:cubicBezTo>
                  <a:cubicBezTo>
                    <a:pt x="43" y="141"/>
                    <a:pt x="34" y="145"/>
                    <a:pt x="26" y="150"/>
                  </a:cubicBezTo>
                  <a:cubicBezTo>
                    <a:pt x="14" y="135"/>
                    <a:pt x="7" y="116"/>
                    <a:pt x="6" y="97"/>
                  </a:cubicBezTo>
                  <a:cubicBezTo>
                    <a:pt x="46" y="97"/>
                    <a:pt x="46" y="97"/>
                    <a:pt x="46" y="97"/>
                  </a:cubicBezTo>
                  <a:cubicBezTo>
                    <a:pt x="46" y="105"/>
                    <a:pt x="47" y="113"/>
                    <a:pt x="49" y="120"/>
                  </a:cubicBezTo>
                  <a:close/>
                  <a:moveTo>
                    <a:pt x="54" y="119"/>
                  </a:moveTo>
                  <a:cubicBezTo>
                    <a:pt x="53" y="112"/>
                    <a:pt x="52" y="104"/>
                    <a:pt x="52" y="97"/>
                  </a:cubicBezTo>
                  <a:cubicBezTo>
                    <a:pt x="90" y="97"/>
                    <a:pt x="90" y="97"/>
                    <a:pt x="90" y="97"/>
                  </a:cubicBezTo>
                  <a:cubicBezTo>
                    <a:pt x="90" y="132"/>
                    <a:pt x="90" y="132"/>
                    <a:pt x="90" y="132"/>
                  </a:cubicBezTo>
                  <a:cubicBezTo>
                    <a:pt x="80" y="133"/>
                    <a:pt x="69" y="134"/>
                    <a:pt x="59" y="137"/>
                  </a:cubicBezTo>
                  <a:cubicBezTo>
                    <a:pt x="57" y="131"/>
                    <a:pt x="55" y="125"/>
                    <a:pt x="54" y="119"/>
                  </a:cubicBezTo>
                  <a:close/>
                  <a:moveTo>
                    <a:pt x="90" y="138"/>
                  </a:moveTo>
                  <a:cubicBezTo>
                    <a:pt x="90" y="180"/>
                    <a:pt x="90" y="180"/>
                    <a:pt x="90" y="180"/>
                  </a:cubicBezTo>
                  <a:cubicBezTo>
                    <a:pt x="79" y="177"/>
                    <a:pt x="68" y="162"/>
                    <a:pt x="61" y="142"/>
                  </a:cubicBezTo>
                  <a:cubicBezTo>
                    <a:pt x="70" y="140"/>
                    <a:pt x="80" y="138"/>
                    <a:pt x="90" y="138"/>
                  </a:cubicBezTo>
                  <a:close/>
                  <a:moveTo>
                    <a:pt x="96" y="180"/>
                  </a:moveTo>
                  <a:cubicBezTo>
                    <a:pt x="96" y="138"/>
                    <a:pt x="96" y="138"/>
                    <a:pt x="96" y="138"/>
                  </a:cubicBezTo>
                  <a:cubicBezTo>
                    <a:pt x="106" y="138"/>
                    <a:pt x="116" y="139"/>
                    <a:pt x="126" y="141"/>
                  </a:cubicBezTo>
                  <a:cubicBezTo>
                    <a:pt x="118" y="162"/>
                    <a:pt x="107" y="177"/>
                    <a:pt x="96" y="180"/>
                  </a:cubicBezTo>
                  <a:close/>
                  <a:moveTo>
                    <a:pt x="96" y="49"/>
                  </a:moveTo>
                  <a:cubicBezTo>
                    <a:pt x="96" y="8"/>
                    <a:pt x="96" y="8"/>
                    <a:pt x="96" y="8"/>
                  </a:cubicBezTo>
                  <a:cubicBezTo>
                    <a:pt x="111" y="18"/>
                    <a:pt x="121" y="31"/>
                    <a:pt x="127" y="46"/>
                  </a:cubicBezTo>
                  <a:cubicBezTo>
                    <a:pt x="117" y="48"/>
                    <a:pt x="107" y="49"/>
                    <a:pt x="96" y="49"/>
                  </a:cubicBezTo>
                  <a:close/>
                  <a:moveTo>
                    <a:pt x="90" y="49"/>
                  </a:moveTo>
                  <a:cubicBezTo>
                    <a:pt x="80" y="49"/>
                    <a:pt x="70" y="47"/>
                    <a:pt x="60" y="45"/>
                  </a:cubicBezTo>
                  <a:cubicBezTo>
                    <a:pt x="66" y="30"/>
                    <a:pt x="76" y="18"/>
                    <a:pt x="90" y="8"/>
                  </a:cubicBezTo>
                  <a:lnTo>
                    <a:pt x="90" y="49"/>
                  </a:lnTo>
                  <a:close/>
                  <a:moveTo>
                    <a:pt x="90" y="55"/>
                  </a:moveTo>
                  <a:cubicBezTo>
                    <a:pt x="90" y="91"/>
                    <a:pt x="90" y="91"/>
                    <a:pt x="90" y="91"/>
                  </a:cubicBezTo>
                  <a:cubicBezTo>
                    <a:pt x="51" y="91"/>
                    <a:pt x="51" y="91"/>
                    <a:pt x="51" y="91"/>
                  </a:cubicBezTo>
                  <a:cubicBezTo>
                    <a:pt x="51" y="77"/>
                    <a:pt x="53" y="63"/>
                    <a:pt x="58" y="50"/>
                  </a:cubicBezTo>
                  <a:cubicBezTo>
                    <a:pt x="68" y="53"/>
                    <a:pt x="79" y="55"/>
                    <a:pt x="90" y="55"/>
                  </a:cubicBezTo>
                  <a:close/>
                  <a:moveTo>
                    <a:pt x="30" y="154"/>
                  </a:moveTo>
                  <a:cubicBezTo>
                    <a:pt x="30" y="154"/>
                    <a:pt x="30" y="154"/>
                    <a:pt x="30" y="154"/>
                  </a:cubicBezTo>
                  <a:cubicBezTo>
                    <a:pt x="38" y="150"/>
                    <a:pt x="46" y="146"/>
                    <a:pt x="55" y="144"/>
                  </a:cubicBezTo>
                  <a:cubicBezTo>
                    <a:pt x="61" y="160"/>
                    <a:pt x="69" y="172"/>
                    <a:pt x="78" y="180"/>
                  </a:cubicBezTo>
                  <a:cubicBezTo>
                    <a:pt x="60" y="177"/>
                    <a:pt x="44" y="168"/>
                    <a:pt x="31" y="155"/>
                  </a:cubicBezTo>
                  <a:lnTo>
                    <a:pt x="30" y="154"/>
                  </a:lnTo>
                  <a:close/>
                  <a:moveTo>
                    <a:pt x="156" y="155"/>
                  </a:moveTo>
                  <a:cubicBezTo>
                    <a:pt x="143" y="168"/>
                    <a:pt x="126" y="177"/>
                    <a:pt x="108" y="180"/>
                  </a:cubicBezTo>
                  <a:cubicBezTo>
                    <a:pt x="117" y="172"/>
                    <a:pt x="126" y="159"/>
                    <a:pt x="132" y="143"/>
                  </a:cubicBezTo>
                  <a:cubicBezTo>
                    <a:pt x="140" y="145"/>
                    <a:pt x="149" y="149"/>
                    <a:pt x="156" y="154"/>
                  </a:cubicBezTo>
                  <a:cubicBezTo>
                    <a:pt x="156" y="154"/>
                    <a:pt x="156" y="154"/>
                    <a:pt x="156" y="155"/>
                  </a:cubicBezTo>
                  <a:cubicBezTo>
                    <a:pt x="156" y="155"/>
                    <a:pt x="156" y="155"/>
                    <a:pt x="156" y="155"/>
                  </a:cubicBezTo>
                  <a:close/>
                  <a:moveTo>
                    <a:pt x="181" y="91"/>
                  </a:moveTo>
                  <a:cubicBezTo>
                    <a:pt x="141" y="91"/>
                    <a:pt x="141" y="91"/>
                    <a:pt x="141" y="91"/>
                  </a:cubicBezTo>
                  <a:cubicBezTo>
                    <a:pt x="141" y="77"/>
                    <a:pt x="139" y="63"/>
                    <a:pt x="135" y="50"/>
                  </a:cubicBezTo>
                  <a:cubicBezTo>
                    <a:pt x="144" y="47"/>
                    <a:pt x="152" y="43"/>
                    <a:pt x="160" y="37"/>
                  </a:cubicBezTo>
                  <a:cubicBezTo>
                    <a:pt x="173" y="52"/>
                    <a:pt x="180" y="71"/>
                    <a:pt x="181" y="91"/>
                  </a:cubicBezTo>
                  <a:close/>
                  <a:moveTo>
                    <a:pt x="153" y="30"/>
                  </a:moveTo>
                  <a:cubicBezTo>
                    <a:pt x="153" y="30"/>
                    <a:pt x="153" y="30"/>
                    <a:pt x="153" y="30"/>
                  </a:cubicBezTo>
                  <a:cubicBezTo>
                    <a:pt x="154" y="30"/>
                    <a:pt x="154" y="31"/>
                    <a:pt x="155" y="32"/>
                  </a:cubicBezTo>
                  <a:cubicBezTo>
                    <a:pt x="155" y="32"/>
                    <a:pt x="155" y="32"/>
                    <a:pt x="155" y="32"/>
                  </a:cubicBezTo>
                  <a:cubicBezTo>
                    <a:pt x="156" y="32"/>
                    <a:pt x="156" y="33"/>
                    <a:pt x="156" y="33"/>
                  </a:cubicBezTo>
                  <a:cubicBezTo>
                    <a:pt x="149" y="38"/>
                    <a:pt x="141" y="42"/>
                    <a:pt x="132" y="44"/>
                  </a:cubicBezTo>
                  <a:cubicBezTo>
                    <a:pt x="127" y="30"/>
                    <a:pt x="117" y="17"/>
                    <a:pt x="104" y="7"/>
                  </a:cubicBezTo>
                  <a:cubicBezTo>
                    <a:pt x="122" y="9"/>
                    <a:pt x="139" y="17"/>
                    <a:pt x="152" y="29"/>
                  </a:cubicBezTo>
                  <a:lnTo>
                    <a:pt x="153" y="30"/>
                  </a:lnTo>
                  <a:close/>
                  <a:moveTo>
                    <a:pt x="31" y="32"/>
                  </a:moveTo>
                  <a:cubicBezTo>
                    <a:pt x="32" y="32"/>
                    <a:pt x="32" y="32"/>
                    <a:pt x="32" y="32"/>
                  </a:cubicBezTo>
                  <a:cubicBezTo>
                    <a:pt x="32" y="31"/>
                    <a:pt x="33" y="30"/>
                    <a:pt x="34" y="30"/>
                  </a:cubicBezTo>
                  <a:cubicBezTo>
                    <a:pt x="35" y="29"/>
                    <a:pt x="35" y="29"/>
                    <a:pt x="35" y="29"/>
                  </a:cubicBezTo>
                  <a:cubicBezTo>
                    <a:pt x="48" y="17"/>
                    <a:pt x="65" y="9"/>
                    <a:pt x="82" y="7"/>
                  </a:cubicBezTo>
                  <a:cubicBezTo>
                    <a:pt x="69" y="17"/>
                    <a:pt x="60" y="29"/>
                    <a:pt x="54" y="43"/>
                  </a:cubicBezTo>
                  <a:cubicBezTo>
                    <a:pt x="46" y="41"/>
                    <a:pt x="37" y="37"/>
                    <a:pt x="30" y="33"/>
                  </a:cubicBezTo>
                  <a:cubicBezTo>
                    <a:pt x="30" y="33"/>
                    <a:pt x="31" y="33"/>
                    <a:pt x="31" y="32"/>
                  </a:cubicBez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1350"/>
            </a:p>
          </p:txBody>
        </p:sp>
        <p:grpSp>
          <p:nvGrpSpPr>
            <p:cNvPr id="139" name="组合 51"/>
            <p:cNvGrpSpPr/>
            <p:nvPr/>
          </p:nvGrpSpPr>
          <p:grpSpPr>
            <a:xfrm>
              <a:off x="2835924" y="5105730"/>
              <a:ext cx="3189887" cy="654990"/>
              <a:chOff x="26706513" y="9478963"/>
              <a:chExt cx="7662853" cy="1584325"/>
            </a:xfrm>
          </p:grpSpPr>
          <p:grpSp>
            <p:nvGrpSpPr>
              <p:cNvPr id="141" name="Group 16"/>
              <p:cNvGrpSpPr>
                <a:grpSpLocks/>
              </p:cNvGrpSpPr>
              <p:nvPr/>
            </p:nvGrpSpPr>
            <p:grpSpPr bwMode="auto">
              <a:xfrm>
                <a:off x="32812030" y="9478963"/>
                <a:ext cx="1557336" cy="1558925"/>
                <a:chOff x="-1" y="0"/>
                <a:chExt cx="1558655" cy="1558655"/>
              </a:xfrm>
            </p:grpSpPr>
            <p:sp>
              <p:nvSpPr>
                <p:cNvPr id="151" name="Oval 17"/>
                <p:cNvSpPr>
                  <a:spLocks/>
                </p:cNvSpPr>
                <p:nvPr/>
              </p:nvSpPr>
              <p:spPr bwMode="auto">
                <a:xfrm>
                  <a:off x="-1" y="0"/>
                  <a:ext cx="1558655" cy="1558655"/>
                </a:xfrm>
                <a:prstGeom prst="ellipse">
                  <a:avLst/>
                </a:prstGeom>
                <a:gradFill rotWithShape="0">
                  <a:gsLst>
                    <a:gs pos="0">
                      <a:srgbClr val="00D3F6">
                        <a:alpha val="12630"/>
                      </a:srgbClr>
                    </a:gs>
                    <a:gs pos="100000">
                      <a:srgbClr val="1F3267">
                        <a:alpha val="51279"/>
                      </a:srgbClr>
                    </a:gs>
                  </a:gsLst>
                  <a:lin ang="2700000"/>
                </a:gradFill>
                <a:ln w="12700" cap="flat" cmpd="sng">
                  <a:solidFill>
                    <a:srgbClr val="00D3F6">
                      <a:alpha val="89932"/>
                    </a:srgb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72107" tIns="172107" rIns="172107" bIns="172107" anchor="ctr"/>
                <a:lstStyle/>
                <a:p>
                  <a:pPr algn="ctr" defTabSz="2522598">
                    <a:lnSpc>
                      <a:spcPts val="13873"/>
                    </a:lnSpc>
                    <a:spcBef>
                      <a:spcPts val="4124"/>
                    </a:spcBef>
                    <a:defRPr/>
                  </a:pPr>
                  <a:endParaRPr lang="zh-CN" altLang="en-US" sz="4049">
                    <a:latin typeface="Calibri" charset="0"/>
                    <a:cs typeface="Calibri" charset="0"/>
                    <a:sym typeface="Calibri" charset="0"/>
                  </a:endParaRPr>
                </a:p>
              </p:txBody>
            </p:sp>
            <p:pic>
              <p:nvPicPr>
                <p:cNvPr id="152" name="Picture 18" descr="pasted-image.pdf"/>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8613" y="298398"/>
                  <a:ext cx="821432" cy="8650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grpSp>
          <p:grpSp>
            <p:nvGrpSpPr>
              <p:cNvPr id="142" name="Group 19"/>
              <p:cNvGrpSpPr>
                <a:grpSpLocks/>
              </p:cNvGrpSpPr>
              <p:nvPr/>
            </p:nvGrpSpPr>
            <p:grpSpPr bwMode="auto">
              <a:xfrm>
                <a:off x="30776855" y="9504363"/>
                <a:ext cx="1557336" cy="1558925"/>
                <a:chOff x="0" y="0"/>
                <a:chExt cx="1558654" cy="1558656"/>
              </a:xfrm>
            </p:grpSpPr>
            <p:sp>
              <p:nvSpPr>
                <p:cNvPr id="149" name="Oval 20"/>
                <p:cNvSpPr>
                  <a:spLocks/>
                </p:cNvSpPr>
                <p:nvPr/>
              </p:nvSpPr>
              <p:spPr bwMode="auto">
                <a:xfrm>
                  <a:off x="0" y="0"/>
                  <a:ext cx="1558654" cy="1558656"/>
                </a:xfrm>
                <a:prstGeom prst="ellipse">
                  <a:avLst/>
                </a:prstGeom>
                <a:gradFill rotWithShape="0">
                  <a:gsLst>
                    <a:gs pos="0">
                      <a:srgbClr val="00D3F6">
                        <a:alpha val="12630"/>
                      </a:srgbClr>
                    </a:gs>
                    <a:gs pos="100000">
                      <a:srgbClr val="1F3267">
                        <a:alpha val="51279"/>
                      </a:srgbClr>
                    </a:gs>
                  </a:gsLst>
                  <a:lin ang="2700000"/>
                </a:gradFill>
                <a:ln w="12700" cap="flat" cmpd="sng">
                  <a:solidFill>
                    <a:srgbClr val="00D3F6">
                      <a:alpha val="89932"/>
                    </a:srgb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72107" tIns="172107" rIns="172107" bIns="172107" anchor="ctr"/>
                <a:lstStyle/>
                <a:p>
                  <a:pPr algn="ctr" defTabSz="2522598">
                    <a:lnSpc>
                      <a:spcPts val="13873"/>
                    </a:lnSpc>
                    <a:spcBef>
                      <a:spcPts val="4124"/>
                    </a:spcBef>
                    <a:defRPr/>
                  </a:pPr>
                  <a:endParaRPr lang="zh-CN" altLang="en-US" sz="4049">
                    <a:latin typeface="Calibri" charset="0"/>
                    <a:cs typeface="Calibri" charset="0"/>
                    <a:sym typeface="Calibri" charset="0"/>
                  </a:endParaRPr>
                </a:p>
              </p:txBody>
            </p:sp>
            <p:pic>
              <p:nvPicPr>
                <p:cNvPr id="150" name="Picture 21" descr="pasted-image.pdf"/>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6367" y="430137"/>
                  <a:ext cx="891342" cy="72377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grpSp>
          <p:grpSp>
            <p:nvGrpSpPr>
              <p:cNvPr id="143" name="Group 22"/>
              <p:cNvGrpSpPr>
                <a:grpSpLocks/>
              </p:cNvGrpSpPr>
              <p:nvPr/>
            </p:nvGrpSpPr>
            <p:grpSpPr bwMode="auto">
              <a:xfrm>
                <a:off x="28741684" y="9504363"/>
                <a:ext cx="1558926" cy="1558925"/>
                <a:chOff x="0" y="0"/>
                <a:chExt cx="1558654" cy="1558654"/>
              </a:xfrm>
            </p:grpSpPr>
            <p:sp>
              <p:nvSpPr>
                <p:cNvPr id="147" name="Oval 23"/>
                <p:cNvSpPr>
                  <a:spLocks/>
                </p:cNvSpPr>
                <p:nvPr/>
              </p:nvSpPr>
              <p:spPr bwMode="auto">
                <a:xfrm>
                  <a:off x="0" y="0"/>
                  <a:ext cx="1558654" cy="1558654"/>
                </a:xfrm>
                <a:prstGeom prst="ellipse">
                  <a:avLst/>
                </a:prstGeom>
                <a:gradFill rotWithShape="0">
                  <a:gsLst>
                    <a:gs pos="0">
                      <a:srgbClr val="00D3F6">
                        <a:alpha val="12630"/>
                      </a:srgbClr>
                    </a:gs>
                    <a:gs pos="100000">
                      <a:srgbClr val="1F3267">
                        <a:alpha val="51279"/>
                      </a:srgbClr>
                    </a:gs>
                  </a:gsLst>
                  <a:lin ang="2700000"/>
                </a:gradFill>
                <a:ln w="12700" cap="flat" cmpd="sng">
                  <a:solidFill>
                    <a:srgbClr val="00D3F6">
                      <a:alpha val="89932"/>
                    </a:srgb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72107" tIns="172107" rIns="172107" bIns="172107" anchor="ctr"/>
                <a:lstStyle/>
                <a:p>
                  <a:pPr algn="ctr" defTabSz="2522598">
                    <a:lnSpc>
                      <a:spcPts val="13873"/>
                    </a:lnSpc>
                    <a:spcBef>
                      <a:spcPts val="4124"/>
                    </a:spcBef>
                    <a:defRPr/>
                  </a:pPr>
                  <a:endParaRPr lang="zh-CN" altLang="en-US" sz="4049">
                    <a:latin typeface="Calibri" charset="0"/>
                    <a:cs typeface="Calibri" charset="0"/>
                    <a:sym typeface="Calibri" charset="0"/>
                  </a:endParaRPr>
                </a:p>
              </p:txBody>
            </p:sp>
            <p:pic>
              <p:nvPicPr>
                <p:cNvPr id="148" name="Picture 24" descr="pasted-image.pd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8864" y="331730"/>
                  <a:ext cx="580923" cy="94598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grpSp>
          <p:grpSp>
            <p:nvGrpSpPr>
              <p:cNvPr id="144" name="Group 25"/>
              <p:cNvGrpSpPr>
                <a:grpSpLocks/>
              </p:cNvGrpSpPr>
              <p:nvPr/>
            </p:nvGrpSpPr>
            <p:grpSpPr bwMode="auto">
              <a:xfrm>
                <a:off x="26706513" y="9504363"/>
                <a:ext cx="1558926" cy="1558925"/>
                <a:chOff x="0" y="0"/>
                <a:chExt cx="1558655" cy="1558654"/>
              </a:xfrm>
            </p:grpSpPr>
            <p:sp>
              <p:nvSpPr>
                <p:cNvPr id="145" name="Oval 26"/>
                <p:cNvSpPr>
                  <a:spLocks/>
                </p:cNvSpPr>
                <p:nvPr/>
              </p:nvSpPr>
              <p:spPr bwMode="auto">
                <a:xfrm>
                  <a:off x="0" y="0"/>
                  <a:ext cx="1558655" cy="1558654"/>
                </a:xfrm>
                <a:prstGeom prst="ellipse">
                  <a:avLst/>
                </a:prstGeom>
                <a:gradFill rotWithShape="0">
                  <a:gsLst>
                    <a:gs pos="0">
                      <a:srgbClr val="00D3F6">
                        <a:alpha val="12630"/>
                      </a:srgbClr>
                    </a:gs>
                    <a:gs pos="100000">
                      <a:srgbClr val="1F3267">
                        <a:alpha val="51279"/>
                      </a:srgbClr>
                    </a:gs>
                  </a:gsLst>
                  <a:lin ang="2700000"/>
                </a:gradFill>
                <a:ln w="12700" cap="flat" cmpd="sng">
                  <a:solidFill>
                    <a:srgbClr val="00D3F6">
                      <a:alpha val="89932"/>
                    </a:srgbClr>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72107" tIns="172107" rIns="172107" bIns="172107" anchor="ctr"/>
                <a:lstStyle/>
                <a:p>
                  <a:pPr algn="ctr" defTabSz="2522598">
                    <a:lnSpc>
                      <a:spcPts val="13873"/>
                    </a:lnSpc>
                    <a:spcBef>
                      <a:spcPts val="4124"/>
                    </a:spcBef>
                    <a:defRPr/>
                  </a:pPr>
                  <a:endParaRPr lang="zh-CN" altLang="en-US" sz="4049">
                    <a:latin typeface="Calibri" charset="0"/>
                    <a:cs typeface="Calibri" charset="0"/>
                    <a:sym typeface="Calibri" charset="0"/>
                  </a:endParaRPr>
                </a:p>
              </p:txBody>
            </p:sp>
            <p:pic>
              <p:nvPicPr>
                <p:cNvPr id="146" name="Picture 27" descr="pasted-image.pdf"/>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7126" y="409502"/>
                  <a:ext cx="849165" cy="71901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grpSp>
        </p:grpSp>
        <p:pic>
          <p:nvPicPr>
            <p:cNvPr id="140" name="Picture 15" descr="pasted-image.pdf"/>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86085" y="4006320"/>
              <a:ext cx="439455" cy="50132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grpSp>
      <p:sp>
        <p:nvSpPr>
          <p:cNvPr id="153" name="文本框 34"/>
          <p:cNvSpPr txBox="1"/>
          <p:nvPr/>
        </p:nvSpPr>
        <p:spPr>
          <a:xfrm>
            <a:off x="5627356" y="4597536"/>
            <a:ext cx="1122423" cy="577081"/>
          </a:xfrm>
          <a:prstGeom prst="rect">
            <a:avLst/>
          </a:prstGeom>
          <a:noFill/>
        </p:spPr>
        <p:txBody>
          <a:bodyPr wrap="none" rtlCol="0">
            <a:spAutoFit/>
          </a:bodyPr>
          <a:lstStyle/>
          <a:p>
            <a:r>
              <a:rPr lang="en-US" altLang="zh-CN" sz="1050" dirty="0">
                <a:solidFill>
                  <a:schemeClr val="bg1"/>
                </a:solidFill>
                <a:latin typeface="FrutigerNext LT Medium" panose="020B0603040504020204" pitchFamily="34" charset="0"/>
              </a:rPr>
              <a:t>All things,</a:t>
            </a:r>
          </a:p>
          <a:p>
            <a:r>
              <a:rPr lang="en-US" altLang="zh-CN" sz="2100" b="1" dirty="0">
                <a:solidFill>
                  <a:schemeClr val="bg1"/>
                </a:solidFill>
                <a:latin typeface="FrutigerNext LT Medium" panose="020B0603040504020204" pitchFamily="34" charset="0"/>
              </a:rPr>
              <a:t>Sensing</a:t>
            </a:r>
            <a:endParaRPr lang="zh-CN" altLang="en-US" sz="2100" b="1" dirty="0">
              <a:solidFill>
                <a:schemeClr val="bg1"/>
              </a:solidFill>
              <a:latin typeface="FrutigerNext LT Medium" panose="020B0603040504020204" pitchFamily="34" charset="0"/>
            </a:endParaRPr>
          </a:p>
        </p:txBody>
      </p:sp>
      <p:sp>
        <p:nvSpPr>
          <p:cNvPr id="154" name="文本框 36"/>
          <p:cNvSpPr txBox="1"/>
          <p:nvPr/>
        </p:nvSpPr>
        <p:spPr>
          <a:xfrm>
            <a:off x="5641070" y="2416881"/>
            <a:ext cx="1410964" cy="577081"/>
          </a:xfrm>
          <a:prstGeom prst="rect">
            <a:avLst/>
          </a:prstGeom>
          <a:noFill/>
        </p:spPr>
        <p:txBody>
          <a:bodyPr wrap="none" rtlCol="0">
            <a:spAutoFit/>
          </a:bodyPr>
          <a:lstStyle/>
          <a:p>
            <a:r>
              <a:rPr lang="en-US" altLang="zh-CN" sz="1050" dirty="0">
                <a:solidFill>
                  <a:schemeClr val="bg1"/>
                </a:solidFill>
                <a:latin typeface="FrutigerNext LT Medium" panose="020B0603040504020204" pitchFamily="34" charset="0"/>
              </a:rPr>
              <a:t>All things,</a:t>
            </a:r>
          </a:p>
          <a:p>
            <a:r>
              <a:rPr lang="en-US" altLang="zh-CN" sz="2100" b="1" dirty="0">
                <a:solidFill>
                  <a:schemeClr val="bg1"/>
                </a:solidFill>
                <a:latin typeface="FrutigerNext LT Medium" panose="020B0603040504020204" pitchFamily="34" charset="0"/>
              </a:rPr>
              <a:t>Intelligent</a:t>
            </a:r>
            <a:endParaRPr lang="zh-CN" altLang="en-US" sz="2100" b="1" dirty="0">
              <a:solidFill>
                <a:schemeClr val="bg1"/>
              </a:solidFill>
              <a:latin typeface="FrutigerNext LT Medium" panose="020B0603040504020204" pitchFamily="34" charset="0"/>
            </a:endParaRPr>
          </a:p>
        </p:txBody>
      </p:sp>
      <p:sp>
        <p:nvSpPr>
          <p:cNvPr id="155" name="文本框 37"/>
          <p:cNvSpPr txBox="1"/>
          <p:nvPr/>
        </p:nvSpPr>
        <p:spPr>
          <a:xfrm>
            <a:off x="5627356" y="3610070"/>
            <a:ext cx="1486304" cy="577081"/>
          </a:xfrm>
          <a:prstGeom prst="rect">
            <a:avLst/>
          </a:prstGeom>
          <a:noFill/>
        </p:spPr>
        <p:txBody>
          <a:bodyPr wrap="none" rtlCol="0">
            <a:spAutoFit/>
          </a:bodyPr>
          <a:lstStyle/>
          <a:p>
            <a:r>
              <a:rPr lang="en-US" altLang="zh-CN" sz="1050" dirty="0">
                <a:solidFill>
                  <a:schemeClr val="bg1"/>
                </a:solidFill>
                <a:latin typeface="FrutigerNext LT Medium" panose="020B0603040504020204" pitchFamily="34" charset="0"/>
              </a:rPr>
              <a:t>All things,</a:t>
            </a:r>
          </a:p>
          <a:p>
            <a:r>
              <a:rPr lang="en-US" altLang="zh-CN" sz="2100" b="1" dirty="0">
                <a:solidFill>
                  <a:schemeClr val="bg1"/>
                </a:solidFill>
                <a:latin typeface="FrutigerNext LT Medium" panose="020B0603040504020204" pitchFamily="34" charset="0"/>
              </a:rPr>
              <a:t>Connected</a:t>
            </a:r>
            <a:endParaRPr lang="zh-CN" altLang="en-US" sz="2100" b="1" dirty="0">
              <a:solidFill>
                <a:schemeClr val="bg1"/>
              </a:solidFill>
              <a:latin typeface="FrutigerNext LT Medium" panose="020B0603040504020204" pitchFamily="34" charset="0"/>
            </a:endParaRPr>
          </a:p>
        </p:txBody>
      </p:sp>
      <p:grpSp>
        <p:nvGrpSpPr>
          <p:cNvPr id="156" name="组合 141"/>
          <p:cNvGrpSpPr/>
          <p:nvPr/>
        </p:nvGrpSpPr>
        <p:grpSpPr>
          <a:xfrm rot="10800000">
            <a:off x="4896803" y="2454538"/>
            <a:ext cx="738039" cy="2325289"/>
            <a:chOff x="3580513" y="1540684"/>
            <a:chExt cx="1161311" cy="3010502"/>
          </a:xfrm>
        </p:grpSpPr>
        <p:sp>
          <p:nvSpPr>
            <p:cNvPr id="158" name="Freeform 10"/>
            <p:cNvSpPr>
              <a:spLocks/>
            </p:cNvSpPr>
            <p:nvPr/>
          </p:nvSpPr>
          <p:spPr bwMode="gray">
            <a:xfrm rot="5400000" flipH="1">
              <a:off x="4030351" y="2470377"/>
              <a:ext cx="261635" cy="1161310"/>
            </a:xfrm>
            <a:custGeom>
              <a:avLst/>
              <a:gdLst/>
              <a:ahLst/>
              <a:cxnLst>
                <a:cxn ang="0">
                  <a:pos x="37" y="1"/>
                </a:cxn>
                <a:cxn ang="0">
                  <a:pos x="45" y="472"/>
                </a:cxn>
                <a:cxn ang="0">
                  <a:pos x="0" y="474"/>
                </a:cxn>
                <a:cxn ang="0">
                  <a:pos x="72" y="604"/>
                </a:cxn>
                <a:cxn ang="0">
                  <a:pos x="142" y="474"/>
                </a:cxn>
                <a:cxn ang="0">
                  <a:pos x="100" y="474"/>
                </a:cxn>
                <a:cxn ang="0">
                  <a:pos x="99" y="0"/>
                </a:cxn>
                <a:cxn ang="0">
                  <a:pos x="37" y="1"/>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gradFill rotWithShape="1">
              <a:gsLst>
                <a:gs pos="0">
                  <a:schemeClr val="tx1">
                    <a:gamma/>
                    <a:tint val="0"/>
                    <a:invGamma/>
                    <a:alpha val="0"/>
                  </a:schemeClr>
                </a:gs>
                <a:gs pos="100000">
                  <a:srgbClr val="0070C0"/>
                </a:gs>
              </a:gsLst>
              <a:lin ang="5400000" scaled="1"/>
            </a:gradFill>
            <a:ln w="9525" cap="flat" cmpd="sng">
              <a:noFill/>
              <a:prstDash val="solid"/>
              <a:round/>
              <a:headEnd type="none" w="med" len="med"/>
              <a:tailEnd type="none" w="med" len="med"/>
            </a:ln>
            <a:effectLst/>
          </p:spPr>
          <p:txBody>
            <a:bodyPr wrap="none" anchor="ctr"/>
            <a:lstStyle/>
            <a:p>
              <a:pPr defTabSz="502625"/>
              <a:endParaRPr lang="zh-CN" altLang="en-US" sz="600" dirty="0"/>
            </a:p>
          </p:txBody>
        </p:sp>
        <p:sp>
          <p:nvSpPr>
            <p:cNvPr id="157" name="Freeform 9"/>
            <p:cNvSpPr>
              <a:spLocks/>
            </p:cNvSpPr>
            <p:nvPr/>
          </p:nvSpPr>
          <p:spPr bwMode="gray">
            <a:xfrm rot="5400000" flipH="1">
              <a:off x="3413074" y="3362880"/>
              <a:ext cx="1355745" cy="1020867"/>
            </a:xfrm>
            <a:custGeom>
              <a:avLst/>
              <a:gdLst/>
              <a:ahLst/>
              <a:cxnLst>
                <a:cxn ang="0">
                  <a:pos x="0" y="0"/>
                </a:cxn>
                <a:cxn ang="0">
                  <a:pos x="382" y="202"/>
                </a:cxn>
                <a:cxn ang="0">
                  <a:pos x="577" y="202"/>
                </a:cxn>
                <a:cxn ang="0">
                  <a:pos x="637" y="249"/>
                </a:cxn>
                <a:cxn ang="0">
                  <a:pos x="639" y="402"/>
                </a:cxn>
                <a:cxn ang="0">
                  <a:pos x="598" y="400"/>
                </a:cxn>
                <a:cxn ang="0">
                  <a:pos x="669" y="532"/>
                </a:cxn>
                <a:cxn ang="0">
                  <a:pos x="735" y="402"/>
                </a:cxn>
                <a:cxn ang="0">
                  <a:pos x="696" y="402"/>
                </a:cxn>
                <a:cxn ang="0">
                  <a:pos x="694" y="226"/>
                </a:cxn>
                <a:cxn ang="0">
                  <a:pos x="616" y="150"/>
                </a:cxn>
                <a:cxn ang="0">
                  <a:pos x="335" y="149"/>
                </a:cxn>
                <a:cxn ang="0">
                  <a:pos x="69" y="0"/>
                </a:cxn>
                <a:cxn ang="0">
                  <a:pos x="0" y="0"/>
                </a:cxn>
              </a:cxnLst>
              <a:rect l="0" t="0" r="r" b="b"/>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chemeClr val="tx1">
                    <a:gamma/>
                    <a:tint val="0"/>
                    <a:invGamma/>
                    <a:alpha val="0"/>
                  </a:schemeClr>
                </a:gs>
                <a:gs pos="100000">
                  <a:srgbClr val="0070C0"/>
                </a:gs>
              </a:gsLst>
              <a:lin ang="5400000" scaled="1"/>
            </a:gradFill>
            <a:ln w="9525" cap="flat" cmpd="sng">
              <a:noFill/>
              <a:prstDash val="solid"/>
              <a:round/>
              <a:headEnd type="none" w="med" len="med"/>
              <a:tailEnd type="none" w="med" len="med"/>
            </a:ln>
            <a:effectLst/>
          </p:spPr>
          <p:txBody>
            <a:bodyPr wrap="none" anchor="ctr"/>
            <a:lstStyle/>
            <a:p>
              <a:pPr defTabSz="502625"/>
              <a:endParaRPr lang="zh-CN" altLang="en-US" sz="600" dirty="0"/>
            </a:p>
          </p:txBody>
        </p:sp>
        <p:sp>
          <p:nvSpPr>
            <p:cNvPr id="159" name="Freeform 11"/>
            <p:cNvSpPr>
              <a:spLocks/>
            </p:cNvSpPr>
            <p:nvPr/>
          </p:nvSpPr>
          <p:spPr bwMode="gray">
            <a:xfrm rot="5400000">
              <a:off x="3413074" y="1708123"/>
              <a:ext cx="1355745" cy="1020867"/>
            </a:xfrm>
            <a:custGeom>
              <a:avLst/>
              <a:gdLst/>
              <a:ahLst/>
              <a:cxnLst>
                <a:cxn ang="0">
                  <a:pos x="0" y="0"/>
                </a:cxn>
                <a:cxn ang="0">
                  <a:pos x="382" y="202"/>
                </a:cxn>
                <a:cxn ang="0">
                  <a:pos x="577" y="202"/>
                </a:cxn>
                <a:cxn ang="0">
                  <a:pos x="637" y="249"/>
                </a:cxn>
                <a:cxn ang="0">
                  <a:pos x="639" y="402"/>
                </a:cxn>
                <a:cxn ang="0">
                  <a:pos x="598" y="400"/>
                </a:cxn>
                <a:cxn ang="0">
                  <a:pos x="669" y="532"/>
                </a:cxn>
                <a:cxn ang="0">
                  <a:pos x="735" y="402"/>
                </a:cxn>
                <a:cxn ang="0">
                  <a:pos x="696" y="402"/>
                </a:cxn>
                <a:cxn ang="0">
                  <a:pos x="694" y="226"/>
                </a:cxn>
                <a:cxn ang="0">
                  <a:pos x="616" y="150"/>
                </a:cxn>
                <a:cxn ang="0">
                  <a:pos x="335" y="149"/>
                </a:cxn>
                <a:cxn ang="0">
                  <a:pos x="69" y="0"/>
                </a:cxn>
                <a:cxn ang="0">
                  <a:pos x="0" y="0"/>
                </a:cxn>
              </a:cxnLst>
              <a:rect l="0" t="0" r="r" b="b"/>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chemeClr val="tx1">
                    <a:gamma/>
                    <a:tint val="0"/>
                    <a:invGamma/>
                    <a:alpha val="0"/>
                  </a:schemeClr>
                </a:gs>
                <a:gs pos="100000">
                  <a:srgbClr val="0070C0"/>
                </a:gs>
              </a:gsLst>
              <a:lin ang="5400000" scaled="1"/>
            </a:gradFill>
            <a:ln w="9525" cap="flat" cmpd="sng">
              <a:noFill/>
              <a:prstDash val="solid"/>
              <a:round/>
              <a:headEnd type="none" w="med" len="med"/>
              <a:tailEnd type="none" w="med" len="med"/>
            </a:ln>
            <a:effectLst/>
          </p:spPr>
          <p:txBody>
            <a:bodyPr wrap="none" anchor="ctr"/>
            <a:lstStyle/>
            <a:p>
              <a:pPr defTabSz="502625"/>
              <a:endParaRPr lang="zh-CN" altLang="en-US" sz="600" dirty="0"/>
            </a:p>
          </p:txBody>
        </p:sp>
      </p:grpSp>
      <p:sp>
        <p:nvSpPr>
          <p:cNvPr id="160" name="矩形 159"/>
          <p:cNvSpPr/>
          <p:nvPr/>
        </p:nvSpPr>
        <p:spPr>
          <a:xfrm>
            <a:off x="252688" y="1863756"/>
            <a:ext cx="4320106" cy="323165"/>
          </a:xfrm>
          <a:prstGeom prst="rect">
            <a:avLst/>
          </a:prstGeom>
        </p:spPr>
        <p:txBody>
          <a:bodyPr wrap="square">
            <a:spAutoFit/>
          </a:bodyPr>
          <a:lstStyle/>
          <a:p>
            <a:r>
              <a:rPr lang="en-US" altLang="zh-CN" sz="1500" b="1" dirty="0">
                <a:solidFill>
                  <a:srgbClr val="FFC000"/>
                </a:solidFill>
                <a:latin typeface="FrutigerNext LT Medium" pitchFamily="34" charset="0"/>
              </a:rPr>
              <a:t>Enrich people's lives through communication</a:t>
            </a:r>
            <a:endParaRPr lang="zh-CN" altLang="en-US" sz="1500" b="1" dirty="0">
              <a:solidFill>
                <a:srgbClr val="FFC000"/>
              </a:solidFill>
              <a:latin typeface="FrutigerNext LT Medium" pitchFamily="34" charset="0"/>
            </a:endParaRPr>
          </a:p>
        </p:txBody>
      </p:sp>
      <p:sp>
        <p:nvSpPr>
          <p:cNvPr id="161" name="矩形 160"/>
          <p:cNvSpPr/>
          <p:nvPr/>
        </p:nvSpPr>
        <p:spPr>
          <a:xfrm>
            <a:off x="5058806" y="1863756"/>
            <a:ext cx="3510085" cy="323165"/>
          </a:xfrm>
          <a:prstGeom prst="rect">
            <a:avLst/>
          </a:prstGeom>
        </p:spPr>
        <p:txBody>
          <a:bodyPr wrap="square">
            <a:spAutoFit/>
          </a:bodyPr>
          <a:lstStyle/>
          <a:p>
            <a:r>
              <a:rPr lang="en-US" altLang="zh-CN" sz="1500" b="1" dirty="0">
                <a:solidFill>
                  <a:srgbClr val="FFC000"/>
                </a:solidFill>
                <a:latin typeface="FrutigerNext LT Medium" pitchFamily="34" charset="0"/>
              </a:rPr>
              <a:t>Build a Better Connected World</a:t>
            </a:r>
            <a:endParaRPr lang="zh-CN" altLang="en-US" sz="1500" b="1" dirty="0">
              <a:solidFill>
                <a:srgbClr val="FFC000"/>
              </a:solidFill>
              <a:latin typeface="FrutigerNext LT Medium" pitchFamily="34" charset="0"/>
            </a:endParaRPr>
          </a:p>
        </p:txBody>
      </p:sp>
      <p:sp>
        <p:nvSpPr>
          <p:cNvPr id="162" name="矩形 161"/>
          <p:cNvSpPr/>
          <p:nvPr/>
        </p:nvSpPr>
        <p:spPr>
          <a:xfrm>
            <a:off x="3330764" y="5157836"/>
            <a:ext cx="1261114" cy="369332"/>
          </a:xfrm>
          <a:prstGeom prst="rect">
            <a:avLst/>
          </a:prstGeom>
        </p:spPr>
        <p:txBody>
          <a:bodyPr wrap="none">
            <a:spAutoFit/>
          </a:bodyPr>
          <a:lstStyle/>
          <a:p>
            <a:r>
              <a:rPr lang="en-US" altLang="zh-CN" dirty="0" smtClean="0">
                <a:solidFill>
                  <a:schemeClr val="bg1"/>
                </a:solidFill>
              </a:rPr>
              <a:t>IOT, IOP,IOS</a:t>
            </a:r>
            <a:endParaRPr lang="zh-CN" altLang="en-US" dirty="0">
              <a:solidFill>
                <a:schemeClr val="bg1"/>
              </a:solidFill>
            </a:endParaRPr>
          </a:p>
        </p:txBody>
      </p:sp>
    </p:spTree>
    <p:extLst>
      <p:ext uri="{BB962C8B-B14F-4D97-AF65-F5344CB8AC3E}">
        <p14:creationId xmlns:p14="http://schemas.microsoft.com/office/powerpoint/2010/main" val="167415438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标题 41"/>
          <p:cNvSpPr>
            <a:spLocks noGrp="1"/>
          </p:cNvSpPr>
          <p:nvPr>
            <p:ph type="title"/>
          </p:nvPr>
        </p:nvSpPr>
        <p:spPr>
          <a:xfrm>
            <a:off x="90685" y="1198498"/>
            <a:ext cx="9288226" cy="539953"/>
          </a:xfrm>
        </p:spPr>
        <p:txBody>
          <a:bodyPr>
            <a:noAutofit/>
          </a:bodyPr>
          <a:lstStyle/>
          <a:p>
            <a:pPr lvl="0"/>
            <a:r>
              <a:rPr lang="en-US" altLang="zh-CN" dirty="0" smtClean="0">
                <a:latin typeface="+mj-lt"/>
              </a:rPr>
              <a:t>All Things Connected Leads to Huge Energy Consumption</a:t>
            </a:r>
            <a:endParaRPr lang="zh-CN" altLang="en-US" dirty="0">
              <a:latin typeface="+mj-lt"/>
            </a:endParaRPr>
          </a:p>
        </p:txBody>
      </p:sp>
      <p:sp>
        <p:nvSpPr>
          <p:cNvPr id="64" name="圆角矩形 135"/>
          <p:cNvSpPr/>
          <p:nvPr/>
        </p:nvSpPr>
        <p:spPr>
          <a:xfrm>
            <a:off x="3394356" y="2248502"/>
            <a:ext cx="2321798" cy="1754848"/>
          </a:xfrm>
          <a:prstGeom prst="roundRect">
            <a:avLst>
              <a:gd name="adj" fmla="val 1979"/>
            </a:avLst>
          </a:prstGeom>
          <a:solidFill>
            <a:srgbClr val="00B0F0">
              <a:alpha val="10000"/>
            </a:srgbClr>
          </a:solidFill>
          <a:ln w="22225" cap="flat" cmpd="sng" algn="ctr">
            <a:gradFill>
              <a:gsLst>
                <a:gs pos="0">
                  <a:srgbClr val="00B0F0">
                    <a:alpha val="79000"/>
                  </a:srgbClr>
                </a:gs>
                <a:gs pos="100000">
                  <a:srgbClr val="00B0F0">
                    <a:alpha val="30000"/>
                  </a:srgbClr>
                </a:gs>
              </a:gsLst>
              <a:lin ang="10800000" scaled="0"/>
            </a:gradFill>
            <a:prstDash val="solid"/>
          </a:ln>
          <a:effectLst/>
        </p:spPr>
        <p:txBody>
          <a:bodyPr rot="0" spcFirstLastPara="0" vertOverflow="overflow" horzOverflow="overflow" vert="horz" wrap="square" lIns="64786" tIns="32393" rIns="64786" bIns="32393" numCol="1" spcCol="0" rtlCol="0" fromWordArt="0" anchor="ctr" anchorCtr="0" forceAA="0" compatLnSpc="1">
            <a:prstTxWarp prst="textNoShape">
              <a:avLst/>
            </a:prstTxWarp>
            <a:noAutofit/>
          </a:bodyPr>
          <a:lstStyle/>
          <a:p>
            <a:pPr defTabSz="863692"/>
            <a:endParaRPr lang="zh-CN" altLang="en-US" sz="1725" kern="0" dirty="0">
              <a:solidFill>
                <a:prstClr val="white"/>
              </a:solidFill>
            </a:endParaRPr>
          </a:p>
        </p:txBody>
      </p:sp>
      <p:sp>
        <p:nvSpPr>
          <p:cNvPr id="66" name="矩形 65"/>
          <p:cNvSpPr/>
          <p:nvPr/>
        </p:nvSpPr>
        <p:spPr>
          <a:xfrm>
            <a:off x="3957676" y="3510984"/>
            <a:ext cx="1213794" cy="334707"/>
          </a:xfrm>
          <a:prstGeom prst="rect">
            <a:avLst/>
          </a:prstGeom>
        </p:spPr>
        <p:txBody>
          <a:bodyPr wrap="none">
            <a:spAutoFit/>
          </a:bodyPr>
          <a:lstStyle/>
          <a:p>
            <a:pPr lvl="0" algn="ctr">
              <a:lnSpc>
                <a:spcPct val="150000"/>
              </a:lnSpc>
            </a:pPr>
            <a:r>
              <a:rPr lang="en-US" altLang="zh-CN" sz="1050" dirty="0">
                <a:solidFill>
                  <a:srgbClr val="FFC000"/>
                </a:solidFill>
              </a:rPr>
              <a:t>Connected devices</a:t>
            </a:r>
            <a:endParaRPr lang="zh-CN" altLang="zh-CN" sz="1050" dirty="0">
              <a:solidFill>
                <a:srgbClr val="FFC000"/>
              </a:solidFill>
            </a:endParaRPr>
          </a:p>
        </p:txBody>
      </p:sp>
      <p:cxnSp>
        <p:nvCxnSpPr>
          <p:cNvPr id="68" name="直接连接符 67"/>
          <p:cNvCxnSpPr>
            <a:cxnSpLocks/>
          </p:cNvCxnSpPr>
          <p:nvPr/>
        </p:nvCxnSpPr>
        <p:spPr>
          <a:xfrm flipV="1">
            <a:off x="3813997" y="3382344"/>
            <a:ext cx="1480256" cy="1"/>
          </a:xfrm>
          <a:prstGeom prst="line">
            <a:avLst/>
          </a:prstGeom>
          <a:ln w="12700">
            <a:solidFill>
              <a:srgbClr val="01E4EF"/>
            </a:solidFill>
            <a:tailEnd type="stealth"/>
          </a:ln>
        </p:spPr>
        <p:style>
          <a:lnRef idx="1">
            <a:schemeClr val="accent1"/>
          </a:lnRef>
          <a:fillRef idx="0">
            <a:schemeClr val="accent1"/>
          </a:fillRef>
          <a:effectRef idx="0">
            <a:schemeClr val="accent1"/>
          </a:effectRef>
          <a:fontRef idx="minor">
            <a:schemeClr val="tx1"/>
          </a:fontRef>
        </p:style>
      </p:cxnSp>
      <p:sp>
        <p:nvSpPr>
          <p:cNvPr id="69" name="矩形 68"/>
          <p:cNvSpPr/>
          <p:nvPr/>
        </p:nvSpPr>
        <p:spPr>
          <a:xfrm flipV="1">
            <a:off x="4073414" y="3281263"/>
            <a:ext cx="257258" cy="993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矩形 69"/>
          <p:cNvSpPr/>
          <p:nvPr/>
        </p:nvSpPr>
        <p:spPr>
          <a:xfrm>
            <a:off x="4726814" y="2506881"/>
            <a:ext cx="257258" cy="875462"/>
          </a:xfrm>
          <a:prstGeom prst="rect">
            <a:avLst/>
          </a:prstGeom>
          <a:solidFill>
            <a:srgbClr val="01E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1" name="矩形 70"/>
          <p:cNvSpPr/>
          <p:nvPr/>
        </p:nvSpPr>
        <p:spPr>
          <a:xfrm>
            <a:off x="3996644" y="3409999"/>
            <a:ext cx="415499" cy="230832"/>
          </a:xfrm>
          <a:prstGeom prst="rect">
            <a:avLst/>
          </a:prstGeom>
        </p:spPr>
        <p:txBody>
          <a:bodyPr wrap="none">
            <a:spAutoFit/>
          </a:bodyPr>
          <a:lstStyle/>
          <a:p>
            <a:pPr algn="ctr"/>
            <a:r>
              <a:rPr lang="en-US" altLang="zh-CN" sz="900" dirty="0">
                <a:solidFill>
                  <a:schemeClr val="bg1"/>
                </a:solidFill>
              </a:rPr>
              <a:t>2015</a:t>
            </a:r>
            <a:endParaRPr lang="zh-CN" altLang="en-US" sz="900" dirty="0"/>
          </a:p>
        </p:txBody>
      </p:sp>
      <p:sp>
        <p:nvSpPr>
          <p:cNvPr id="72" name="矩形 71"/>
          <p:cNvSpPr/>
          <p:nvPr/>
        </p:nvSpPr>
        <p:spPr>
          <a:xfrm>
            <a:off x="4735499" y="3392933"/>
            <a:ext cx="493731" cy="230832"/>
          </a:xfrm>
          <a:prstGeom prst="rect">
            <a:avLst/>
          </a:prstGeom>
        </p:spPr>
        <p:txBody>
          <a:bodyPr wrap="square">
            <a:spAutoFit/>
          </a:bodyPr>
          <a:lstStyle/>
          <a:p>
            <a:r>
              <a:rPr lang="en-US" altLang="zh-CN" sz="900" dirty="0">
                <a:solidFill>
                  <a:schemeClr val="bg1"/>
                </a:solidFill>
              </a:rPr>
              <a:t>2025</a:t>
            </a:r>
            <a:endParaRPr lang="zh-CN" altLang="en-US" sz="900" dirty="0"/>
          </a:p>
        </p:txBody>
      </p:sp>
      <p:sp>
        <p:nvSpPr>
          <p:cNvPr id="73" name="矩形 72"/>
          <p:cNvSpPr/>
          <p:nvPr/>
        </p:nvSpPr>
        <p:spPr>
          <a:xfrm>
            <a:off x="3888042" y="3077820"/>
            <a:ext cx="647944" cy="219291"/>
          </a:xfrm>
          <a:prstGeom prst="rect">
            <a:avLst/>
          </a:prstGeom>
        </p:spPr>
        <p:txBody>
          <a:bodyPr wrap="square">
            <a:spAutoFit/>
          </a:bodyPr>
          <a:lstStyle/>
          <a:p>
            <a:pPr algn="ctr"/>
            <a:r>
              <a:rPr lang="en-US" altLang="zh-CN" sz="825" dirty="0">
                <a:solidFill>
                  <a:schemeClr val="bg1"/>
                </a:solidFill>
              </a:rPr>
              <a:t>16 billions</a:t>
            </a:r>
            <a:endParaRPr lang="zh-CN" altLang="en-US" sz="825" dirty="0">
              <a:solidFill>
                <a:schemeClr val="bg1"/>
              </a:solidFill>
            </a:endParaRPr>
          </a:p>
        </p:txBody>
      </p:sp>
      <p:sp>
        <p:nvSpPr>
          <p:cNvPr id="74" name="矩形 73"/>
          <p:cNvSpPr/>
          <p:nvPr/>
        </p:nvSpPr>
        <p:spPr>
          <a:xfrm>
            <a:off x="4373867" y="2187764"/>
            <a:ext cx="971916" cy="369332"/>
          </a:xfrm>
          <a:prstGeom prst="rect">
            <a:avLst/>
          </a:prstGeom>
          <a:effectLst/>
        </p:spPr>
        <p:txBody>
          <a:bodyPr wrap="square">
            <a:spAutoFit/>
          </a:bodyPr>
          <a:lstStyle/>
          <a:p>
            <a:pPr algn="ctr" defTabSz="914278"/>
            <a:r>
              <a:rPr lang="en-US" altLang="zh-CN" sz="1350" b="1" dirty="0">
                <a:solidFill>
                  <a:srgbClr val="FFC000"/>
                </a:solidFill>
                <a:effectLst>
                  <a:outerShdw blurRad="50800" dist="38100" dir="13500000" algn="br" rotWithShape="0">
                    <a:prstClr val="black">
                      <a:alpha val="40000"/>
                    </a:prstClr>
                  </a:outerShdw>
                </a:effectLst>
                <a:ea typeface="微软雅黑" pitchFamily="34" charset="-122"/>
                <a:cs typeface="Arial" pitchFamily="34" charset="0"/>
              </a:rPr>
              <a:t>100</a:t>
            </a:r>
            <a:r>
              <a:rPr lang="en-US" altLang="zh-CN" b="1" dirty="0" smtClean="0">
                <a:solidFill>
                  <a:srgbClr val="FFC000"/>
                </a:solidFill>
                <a:effectLst>
                  <a:outerShdw blurRad="50800" dist="38100" dir="13500000" algn="br" rotWithShape="0">
                    <a:prstClr val="black">
                      <a:alpha val="40000"/>
                    </a:prstClr>
                  </a:outerShdw>
                </a:effectLst>
                <a:ea typeface="微软雅黑" pitchFamily="34" charset="-122"/>
                <a:cs typeface="Arial" pitchFamily="34" charset="0"/>
              </a:rPr>
              <a:t> </a:t>
            </a:r>
            <a:r>
              <a:rPr lang="en-US" altLang="zh-CN" sz="1050" b="1" dirty="0">
                <a:solidFill>
                  <a:srgbClr val="FFC000"/>
                </a:solidFill>
                <a:effectLst>
                  <a:outerShdw blurRad="50800" dist="38100" dir="13500000" algn="br" rotWithShape="0">
                    <a:prstClr val="black">
                      <a:alpha val="40000"/>
                    </a:prstClr>
                  </a:outerShdw>
                </a:effectLst>
                <a:ea typeface="微软雅黑" pitchFamily="34" charset="-122"/>
                <a:cs typeface="Arial" pitchFamily="34" charset="0"/>
              </a:rPr>
              <a:t>billion</a:t>
            </a:r>
            <a:endParaRPr lang="zh-CN" altLang="en-US" sz="1050" b="1" dirty="0">
              <a:solidFill>
                <a:srgbClr val="FFC000"/>
              </a:solidFill>
              <a:effectLst>
                <a:outerShdw blurRad="50800" dist="38100" dir="13500000" algn="br" rotWithShape="0">
                  <a:prstClr val="black">
                    <a:alpha val="40000"/>
                  </a:prstClr>
                </a:outerShdw>
              </a:effectLst>
              <a:ea typeface="微软雅黑" pitchFamily="34" charset="-122"/>
              <a:cs typeface="Arial" pitchFamily="34" charset="0"/>
            </a:endParaRPr>
          </a:p>
        </p:txBody>
      </p:sp>
      <p:cxnSp>
        <p:nvCxnSpPr>
          <p:cNvPr id="75" name="直接连接符 74"/>
          <p:cNvCxnSpPr>
            <a:cxnSpLocks/>
          </p:cNvCxnSpPr>
          <p:nvPr/>
        </p:nvCxnSpPr>
        <p:spPr>
          <a:xfrm flipV="1">
            <a:off x="3816114" y="2493053"/>
            <a:ext cx="0" cy="889292"/>
          </a:xfrm>
          <a:prstGeom prst="line">
            <a:avLst/>
          </a:prstGeom>
          <a:ln w="12700">
            <a:solidFill>
              <a:srgbClr val="01E4EF"/>
            </a:solidFill>
            <a:tailEnd type="stealth"/>
          </a:ln>
        </p:spPr>
        <p:style>
          <a:lnRef idx="1">
            <a:schemeClr val="accent1"/>
          </a:lnRef>
          <a:fillRef idx="0">
            <a:schemeClr val="accent1"/>
          </a:fillRef>
          <a:effectRef idx="0">
            <a:schemeClr val="accent1"/>
          </a:effectRef>
          <a:fontRef idx="minor">
            <a:schemeClr val="tx1"/>
          </a:fontRef>
        </p:style>
      </p:cxnSp>
      <p:sp>
        <p:nvSpPr>
          <p:cNvPr id="76" name="Freeform 12"/>
          <p:cNvSpPr>
            <a:spLocks/>
          </p:cNvSpPr>
          <p:nvPr/>
        </p:nvSpPr>
        <p:spPr bwMode="gray">
          <a:xfrm rot="17806152" flipV="1">
            <a:off x="4119862" y="2695037"/>
            <a:ext cx="613179" cy="347182"/>
          </a:xfrm>
          <a:custGeom>
            <a:avLst/>
            <a:gdLst>
              <a:gd name="connsiteX0" fmla="*/ 0 w 10000"/>
              <a:gd name="connsiteY0" fmla="*/ 10000 h 10000"/>
              <a:gd name="connsiteX1" fmla="*/ 20 w 10000"/>
              <a:gd name="connsiteY1" fmla="*/ 9948 h 10000"/>
              <a:gd name="connsiteX2" fmla="*/ 81 w 10000"/>
              <a:gd name="connsiteY2" fmla="*/ 9742 h 10000"/>
              <a:gd name="connsiteX3" fmla="*/ 163 w 10000"/>
              <a:gd name="connsiteY3" fmla="*/ 9432 h 10000"/>
              <a:gd name="connsiteX4" fmla="*/ 326 w 10000"/>
              <a:gd name="connsiteY4" fmla="*/ 9018 h 10000"/>
              <a:gd name="connsiteX5" fmla="*/ 509 w 10000"/>
              <a:gd name="connsiteY5" fmla="*/ 8527 h 10000"/>
              <a:gd name="connsiteX6" fmla="*/ 774 w 10000"/>
              <a:gd name="connsiteY6" fmla="*/ 7984 h 10000"/>
              <a:gd name="connsiteX7" fmla="*/ 1079 w 10000"/>
              <a:gd name="connsiteY7" fmla="*/ 7416 h 10000"/>
              <a:gd name="connsiteX8" fmla="*/ 1446 w 10000"/>
              <a:gd name="connsiteY8" fmla="*/ 6822 h 10000"/>
              <a:gd name="connsiteX9" fmla="*/ 1894 w 10000"/>
              <a:gd name="connsiteY9" fmla="*/ 6227 h 10000"/>
              <a:gd name="connsiteX10" fmla="*/ 2403 w 10000"/>
              <a:gd name="connsiteY10" fmla="*/ 5659 h 10000"/>
              <a:gd name="connsiteX11" fmla="*/ 2994 w 10000"/>
              <a:gd name="connsiteY11" fmla="*/ 5142 h 10000"/>
              <a:gd name="connsiteX12" fmla="*/ 3666 w 10000"/>
              <a:gd name="connsiteY12" fmla="*/ 4651 h 10000"/>
              <a:gd name="connsiteX13" fmla="*/ 4338 w 10000"/>
              <a:gd name="connsiteY13" fmla="*/ 4289 h 10000"/>
              <a:gd name="connsiteX14" fmla="*/ 4969 w 10000"/>
              <a:gd name="connsiteY14" fmla="*/ 4057 h 10000"/>
              <a:gd name="connsiteX15" fmla="*/ 5540 w 10000"/>
              <a:gd name="connsiteY15" fmla="*/ 3928 h 10000"/>
              <a:gd name="connsiteX16" fmla="*/ 6049 w 10000"/>
              <a:gd name="connsiteY16" fmla="*/ 3876 h 10000"/>
              <a:gd name="connsiteX17" fmla="*/ 6497 w 10000"/>
              <a:gd name="connsiteY17" fmla="*/ 3876 h 10000"/>
              <a:gd name="connsiteX18" fmla="*/ 6904 w 10000"/>
              <a:gd name="connsiteY18" fmla="*/ 3928 h 10000"/>
              <a:gd name="connsiteX19" fmla="*/ 7230 w 10000"/>
              <a:gd name="connsiteY19" fmla="*/ 4031 h 10000"/>
              <a:gd name="connsiteX20" fmla="*/ 7495 w 10000"/>
              <a:gd name="connsiteY20" fmla="*/ 4134 h 10000"/>
              <a:gd name="connsiteX21" fmla="*/ 7678 w 10000"/>
              <a:gd name="connsiteY21" fmla="*/ 4212 h 10000"/>
              <a:gd name="connsiteX22" fmla="*/ 7800 w 10000"/>
              <a:gd name="connsiteY22" fmla="*/ 4289 h 10000"/>
              <a:gd name="connsiteX23" fmla="*/ 7841 w 10000"/>
              <a:gd name="connsiteY23" fmla="*/ 4315 h 10000"/>
              <a:gd name="connsiteX24" fmla="*/ 6925 w 10000"/>
              <a:gd name="connsiteY24" fmla="*/ 6150 h 10000"/>
              <a:gd name="connsiteX25" fmla="*/ 10000 w 10000"/>
              <a:gd name="connsiteY25" fmla="*/ 4780 h 10000"/>
              <a:gd name="connsiteX26" fmla="*/ 9287 w 10000"/>
              <a:gd name="connsiteY26" fmla="*/ 0 h 10000"/>
              <a:gd name="connsiteX27" fmla="*/ 8697 w 10000"/>
              <a:gd name="connsiteY27" fmla="*/ 1938 h 10000"/>
              <a:gd name="connsiteX28" fmla="*/ 8187 w 10000"/>
              <a:gd name="connsiteY28" fmla="*/ 1565 h 10000"/>
              <a:gd name="connsiteX29" fmla="*/ 8534 w 10000"/>
              <a:gd name="connsiteY29" fmla="*/ 1835 h 10000"/>
              <a:gd name="connsiteX30" fmla="*/ 8371 w 10000"/>
              <a:gd name="connsiteY30" fmla="*/ 1731 h 10000"/>
              <a:gd name="connsiteX31" fmla="*/ 8126 w 10000"/>
              <a:gd name="connsiteY31" fmla="*/ 1628 h 10000"/>
              <a:gd name="connsiteX32" fmla="*/ 7821 w 10000"/>
              <a:gd name="connsiteY32" fmla="*/ 1550 h 10000"/>
              <a:gd name="connsiteX33" fmla="*/ 7454 w 10000"/>
              <a:gd name="connsiteY33" fmla="*/ 1473 h 10000"/>
              <a:gd name="connsiteX34" fmla="*/ 7047 w 10000"/>
              <a:gd name="connsiteY34" fmla="*/ 1421 h 10000"/>
              <a:gd name="connsiteX35" fmla="*/ 6578 w 10000"/>
              <a:gd name="connsiteY35" fmla="*/ 1421 h 10000"/>
              <a:gd name="connsiteX36" fmla="*/ 6069 w 10000"/>
              <a:gd name="connsiteY36" fmla="*/ 1499 h 10000"/>
              <a:gd name="connsiteX37" fmla="*/ 5499 w 10000"/>
              <a:gd name="connsiteY37" fmla="*/ 1628 h 10000"/>
              <a:gd name="connsiteX38" fmla="*/ 4908 w 10000"/>
              <a:gd name="connsiteY38" fmla="*/ 1886 h 10000"/>
              <a:gd name="connsiteX39" fmla="*/ 4297 w 10000"/>
              <a:gd name="connsiteY39" fmla="*/ 2222 h 10000"/>
              <a:gd name="connsiteX40" fmla="*/ 3625 w 10000"/>
              <a:gd name="connsiteY40" fmla="*/ 2713 h 10000"/>
              <a:gd name="connsiteX41" fmla="*/ 2953 w 10000"/>
              <a:gd name="connsiteY41" fmla="*/ 3333 h 10000"/>
              <a:gd name="connsiteX42" fmla="*/ 2342 w 10000"/>
              <a:gd name="connsiteY42" fmla="*/ 4005 h 10000"/>
              <a:gd name="connsiteX43" fmla="*/ 1813 w 10000"/>
              <a:gd name="connsiteY43" fmla="*/ 4703 h 10000"/>
              <a:gd name="connsiteX44" fmla="*/ 1385 w 10000"/>
              <a:gd name="connsiteY44" fmla="*/ 5452 h 10000"/>
              <a:gd name="connsiteX45" fmla="*/ 1018 w 10000"/>
              <a:gd name="connsiteY45" fmla="*/ 6202 h 10000"/>
              <a:gd name="connsiteX46" fmla="*/ 733 w 10000"/>
              <a:gd name="connsiteY46" fmla="*/ 6925 h 10000"/>
              <a:gd name="connsiteX47" fmla="*/ 489 w 10000"/>
              <a:gd name="connsiteY47" fmla="*/ 7623 h 10000"/>
              <a:gd name="connsiteX48" fmla="*/ 305 w 10000"/>
              <a:gd name="connsiteY48" fmla="*/ 8269 h 10000"/>
              <a:gd name="connsiteX49" fmla="*/ 183 w 10000"/>
              <a:gd name="connsiteY49" fmla="*/ 8837 h 10000"/>
              <a:gd name="connsiteX50" fmla="*/ 81 w 10000"/>
              <a:gd name="connsiteY50" fmla="*/ 9328 h 10000"/>
              <a:gd name="connsiteX51" fmla="*/ 41 w 10000"/>
              <a:gd name="connsiteY51" fmla="*/ 9690 h 10000"/>
              <a:gd name="connsiteX52" fmla="*/ 0 w 10000"/>
              <a:gd name="connsiteY52" fmla="*/ 9922 h 10000"/>
              <a:gd name="connsiteX53" fmla="*/ 0 w 10000"/>
              <a:gd name="connsiteY53"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00" h="10000">
                <a:moveTo>
                  <a:pt x="0" y="10000"/>
                </a:moveTo>
                <a:cubicBezTo>
                  <a:pt x="7" y="9983"/>
                  <a:pt x="13" y="9965"/>
                  <a:pt x="20" y="9948"/>
                </a:cubicBezTo>
                <a:cubicBezTo>
                  <a:pt x="40" y="9879"/>
                  <a:pt x="61" y="9811"/>
                  <a:pt x="81" y="9742"/>
                </a:cubicBezTo>
                <a:cubicBezTo>
                  <a:pt x="108" y="9639"/>
                  <a:pt x="136" y="9535"/>
                  <a:pt x="163" y="9432"/>
                </a:cubicBezTo>
                <a:cubicBezTo>
                  <a:pt x="217" y="9294"/>
                  <a:pt x="272" y="9156"/>
                  <a:pt x="326" y="9018"/>
                </a:cubicBezTo>
                <a:lnTo>
                  <a:pt x="509" y="8527"/>
                </a:lnTo>
                <a:lnTo>
                  <a:pt x="774" y="7984"/>
                </a:lnTo>
                <a:lnTo>
                  <a:pt x="1079" y="7416"/>
                </a:lnTo>
                <a:lnTo>
                  <a:pt x="1446" y="6822"/>
                </a:lnTo>
                <a:lnTo>
                  <a:pt x="1894" y="6227"/>
                </a:lnTo>
                <a:lnTo>
                  <a:pt x="2403" y="5659"/>
                </a:lnTo>
                <a:lnTo>
                  <a:pt x="2994" y="5142"/>
                </a:lnTo>
                <a:lnTo>
                  <a:pt x="3666" y="4651"/>
                </a:lnTo>
                <a:lnTo>
                  <a:pt x="4338" y="4289"/>
                </a:lnTo>
                <a:lnTo>
                  <a:pt x="4969" y="4057"/>
                </a:lnTo>
                <a:lnTo>
                  <a:pt x="5540" y="3928"/>
                </a:lnTo>
                <a:lnTo>
                  <a:pt x="6049" y="3876"/>
                </a:lnTo>
                <a:lnTo>
                  <a:pt x="6497" y="3876"/>
                </a:lnTo>
                <a:lnTo>
                  <a:pt x="6904" y="3928"/>
                </a:lnTo>
                <a:lnTo>
                  <a:pt x="7230" y="4031"/>
                </a:lnTo>
                <a:lnTo>
                  <a:pt x="7495" y="4134"/>
                </a:lnTo>
                <a:lnTo>
                  <a:pt x="7678" y="4212"/>
                </a:lnTo>
                <a:lnTo>
                  <a:pt x="7800" y="4289"/>
                </a:lnTo>
                <a:lnTo>
                  <a:pt x="7841" y="4315"/>
                </a:lnTo>
                <a:lnTo>
                  <a:pt x="6925" y="6150"/>
                </a:lnTo>
                <a:lnTo>
                  <a:pt x="10000" y="4780"/>
                </a:lnTo>
                <a:cubicBezTo>
                  <a:pt x="9762" y="3187"/>
                  <a:pt x="9525" y="1593"/>
                  <a:pt x="9287" y="0"/>
                </a:cubicBezTo>
                <a:lnTo>
                  <a:pt x="8697" y="1938"/>
                </a:lnTo>
                <a:lnTo>
                  <a:pt x="8187" y="1565"/>
                </a:lnTo>
                <a:lnTo>
                  <a:pt x="8534" y="1835"/>
                </a:lnTo>
                <a:cubicBezTo>
                  <a:pt x="8480" y="1800"/>
                  <a:pt x="8425" y="1766"/>
                  <a:pt x="8371" y="1731"/>
                </a:cubicBezTo>
                <a:lnTo>
                  <a:pt x="8126" y="1628"/>
                </a:lnTo>
                <a:lnTo>
                  <a:pt x="7821" y="1550"/>
                </a:lnTo>
                <a:lnTo>
                  <a:pt x="7454" y="1473"/>
                </a:lnTo>
                <a:lnTo>
                  <a:pt x="7047" y="1421"/>
                </a:lnTo>
                <a:lnTo>
                  <a:pt x="6578" y="1421"/>
                </a:lnTo>
                <a:lnTo>
                  <a:pt x="6069" y="1499"/>
                </a:lnTo>
                <a:lnTo>
                  <a:pt x="5499" y="1628"/>
                </a:lnTo>
                <a:lnTo>
                  <a:pt x="4908" y="1886"/>
                </a:lnTo>
                <a:lnTo>
                  <a:pt x="4297" y="2222"/>
                </a:lnTo>
                <a:lnTo>
                  <a:pt x="3625" y="2713"/>
                </a:lnTo>
                <a:lnTo>
                  <a:pt x="2953" y="3333"/>
                </a:lnTo>
                <a:lnTo>
                  <a:pt x="2342" y="4005"/>
                </a:lnTo>
                <a:lnTo>
                  <a:pt x="1813" y="4703"/>
                </a:lnTo>
                <a:lnTo>
                  <a:pt x="1385" y="5452"/>
                </a:lnTo>
                <a:lnTo>
                  <a:pt x="1018" y="6202"/>
                </a:lnTo>
                <a:lnTo>
                  <a:pt x="733" y="6925"/>
                </a:lnTo>
                <a:cubicBezTo>
                  <a:pt x="652" y="7158"/>
                  <a:pt x="570" y="7390"/>
                  <a:pt x="489" y="7623"/>
                </a:cubicBezTo>
                <a:cubicBezTo>
                  <a:pt x="428" y="7838"/>
                  <a:pt x="366" y="8054"/>
                  <a:pt x="305" y="8269"/>
                </a:cubicBezTo>
                <a:cubicBezTo>
                  <a:pt x="264" y="8458"/>
                  <a:pt x="224" y="8648"/>
                  <a:pt x="183" y="8837"/>
                </a:cubicBezTo>
                <a:lnTo>
                  <a:pt x="81" y="9328"/>
                </a:lnTo>
                <a:cubicBezTo>
                  <a:pt x="68" y="9449"/>
                  <a:pt x="54" y="9569"/>
                  <a:pt x="41" y="9690"/>
                </a:cubicBezTo>
                <a:cubicBezTo>
                  <a:pt x="27" y="9767"/>
                  <a:pt x="14" y="9845"/>
                  <a:pt x="0" y="9922"/>
                </a:cubicBezTo>
                <a:lnTo>
                  <a:pt x="0" y="10000"/>
                </a:lnTo>
              </a:path>
            </a:pathLst>
          </a:custGeom>
          <a:solidFill>
            <a:srgbClr val="04C5EC"/>
          </a:solidFill>
          <a:ln w="12700">
            <a:noFill/>
            <a:prstDash val="solid"/>
            <a:round/>
            <a:headEnd/>
            <a:tailEnd/>
          </a:ln>
        </p:spPr>
        <p:txBody>
          <a:bodyPr lIns="68536" tIns="34268" rIns="68536" bIns="34268"/>
          <a:lstStyle/>
          <a:p>
            <a:pPr defTabSz="256892">
              <a:defRPr/>
            </a:pPr>
            <a:endParaRPr lang="zh-CN" altLang="en-US" sz="900" dirty="0">
              <a:solidFill>
                <a:sysClr val="windowText" lastClr="000000"/>
              </a:solidFill>
            </a:endParaRPr>
          </a:p>
        </p:txBody>
      </p:sp>
      <p:sp>
        <p:nvSpPr>
          <p:cNvPr id="77" name="矩形 76"/>
          <p:cNvSpPr/>
          <p:nvPr/>
        </p:nvSpPr>
        <p:spPr>
          <a:xfrm>
            <a:off x="4025682" y="2677554"/>
            <a:ext cx="604152" cy="276999"/>
          </a:xfrm>
          <a:prstGeom prst="rect">
            <a:avLst/>
          </a:prstGeom>
        </p:spPr>
        <p:txBody>
          <a:bodyPr wrap="square">
            <a:spAutoFit/>
          </a:bodyPr>
          <a:lstStyle/>
          <a:p>
            <a:pPr algn="ctr"/>
            <a:r>
              <a:rPr lang="en-US" altLang="zh-CN" sz="1200" b="1" dirty="0">
                <a:solidFill>
                  <a:srgbClr val="FFC000"/>
                </a:solidFill>
              </a:rPr>
              <a:t>×5</a:t>
            </a:r>
            <a:endParaRPr lang="zh-CN" altLang="en-US" sz="900" dirty="0"/>
          </a:p>
        </p:txBody>
      </p:sp>
      <p:sp>
        <p:nvSpPr>
          <p:cNvPr id="120" name="圆角矩形 135"/>
          <p:cNvSpPr/>
          <p:nvPr/>
        </p:nvSpPr>
        <p:spPr>
          <a:xfrm>
            <a:off x="422262" y="2248502"/>
            <a:ext cx="2321798" cy="1754848"/>
          </a:xfrm>
          <a:prstGeom prst="roundRect">
            <a:avLst>
              <a:gd name="adj" fmla="val 1979"/>
            </a:avLst>
          </a:prstGeom>
          <a:solidFill>
            <a:srgbClr val="00B0F0">
              <a:alpha val="10000"/>
            </a:srgbClr>
          </a:solidFill>
          <a:ln w="22225" cap="flat" cmpd="sng" algn="ctr">
            <a:gradFill>
              <a:gsLst>
                <a:gs pos="0">
                  <a:srgbClr val="00B0F0">
                    <a:alpha val="79000"/>
                  </a:srgbClr>
                </a:gs>
                <a:gs pos="100000">
                  <a:srgbClr val="00B0F0">
                    <a:alpha val="30000"/>
                  </a:srgbClr>
                </a:gs>
              </a:gsLst>
              <a:lin ang="10800000" scaled="0"/>
            </a:gradFill>
            <a:prstDash val="solid"/>
          </a:ln>
          <a:effectLst/>
        </p:spPr>
        <p:txBody>
          <a:bodyPr rot="0" spcFirstLastPara="0" vertOverflow="overflow" horzOverflow="overflow" vert="horz" wrap="square" lIns="64786" tIns="32393" rIns="64786" bIns="32393" numCol="1" spcCol="0" rtlCol="0" fromWordArt="0" anchor="ctr" anchorCtr="0" forceAA="0" compatLnSpc="1">
            <a:prstTxWarp prst="textNoShape">
              <a:avLst/>
            </a:prstTxWarp>
            <a:noAutofit/>
          </a:bodyPr>
          <a:lstStyle/>
          <a:p>
            <a:pPr defTabSz="863692"/>
            <a:endParaRPr lang="zh-CN" altLang="en-US" sz="1725" kern="0" dirty="0">
              <a:solidFill>
                <a:prstClr val="white"/>
              </a:solidFill>
            </a:endParaRPr>
          </a:p>
        </p:txBody>
      </p:sp>
      <p:sp>
        <p:nvSpPr>
          <p:cNvPr id="121" name="矩形 120"/>
          <p:cNvSpPr/>
          <p:nvPr/>
        </p:nvSpPr>
        <p:spPr>
          <a:xfrm>
            <a:off x="979324" y="3501824"/>
            <a:ext cx="1183337" cy="334707"/>
          </a:xfrm>
          <a:prstGeom prst="rect">
            <a:avLst/>
          </a:prstGeom>
        </p:spPr>
        <p:txBody>
          <a:bodyPr wrap="none">
            <a:spAutoFit/>
          </a:bodyPr>
          <a:lstStyle/>
          <a:p>
            <a:pPr lvl="0" algn="ctr">
              <a:lnSpc>
                <a:spcPct val="150000"/>
              </a:lnSpc>
            </a:pPr>
            <a:r>
              <a:rPr lang="en-US" altLang="zh-CN" sz="1050" dirty="0">
                <a:solidFill>
                  <a:srgbClr val="FFC000"/>
                </a:solidFill>
              </a:rPr>
              <a:t>Connected people</a:t>
            </a:r>
            <a:endParaRPr lang="en-US" altLang="zh-CN" sz="1050" dirty="0">
              <a:solidFill>
                <a:srgbClr val="FFC000"/>
              </a:solidFill>
            </a:endParaRPr>
          </a:p>
        </p:txBody>
      </p:sp>
      <p:cxnSp>
        <p:nvCxnSpPr>
          <p:cNvPr id="122" name="直接连接符 121"/>
          <p:cNvCxnSpPr>
            <a:cxnSpLocks/>
          </p:cNvCxnSpPr>
          <p:nvPr/>
        </p:nvCxnSpPr>
        <p:spPr>
          <a:xfrm flipV="1">
            <a:off x="874882" y="3382344"/>
            <a:ext cx="1480256" cy="1"/>
          </a:xfrm>
          <a:prstGeom prst="line">
            <a:avLst/>
          </a:prstGeom>
          <a:ln w="12700">
            <a:solidFill>
              <a:srgbClr val="01E4EF"/>
            </a:solidFill>
            <a:tailEnd type="stealth"/>
          </a:ln>
        </p:spPr>
        <p:style>
          <a:lnRef idx="1">
            <a:schemeClr val="accent1"/>
          </a:lnRef>
          <a:fillRef idx="0">
            <a:schemeClr val="accent1"/>
          </a:fillRef>
          <a:effectRef idx="0">
            <a:schemeClr val="accent1"/>
          </a:effectRef>
          <a:fontRef idx="minor">
            <a:schemeClr val="tx1"/>
          </a:fontRef>
        </p:style>
      </p:cxnSp>
      <p:sp>
        <p:nvSpPr>
          <p:cNvPr id="123" name="矩形 122"/>
          <p:cNvSpPr/>
          <p:nvPr/>
        </p:nvSpPr>
        <p:spPr>
          <a:xfrm flipV="1">
            <a:off x="1134299" y="2950333"/>
            <a:ext cx="257258" cy="4302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矩形 123"/>
          <p:cNvSpPr/>
          <p:nvPr/>
        </p:nvSpPr>
        <p:spPr>
          <a:xfrm>
            <a:off x="1787699" y="2506881"/>
            <a:ext cx="257258" cy="875462"/>
          </a:xfrm>
          <a:prstGeom prst="rect">
            <a:avLst/>
          </a:prstGeom>
          <a:solidFill>
            <a:srgbClr val="01E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5" name="矩形 124"/>
          <p:cNvSpPr/>
          <p:nvPr/>
        </p:nvSpPr>
        <p:spPr>
          <a:xfrm>
            <a:off x="1074519" y="3409999"/>
            <a:ext cx="415499" cy="230832"/>
          </a:xfrm>
          <a:prstGeom prst="rect">
            <a:avLst/>
          </a:prstGeom>
        </p:spPr>
        <p:txBody>
          <a:bodyPr wrap="none">
            <a:spAutoFit/>
          </a:bodyPr>
          <a:lstStyle/>
          <a:p>
            <a:pPr algn="ctr"/>
            <a:r>
              <a:rPr lang="en-US" altLang="zh-CN" sz="900" dirty="0">
                <a:solidFill>
                  <a:schemeClr val="bg1"/>
                </a:solidFill>
              </a:rPr>
              <a:t>2015</a:t>
            </a:r>
            <a:endParaRPr lang="zh-CN" altLang="en-US" sz="900" dirty="0"/>
          </a:p>
        </p:txBody>
      </p:sp>
      <p:sp>
        <p:nvSpPr>
          <p:cNvPr id="126" name="矩形 125"/>
          <p:cNvSpPr/>
          <p:nvPr/>
        </p:nvSpPr>
        <p:spPr>
          <a:xfrm>
            <a:off x="1796385" y="3392933"/>
            <a:ext cx="493731" cy="230832"/>
          </a:xfrm>
          <a:prstGeom prst="rect">
            <a:avLst/>
          </a:prstGeom>
        </p:spPr>
        <p:txBody>
          <a:bodyPr wrap="square">
            <a:spAutoFit/>
          </a:bodyPr>
          <a:lstStyle/>
          <a:p>
            <a:r>
              <a:rPr lang="en-US" altLang="zh-CN" sz="900" dirty="0">
                <a:solidFill>
                  <a:schemeClr val="bg1"/>
                </a:solidFill>
              </a:rPr>
              <a:t>2025</a:t>
            </a:r>
            <a:endParaRPr lang="zh-CN" altLang="en-US" sz="900" dirty="0"/>
          </a:p>
        </p:txBody>
      </p:sp>
      <p:sp>
        <p:nvSpPr>
          <p:cNvPr id="127" name="矩形 126"/>
          <p:cNvSpPr/>
          <p:nvPr/>
        </p:nvSpPr>
        <p:spPr>
          <a:xfrm>
            <a:off x="871696" y="2773480"/>
            <a:ext cx="782932" cy="219291"/>
          </a:xfrm>
          <a:prstGeom prst="rect">
            <a:avLst/>
          </a:prstGeom>
        </p:spPr>
        <p:txBody>
          <a:bodyPr wrap="square">
            <a:spAutoFit/>
          </a:bodyPr>
          <a:lstStyle/>
          <a:p>
            <a:pPr algn="ctr"/>
            <a:r>
              <a:rPr lang="en-US" altLang="zh-CN" sz="825" b="1" dirty="0">
                <a:solidFill>
                  <a:schemeClr val="bg1"/>
                </a:solidFill>
              </a:rPr>
              <a:t>3.2 billions</a:t>
            </a:r>
            <a:endParaRPr lang="zh-CN" altLang="en-US" sz="825" b="1" dirty="0">
              <a:solidFill>
                <a:schemeClr val="bg1"/>
              </a:solidFill>
            </a:endParaRPr>
          </a:p>
        </p:txBody>
      </p:sp>
      <p:sp>
        <p:nvSpPr>
          <p:cNvPr id="128" name="矩形 127"/>
          <p:cNvSpPr/>
          <p:nvPr/>
        </p:nvSpPr>
        <p:spPr>
          <a:xfrm>
            <a:off x="1458173" y="2187764"/>
            <a:ext cx="944918" cy="369332"/>
          </a:xfrm>
          <a:prstGeom prst="rect">
            <a:avLst/>
          </a:prstGeom>
          <a:effectLst/>
        </p:spPr>
        <p:txBody>
          <a:bodyPr wrap="square">
            <a:spAutoFit/>
          </a:bodyPr>
          <a:lstStyle/>
          <a:p>
            <a:pPr algn="ctr" defTabSz="914278"/>
            <a:r>
              <a:rPr lang="en-US" altLang="zh-CN" sz="1350" b="1" dirty="0">
                <a:solidFill>
                  <a:srgbClr val="FFC000"/>
                </a:solidFill>
                <a:effectLst>
                  <a:outerShdw blurRad="50800" dist="38100" dir="13500000" algn="br" rotWithShape="0">
                    <a:prstClr val="black">
                      <a:alpha val="40000"/>
                    </a:prstClr>
                  </a:outerShdw>
                </a:effectLst>
                <a:ea typeface="微软雅黑" pitchFamily="34" charset="-122"/>
                <a:cs typeface="Arial" pitchFamily="34" charset="0"/>
              </a:rPr>
              <a:t>4.7</a:t>
            </a:r>
            <a:r>
              <a:rPr lang="en-US" altLang="zh-CN" b="1" dirty="0" smtClean="0">
                <a:solidFill>
                  <a:srgbClr val="FFC000"/>
                </a:solidFill>
                <a:effectLst>
                  <a:outerShdw blurRad="50800" dist="38100" dir="13500000" algn="br" rotWithShape="0">
                    <a:prstClr val="black">
                      <a:alpha val="40000"/>
                    </a:prstClr>
                  </a:outerShdw>
                </a:effectLst>
                <a:ea typeface="微软雅黑" pitchFamily="34" charset="-122"/>
                <a:cs typeface="Arial" pitchFamily="34" charset="0"/>
              </a:rPr>
              <a:t> </a:t>
            </a:r>
            <a:r>
              <a:rPr lang="en-US" altLang="zh-CN" sz="1050" b="1" dirty="0">
                <a:solidFill>
                  <a:srgbClr val="FFC000"/>
                </a:solidFill>
                <a:effectLst>
                  <a:outerShdw blurRad="50800" dist="38100" dir="13500000" algn="br" rotWithShape="0">
                    <a:prstClr val="black">
                      <a:alpha val="40000"/>
                    </a:prstClr>
                  </a:outerShdw>
                </a:effectLst>
                <a:ea typeface="微软雅黑" pitchFamily="34" charset="-122"/>
                <a:cs typeface="Arial" pitchFamily="34" charset="0"/>
              </a:rPr>
              <a:t>billion</a:t>
            </a:r>
            <a:endParaRPr lang="zh-CN" altLang="en-US" sz="1050" b="1" dirty="0">
              <a:solidFill>
                <a:srgbClr val="FFC000"/>
              </a:solidFill>
              <a:effectLst>
                <a:outerShdw blurRad="50800" dist="38100" dir="13500000" algn="br" rotWithShape="0">
                  <a:prstClr val="black">
                    <a:alpha val="40000"/>
                  </a:prstClr>
                </a:outerShdw>
              </a:effectLst>
              <a:ea typeface="微软雅黑" pitchFamily="34" charset="-122"/>
              <a:cs typeface="Arial" pitchFamily="34" charset="0"/>
            </a:endParaRPr>
          </a:p>
        </p:txBody>
      </p:sp>
      <p:cxnSp>
        <p:nvCxnSpPr>
          <p:cNvPr id="129" name="直接连接符 128"/>
          <p:cNvCxnSpPr>
            <a:cxnSpLocks/>
          </p:cNvCxnSpPr>
          <p:nvPr/>
        </p:nvCxnSpPr>
        <p:spPr>
          <a:xfrm flipV="1">
            <a:off x="876999" y="2493053"/>
            <a:ext cx="0" cy="889292"/>
          </a:xfrm>
          <a:prstGeom prst="line">
            <a:avLst/>
          </a:prstGeom>
          <a:ln w="12700">
            <a:solidFill>
              <a:srgbClr val="01E4EF"/>
            </a:solidFill>
            <a:tailEnd type="stealth"/>
          </a:ln>
        </p:spPr>
        <p:style>
          <a:lnRef idx="1">
            <a:schemeClr val="accent1"/>
          </a:lnRef>
          <a:fillRef idx="0">
            <a:schemeClr val="accent1"/>
          </a:fillRef>
          <a:effectRef idx="0">
            <a:schemeClr val="accent1"/>
          </a:effectRef>
          <a:fontRef idx="minor">
            <a:schemeClr val="tx1"/>
          </a:fontRef>
        </p:style>
      </p:cxnSp>
      <p:sp>
        <p:nvSpPr>
          <p:cNvPr id="130" name="Freeform 12"/>
          <p:cNvSpPr>
            <a:spLocks/>
          </p:cNvSpPr>
          <p:nvPr/>
        </p:nvSpPr>
        <p:spPr bwMode="gray">
          <a:xfrm rot="17806152" flipV="1">
            <a:off x="1374623" y="2552340"/>
            <a:ext cx="392736" cy="222366"/>
          </a:xfrm>
          <a:custGeom>
            <a:avLst/>
            <a:gdLst>
              <a:gd name="connsiteX0" fmla="*/ 0 w 10000"/>
              <a:gd name="connsiteY0" fmla="*/ 10000 h 10000"/>
              <a:gd name="connsiteX1" fmla="*/ 20 w 10000"/>
              <a:gd name="connsiteY1" fmla="*/ 9948 h 10000"/>
              <a:gd name="connsiteX2" fmla="*/ 81 w 10000"/>
              <a:gd name="connsiteY2" fmla="*/ 9742 h 10000"/>
              <a:gd name="connsiteX3" fmla="*/ 163 w 10000"/>
              <a:gd name="connsiteY3" fmla="*/ 9432 h 10000"/>
              <a:gd name="connsiteX4" fmla="*/ 326 w 10000"/>
              <a:gd name="connsiteY4" fmla="*/ 9018 h 10000"/>
              <a:gd name="connsiteX5" fmla="*/ 509 w 10000"/>
              <a:gd name="connsiteY5" fmla="*/ 8527 h 10000"/>
              <a:gd name="connsiteX6" fmla="*/ 774 w 10000"/>
              <a:gd name="connsiteY6" fmla="*/ 7984 h 10000"/>
              <a:gd name="connsiteX7" fmla="*/ 1079 w 10000"/>
              <a:gd name="connsiteY7" fmla="*/ 7416 h 10000"/>
              <a:gd name="connsiteX8" fmla="*/ 1446 w 10000"/>
              <a:gd name="connsiteY8" fmla="*/ 6822 h 10000"/>
              <a:gd name="connsiteX9" fmla="*/ 1894 w 10000"/>
              <a:gd name="connsiteY9" fmla="*/ 6227 h 10000"/>
              <a:gd name="connsiteX10" fmla="*/ 2403 w 10000"/>
              <a:gd name="connsiteY10" fmla="*/ 5659 h 10000"/>
              <a:gd name="connsiteX11" fmla="*/ 2994 w 10000"/>
              <a:gd name="connsiteY11" fmla="*/ 5142 h 10000"/>
              <a:gd name="connsiteX12" fmla="*/ 3666 w 10000"/>
              <a:gd name="connsiteY12" fmla="*/ 4651 h 10000"/>
              <a:gd name="connsiteX13" fmla="*/ 4338 w 10000"/>
              <a:gd name="connsiteY13" fmla="*/ 4289 h 10000"/>
              <a:gd name="connsiteX14" fmla="*/ 4969 w 10000"/>
              <a:gd name="connsiteY14" fmla="*/ 4057 h 10000"/>
              <a:gd name="connsiteX15" fmla="*/ 5540 w 10000"/>
              <a:gd name="connsiteY15" fmla="*/ 3928 h 10000"/>
              <a:gd name="connsiteX16" fmla="*/ 6049 w 10000"/>
              <a:gd name="connsiteY16" fmla="*/ 3876 h 10000"/>
              <a:gd name="connsiteX17" fmla="*/ 6497 w 10000"/>
              <a:gd name="connsiteY17" fmla="*/ 3876 h 10000"/>
              <a:gd name="connsiteX18" fmla="*/ 6904 w 10000"/>
              <a:gd name="connsiteY18" fmla="*/ 3928 h 10000"/>
              <a:gd name="connsiteX19" fmla="*/ 7230 w 10000"/>
              <a:gd name="connsiteY19" fmla="*/ 4031 h 10000"/>
              <a:gd name="connsiteX20" fmla="*/ 7495 w 10000"/>
              <a:gd name="connsiteY20" fmla="*/ 4134 h 10000"/>
              <a:gd name="connsiteX21" fmla="*/ 7678 w 10000"/>
              <a:gd name="connsiteY21" fmla="*/ 4212 h 10000"/>
              <a:gd name="connsiteX22" fmla="*/ 7800 w 10000"/>
              <a:gd name="connsiteY22" fmla="*/ 4289 h 10000"/>
              <a:gd name="connsiteX23" fmla="*/ 7841 w 10000"/>
              <a:gd name="connsiteY23" fmla="*/ 4315 h 10000"/>
              <a:gd name="connsiteX24" fmla="*/ 6925 w 10000"/>
              <a:gd name="connsiteY24" fmla="*/ 6150 h 10000"/>
              <a:gd name="connsiteX25" fmla="*/ 10000 w 10000"/>
              <a:gd name="connsiteY25" fmla="*/ 4780 h 10000"/>
              <a:gd name="connsiteX26" fmla="*/ 9287 w 10000"/>
              <a:gd name="connsiteY26" fmla="*/ 0 h 10000"/>
              <a:gd name="connsiteX27" fmla="*/ 8697 w 10000"/>
              <a:gd name="connsiteY27" fmla="*/ 1938 h 10000"/>
              <a:gd name="connsiteX28" fmla="*/ 8187 w 10000"/>
              <a:gd name="connsiteY28" fmla="*/ 1565 h 10000"/>
              <a:gd name="connsiteX29" fmla="*/ 8534 w 10000"/>
              <a:gd name="connsiteY29" fmla="*/ 1835 h 10000"/>
              <a:gd name="connsiteX30" fmla="*/ 8371 w 10000"/>
              <a:gd name="connsiteY30" fmla="*/ 1731 h 10000"/>
              <a:gd name="connsiteX31" fmla="*/ 8126 w 10000"/>
              <a:gd name="connsiteY31" fmla="*/ 1628 h 10000"/>
              <a:gd name="connsiteX32" fmla="*/ 7821 w 10000"/>
              <a:gd name="connsiteY32" fmla="*/ 1550 h 10000"/>
              <a:gd name="connsiteX33" fmla="*/ 7454 w 10000"/>
              <a:gd name="connsiteY33" fmla="*/ 1473 h 10000"/>
              <a:gd name="connsiteX34" fmla="*/ 7047 w 10000"/>
              <a:gd name="connsiteY34" fmla="*/ 1421 h 10000"/>
              <a:gd name="connsiteX35" fmla="*/ 6578 w 10000"/>
              <a:gd name="connsiteY35" fmla="*/ 1421 h 10000"/>
              <a:gd name="connsiteX36" fmla="*/ 6069 w 10000"/>
              <a:gd name="connsiteY36" fmla="*/ 1499 h 10000"/>
              <a:gd name="connsiteX37" fmla="*/ 5499 w 10000"/>
              <a:gd name="connsiteY37" fmla="*/ 1628 h 10000"/>
              <a:gd name="connsiteX38" fmla="*/ 4908 w 10000"/>
              <a:gd name="connsiteY38" fmla="*/ 1886 h 10000"/>
              <a:gd name="connsiteX39" fmla="*/ 4297 w 10000"/>
              <a:gd name="connsiteY39" fmla="*/ 2222 h 10000"/>
              <a:gd name="connsiteX40" fmla="*/ 3625 w 10000"/>
              <a:gd name="connsiteY40" fmla="*/ 2713 h 10000"/>
              <a:gd name="connsiteX41" fmla="*/ 2953 w 10000"/>
              <a:gd name="connsiteY41" fmla="*/ 3333 h 10000"/>
              <a:gd name="connsiteX42" fmla="*/ 2342 w 10000"/>
              <a:gd name="connsiteY42" fmla="*/ 4005 h 10000"/>
              <a:gd name="connsiteX43" fmla="*/ 1813 w 10000"/>
              <a:gd name="connsiteY43" fmla="*/ 4703 h 10000"/>
              <a:gd name="connsiteX44" fmla="*/ 1385 w 10000"/>
              <a:gd name="connsiteY44" fmla="*/ 5452 h 10000"/>
              <a:gd name="connsiteX45" fmla="*/ 1018 w 10000"/>
              <a:gd name="connsiteY45" fmla="*/ 6202 h 10000"/>
              <a:gd name="connsiteX46" fmla="*/ 733 w 10000"/>
              <a:gd name="connsiteY46" fmla="*/ 6925 h 10000"/>
              <a:gd name="connsiteX47" fmla="*/ 489 w 10000"/>
              <a:gd name="connsiteY47" fmla="*/ 7623 h 10000"/>
              <a:gd name="connsiteX48" fmla="*/ 305 w 10000"/>
              <a:gd name="connsiteY48" fmla="*/ 8269 h 10000"/>
              <a:gd name="connsiteX49" fmla="*/ 183 w 10000"/>
              <a:gd name="connsiteY49" fmla="*/ 8837 h 10000"/>
              <a:gd name="connsiteX50" fmla="*/ 81 w 10000"/>
              <a:gd name="connsiteY50" fmla="*/ 9328 h 10000"/>
              <a:gd name="connsiteX51" fmla="*/ 41 w 10000"/>
              <a:gd name="connsiteY51" fmla="*/ 9690 h 10000"/>
              <a:gd name="connsiteX52" fmla="*/ 0 w 10000"/>
              <a:gd name="connsiteY52" fmla="*/ 9922 h 10000"/>
              <a:gd name="connsiteX53" fmla="*/ 0 w 10000"/>
              <a:gd name="connsiteY53"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00" h="10000">
                <a:moveTo>
                  <a:pt x="0" y="10000"/>
                </a:moveTo>
                <a:cubicBezTo>
                  <a:pt x="7" y="9983"/>
                  <a:pt x="13" y="9965"/>
                  <a:pt x="20" y="9948"/>
                </a:cubicBezTo>
                <a:cubicBezTo>
                  <a:pt x="40" y="9879"/>
                  <a:pt x="61" y="9811"/>
                  <a:pt x="81" y="9742"/>
                </a:cubicBezTo>
                <a:cubicBezTo>
                  <a:pt x="108" y="9639"/>
                  <a:pt x="136" y="9535"/>
                  <a:pt x="163" y="9432"/>
                </a:cubicBezTo>
                <a:cubicBezTo>
                  <a:pt x="217" y="9294"/>
                  <a:pt x="272" y="9156"/>
                  <a:pt x="326" y="9018"/>
                </a:cubicBezTo>
                <a:lnTo>
                  <a:pt x="509" y="8527"/>
                </a:lnTo>
                <a:lnTo>
                  <a:pt x="774" y="7984"/>
                </a:lnTo>
                <a:lnTo>
                  <a:pt x="1079" y="7416"/>
                </a:lnTo>
                <a:lnTo>
                  <a:pt x="1446" y="6822"/>
                </a:lnTo>
                <a:lnTo>
                  <a:pt x="1894" y="6227"/>
                </a:lnTo>
                <a:lnTo>
                  <a:pt x="2403" y="5659"/>
                </a:lnTo>
                <a:lnTo>
                  <a:pt x="2994" y="5142"/>
                </a:lnTo>
                <a:lnTo>
                  <a:pt x="3666" y="4651"/>
                </a:lnTo>
                <a:lnTo>
                  <a:pt x="4338" y="4289"/>
                </a:lnTo>
                <a:lnTo>
                  <a:pt x="4969" y="4057"/>
                </a:lnTo>
                <a:lnTo>
                  <a:pt x="5540" y="3928"/>
                </a:lnTo>
                <a:lnTo>
                  <a:pt x="6049" y="3876"/>
                </a:lnTo>
                <a:lnTo>
                  <a:pt x="6497" y="3876"/>
                </a:lnTo>
                <a:lnTo>
                  <a:pt x="6904" y="3928"/>
                </a:lnTo>
                <a:lnTo>
                  <a:pt x="7230" y="4031"/>
                </a:lnTo>
                <a:lnTo>
                  <a:pt x="7495" y="4134"/>
                </a:lnTo>
                <a:lnTo>
                  <a:pt x="7678" y="4212"/>
                </a:lnTo>
                <a:lnTo>
                  <a:pt x="7800" y="4289"/>
                </a:lnTo>
                <a:lnTo>
                  <a:pt x="7841" y="4315"/>
                </a:lnTo>
                <a:lnTo>
                  <a:pt x="6925" y="6150"/>
                </a:lnTo>
                <a:lnTo>
                  <a:pt x="10000" y="4780"/>
                </a:lnTo>
                <a:cubicBezTo>
                  <a:pt x="9762" y="3187"/>
                  <a:pt x="9525" y="1593"/>
                  <a:pt x="9287" y="0"/>
                </a:cubicBezTo>
                <a:lnTo>
                  <a:pt x="8697" y="1938"/>
                </a:lnTo>
                <a:lnTo>
                  <a:pt x="8187" y="1565"/>
                </a:lnTo>
                <a:lnTo>
                  <a:pt x="8534" y="1835"/>
                </a:lnTo>
                <a:cubicBezTo>
                  <a:pt x="8480" y="1800"/>
                  <a:pt x="8425" y="1766"/>
                  <a:pt x="8371" y="1731"/>
                </a:cubicBezTo>
                <a:lnTo>
                  <a:pt x="8126" y="1628"/>
                </a:lnTo>
                <a:lnTo>
                  <a:pt x="7821" y="1550"/>
                </a:lnTo>
                <a:lnTo>
                  <a:pt x="7454" y="1473"/>
                </a:lnTo>
                <a:lnTo>
                  <a:pt x="7047" y="1421"/>
                </a:lnTo>
                <a:lnTo>
                  <a:pt x="6578" y="1421"/>
                </a:lnTo>
                <a:lnTo>
                  <a:pt x="6069" y="1499"/>
                </a:lnTo>
                <a:lnTo>
                  <a:pt x="5499" y="1628"/>
                </a:lnTo>
                <a:lnTo>
                  <a:pt x="4908" y="1886"/>
                </a:lnTo>
                <a:lnTo>
                  <a:pt x="4297" y="2222"/>
                </a:lnTo>
                <a:lnTo>
                  <a:pt x="3625" y="2713"/>
                </a:lnTo>
                <a:lnTo>
                  <a:pt x="2953" y="3333"/>
                </a:lnTo>
                <a:lnTo>
                  <a:pt x="2342" y="4005"/>
                </a:lnTo>
                <a:lnTo>
                  <a:pt x="1813" y="4703"/>
                </a:lnTo>
                <a:lnTo>
                  <a:pt x="1385" y="5452"/>
                </a:lnTo>
                <a:lnTo>
                  <a:pt x="1018" y="6202"/>
                </a:lnTo>
                <a:lnTo>
                  <a:pt x="733" y="6925"/>
                </a:lnTo>
                <a:cubicBezTo>
                  <a:pt x="652" y="7158"/>
                  <a:pt x="570" y="7390"/>
                  <a:pt x="489" y="7623"/>
                </a:cubicBezTo>
                <a:cubicBezTo>
                  <a:pt x="428" y="7838"/>
                  <a:pt x="366" y="8054"/>
                  <a:pt x="305" y="8269"/>
                </a:cubicBezTo>
                <a:cubicBezTo>
                  <a:pt x="264" y="8458"/>
                  <a:pt x="224" y="8648"/>
                  <a:pt x="183" y="8837"/>
                </a:cubicBezTo>
                <a:lnTo>
                  <a:pt x="81" y="9328"/>
                </a:lnTo>
                <a:cubicBezTo>
                  <a:pt x="68" y="9449"/>
                  <a:pt x="54" y="9569"/>
                  <a:pt x="41" y="9690"/>
                </a:cubicBezTo>
                <a:cubicBezTo>
                  <a:pt x="27" y="9767"/>
                  <a:pt x="14" y="9845"/>
                  <a:pt x="0" y="9922"/>
                </a:cubicBezTo>
                <a:lnTo>
                  <a:pt x="0" y="10000"/>
                </a:lnTo>
              </a:path>
            </a:pathLst>
          </a:custGeom>
          <a:solidFill>
            <a:srgbClr val="04C5EC"/>
          </a:solidFill>
          <a:ln w="12700">
            <a:noFill/>
            <a:prstDash val="solid"/>
            <a:round/>
            <a:headEnd/>
            <a:tailEnd/>
          </a:ln>
        </p:spPr>
        <p:txBody>
          <a:bodyPr lIns="68536" tIns="34268" rIns="68536" bIns="34268"/>
          <a:lstStyle/>
          <a:p>
            <a:pPr defTabSz="256892">
              <a:defRPr/>
            </a:pPr>
            <a:endParaRPr lang="zh-CN" altLang="en-US" sz="900" dirty="0">
              <a:solidFill>
                <a:sysClr val="windowText" lastClr="000000"/>
              </a:solidFill>
            </a:endParaRPr>
          </a:p>
        </p:txBody>
      </p:sp>
      <p:sp>
        <p:nvSpPr>
          <p:cNvPr id="131" name="矩形 130"/>
          <p:cNvSpPr/>
          <p:nvPr/>
        </p:nvSpPr>
        <p:spPr>
          <a:xfrm>
            <a:off x="1205376" y="2490047"/>
            <a:ext cx="453351" cy="276999"/>
          </a:xfrm>
          <a:prstGeom prst="rect">
            <a:avLst/>
          </a:prstGeom>
        </p:spPr>
        <p:txBody>
          <a:bodyPr wrap="square">
            <a:spAutoFit/>
          </a:bodyPr>
          <a:lstStyle/>
          <a:p>
            <a:r>
              <a:rPr lang="en-US" altLang="zh-CN" sz="1200" b="1" dirty="0">
                <a:solidFill>
                  <a:srgbClr val="FFC000"/>
                </a:solidFill>
              </a:rPr>
              <a:t>50%</a:t>
            </a:r>
            <a:endParaRPr lang="zh-CN" altLang="en-US" sz="900" dirty="0"/>
          </a:p>
        </p:txBody>
      </p:sp>
      <p:sp>
        <p:nvSpPr>
          <p:cNvPr id="132" name="文本框 131"/>
          <p:cNvSpPr txBox="1"/>
          <p:nvPr/>
        </p:nvSpPr>
        <p:spPr>
          <a:xfrm>
            <a:off x="530352" y="5643569"/>
            <a:ext cx="2715808" cy="219291"/>
          </a:xfrm>
          <a:prstGeom prst="rect">
            <a:avLst/>
          </a:prstGeom>
          <a:noFill/>
        </p:spPr>
        <p:txBody>
          <a:bodyPr wrap="none" rtlCol="0">
            <a:spAutoFit/>
          </a:bodyPr>
          <a:lstStyle/>
          <a:p>
            <a:pPr algn="ctr"/>
            <a:r>
              <a:rPr lang="en-US" altLang="zh-CN" sz="825" dirty="0">
                <a:solidFill>
                  <a:schemeClr val="bg1">
                    <a:lumMod val="85000"/>
                  </a:schemeClr>
                </a:solidFill>
              </a:rPr>
              <a:t>Data source: Microsoft </a:t>
            </a:r>
            <a:r>
              <a:rPr lang="en-US" altLang="zh-CN" sz="825" dirty="0">
                <a:solidFill>
                  <a:schemeClr val="bg1">
                    <a:lumMod val="85000"/>
                  </a:schemeClr>
                </a:solidFill>
              </a:rPr>
              <a:t>Cyberspace </a:t>
            </a:r>
            <a:r>
              <a:rPr lang="en-US" altLang="zh-CN" sz="825" dirty="0">
                <a:solidFill>
                  <a:schemeClr val="bg1">
                    <a:lumMod val="85000"/>
                  </a:schemeClr>
                </a:solidFill>
              </a:rPr>
              <a:t>2025, Huawei GIV 2016</a:t>
            </a:r>
            <a:endParaRPr lang="en-US" sz="825" dirty="0">
              <a:solidFill>
                <a:schemeClr val="bg1">
                  <a:lumMod val="85000"/>
                </a:schemeClr>
              </a:solidFill>
            </a:endParaRPr>
          </a:p>
        </p:txBody>
      </p:sp>
      <p:sp>
        <p:nvSpPr>
          <p:cNvPr id="10" name="文本框 9"/>
          <p:cNvSpPr txBox="1"/>
          <p:nvPr/>
        </p:nvSpPr>
        <p:spPr>
          <a:xfrm>
            <a:off x="570217" y="4091826"/>
            <a:ext cx="2088273" cy="253916"/>
          </a:xfrm>
          <a:prstGeom prst="rect">
            <a:avLst/>
          </a:prstGeom>
          <a:noFill/>
        </p:spPr>
        <p:txBody>
          <a:bodyPr wrap="square" rtlCol="0">
            <a:spAutoFit/>
          </a:bodyPr>
          <a:lstStyle/>
          <a:p>
            <a:pPr algn="ctr"/>
            <a:r>
              <a:rPr lang="en-US" sz="1050" dirty="0">
                <a:solidFill>
                  <a:schemeClr val="bg1"/>
                </a:solidFill>
                <a:ea typeface="微软雅黑" panose="020B0503020204020204" pitchFamily="34" charset="-122"/>
              </a:rPr>
              <a:t>4 kWh/people/year</a:t>
            </a:r>
          </a:p>
        </p:txBody>
      </p:sp>
      <p:sp>
        <p:nvSpPr>
          <p:cNvPr id="133" name="文本框 132"/>
          <p:cNvSpPr txBox="1"/>
          <p:nvPr/>
        </p:nvSpPr>
        <p:spPr>
          <a:xfrm>
            <a:off x="6510227" y="4091826"/>
            <a:ext cx="2060484" cy="253916"/>
          </a:xfrm>
          <a:prstGeom prst="rect">
            <a:avLst/>
          </a:prstGeom>
          <a:noFill/>
        </p:spPr>
        <p:txBody>
          <a:bodyPr wrap="square" rtlCol="0">
            <a:spAutoFit/>
          </a:bodyPr>
          <a:lstStyle/>
          <a:p>
            <a:pPr algn="ctr"/>
            <a:r>
              <a:rPr lang="en-US" sz="1050" dirty="0">
                <a:solidFill>
                  <a:schemeClr val="bg1"/>
                </a:solidFill>
                <a:ea typeface="微软雅黑" panose="020B0503020204020204" pitchFamily="34" charset="-122"/>
              </a:rPr>
              <a:t>100 </a:t>
            </a:r>
            <a:r>
              <a:rPr lang="en-US" sz="1050" dirty="0" err="1">
                <a:solidFill>
                  <a:schemeClr val="bg1"/>
                </a:solidFill>
                <a:ea typeface="微软雅黑" panose="020B0503020204020204" pitchFamily="34" charset="-122"/>
              </a:rPr>
              <a:t>MWh</a:t>
            </a:r>
            <a:r>
              <a:rPr lang="en-US" sz="1050" dirty="0">
                <a:solidFill>
                  <a:schemeClr val="bg1"/>
                </a:solidFill>
                <a:ea typeface="微软雅黑" panose="020B0503020204020204" pitchFamily="34" charset="-122"/>
              </a:rPr>
              <a:t>/rack/year (12kW/rack)</a:t>
            </a:r>
          </a:p>
        </p:txBody>
      </p:sp>
      <p:sp>
        <p:nvSpPr>
          <p:cNvPr id="137" name="圆角矩形 135"/>
          <p:cNvSpPr/>
          <p:nvPr/>
        </p:nvSpPr>
        <p:spPr>
          <a:xfrm>
            <a:off x="6370251" y="2232748"/>
            <a:ext cx="2321798" cy="1754848"/>
          </a:xfrm>
          <a:prstGeom prst="roundRect">
            <a:avLst>
              <a:gd name="adj" fmla="val 1979"/>
            </a:avLst>
          </a:prstGeom>
          <a:solidFill>
            <a:srgbClr val="00B0F0">
              <a:alpha val="10000"/>
            </a:srgbClr>
          </a:solidFill>
          <a:ln w="22225" cap="flat" cmpd="sng" algn="ctr">
            <a:gradFill>
              <a:gsLst>
                <a:gs pos="0">
                  <a:srgbClr val="00B0F0">
                    <a:alpha val="79000"/>
                  </a:srgbClr>
                </a:gs>
                <a:gs pos="100000">
                  <a:srgbClr val="00B0F0">
                    <a:alpha val="30000"/>
                  </a:srgbClr>
                </a:gs>
              </a:gsLst>
              <a:lin ang="10800000" scaled="0"/>
            </a:gradFill>
            <a:prstDash val="solid"/>
          </a:ln>
          <a:effectLst/>
        </p:spPr>
        <p:txBody>
          <a:bodyPr rot="0" spcFirstLastPara="0" vertOverflow="overflow" horzOverflow="overflow" vert="horz" wrap="square" lIns="64786" tIns="32393" rIns="64786" bIns="32393" numCol="1" spcCol="0" rtlCol="0" fromWordArt="0" anchor="ctr" anchorCtr="0" forceAA="0" compatLnSpc="1">
            <a:prstTxWarp prst="textNoShape">
              <a:avLst/>
            </a:prstTxWarp>
            <a:noAutofit/>
          </a:bodyPr>
          <a:lstStyle/>
          <a:p>
            <a:pPr defTabSz="863692"/>
            <a:endParaRPr lang="zh-CN" altLang="en-US" sz="1725" kern="0" dirty="0">
              <a:solidFill>
                <a:prstClr val="white"/>
              </a:solidFill>
            </a:endParaRPr>
          </a:p>
        </p:txBody>
      </p:sp>
      <p:sp>
        <p:nvSpPr>
          <p:cNvPr id="138" name="矩形 137"/>
          <p:cNvSpPr/>
          <p:nvPr/>
        </p:nvSpPr>
        <p:spPr>
          <a:xfrm>
            <a:off x="6430595" y="3495230"/>
            <a:ext cx="2200947" cy="415498"/>
          </a:xfrm>
          <a:prstGeom prst="rect">
            <a:avLst/>
          </a:prstGeom>
        </p:spPr>
        <p:txBody>
          <a:bodyPr wrap="square">
            <a:spAutoFit/>
          </a:bodyPr>
          <a:lstStyle/>
          <a:p>
            <a:pPr lvl="0" algn="ctr"/>
            <a:r>
              <a:rPr lang="en-US" altLang="zh-CN" sz="1050" dirty="0">
                <a:solidFill>
                  <a:srgbClr val="FFC000"/>
                </a:solidFill>
              </a:rPr>
              <a:t>Enterprise </a:t>
            </a:r>
            <a:r>
              <a:rPr lang="en-US" altLang="zh-CN" sz="1050" dirty="0">
                <a:solidFill>
                  <a:srgbClr val="FFC000"/>
                </a:solidFill>
              </a:rPr>
              <a:t>s</a:t>
            </a:r>
            <a:r>
              <a:rPr lang="en-US" altLang="zh-CN" sz="1050" dirty="0">
                <a:solidFill>
                  <a:srgbClr val="FFC000"/>
                </a:solidFill>
              </a:rPr>
              <a:t>ervice </a:t>
            </a:r>
            <a:r>
              <a:rPr lang="en-US" altLang="zh-CN" sz="1050" dirty="0">
                <a:solidFill>
                  <a:srgbClr val="FFC000"/>
                </a:solidFill>
              </a:rPr>
              <a:t>application </a:t>
            </a:r>
            <a:r>
              <a:rPr lang="en-US" altLang="zh-CN" sz="1050" dirty="0">
                <a:solidFill>
                  <a:srgbClr val="FFC000"/>
                </a:solidFill>
              </a:rPr>
              <a:t>deployed in </a:t>
            </a:r>
            <a:r>
              <a:rPr lang="en-US" altLang="zh-CN" sz="1050" dirty="0">
                <a:solidFill>
                  <a:srgbClr val="FFC000"/>
                </a:solidFill>
              </a:rPr>
              <a:t>cloud</a:t>
            </a:r>
          </a:p>
        </p:txBody>
      </p:sp>
      <p:cxnSp>
        <p:nvCxnSpPr>
          <p:cNvPr id="139" name="直接连接符 138"/>
          <p:cNvCxnSpPr>
            <a:cxnSpLocks/>
          </p:cNvCxnSpPr>
          <p:nvPr/>
        </p:nvCxnSpPr>
        <p:spPr>
          <a:xfrm flipV="1">
            <a:off x="6789892" y="3366590"/>
            <a:ext cx="1480256" cy="1"/>
          </a:xfrm>
          <a:prstGeom prst="line">
            <a:avLst/>
          </a:prstGeom>
          <a:ln w="12700">
            <a:solidFill>
              <a:srgbClr val="01E4EF"/>
            </a:solidFill>
            <a:tailEnd type="stealth"/>
          </a:ln>
        </p:spPr>
        <p:style>
          <a:lnRef idx="1">
            <a:schemeClr val="accent1"/>
          </a:lnRef>
          <a:fillRef idx="0">
            <a:schemeClr val="accent1"/>
          </a:fillRef>
          <a:effectRef idx="0">
            <a:schemeClr val="accent1"/>
          </a:effectRef>
          <a:fontRef idx="minor">
            <a:schemeClr val="tx1"/>
          </a:fontRef>
        </p:style>
      </p:cxnSp>
      <p:sp>
        <p:nvSpPr>
          <p:cNvPr id="140" name="矩形 139"/>
          <p:cNvSpPr/>
          <p:nvPr/>
        </p:nvSpPr>
        <p:spPr>
          <a:xfrm flipV="1">
            <a:off x="7049308" y="3265509"/>
            <a:ext cx="257258" cy="993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1" name="矩形 140"/>
          <p:cNvSpPr/>
          <p:nvPr/>
        </p:nvSpPr>
        <p:spPr>
          <a:xfrm>
            <a:off x="7702709" y="2491127"/>
            <a:ext cx="257258" cy="875462"/>
          </a:xfrm>
          <a:prstGeom prst="rect">
            <a:avLst/>
          </a:prstGeom>
          <a:solidFill>
            <a:srgbClr val="01E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2" name="矩形 141"/>
          <p:cNvSpPr/>
          <p:nvPr/>
        </p:nvSpPr>
        <p:spPr>
          <a:xfrm>
            <a:off x="6972539" y="3394246"/>
            <a:ext cx="415499" cy="230832"/>
          </a:xfrm>
          <a:prstGeom prst="rect">
            <a:avLst/>
          </a:prstGeom>
        </p:spPr>
        <p:txBody>
          <a:bodyPr wrap="none">
            <a:spAutoFit/>
          </a:bodyPr>
          <a:lstStyle/>
          <a:p>
            <a:pPr algn="ctr"/>
            <a:r>
              <a:rPr lang="en-US" altLang="zh-CN" sz="900" dirty="0">
                <a:solidFill>
                  <a:schemeClr val="bg1"/>
                </a:solidFill>
              </a:rPr>
              <a:t>2015</a:t>
            </a:r>
            <a:endParaRPr lang="zh-CN" altLang="en-US" sz="900" dirty="0"/>
          </a:p>
        </p:txBody>
      </p:sp>
      <p:sp>
        <p:nvSpPr>
          <p:cNvPr id="143" name="矩形 142"/>
          <p:cNvSpPr/>
          <p:nvPr/>
        </p:nvSpPr>
        <p:spPr>
          <a:xfrm>
            <a:off x="7711394" y="3377179"/>
            <a:ext cx="493731" cy="230832"/>
          </a:xfrm>
          <a:prstGeom prst="rect">
            <a:avLst/>
          </a:prstGeom>
        </p:spPr>
        <p:txBody>
          <a:bodyPr wrap="square">
            <a:spAutoFit/>
          </a:bodyPr>
          <a:lstStyle/>
          <a:p>
            <a:r>
              <a:rPr lang="en-US" altLang="zh-CN" sz="900" dirty="0">
                <a:solidFill>
                  <a:schemeClr val="bg1"/>
                </a:solidFill>
              </a:rPr>
              <a:t>2025</a:t>
            </a:r>
            <a:endParaRPr lang="zh-CN" altLang="en-US" sz="900" dirty="0"/>
          </a:p>
        </p:txBody>
      </p:sp>
      <p:sp>
        <p:nvSpPr>
          <p:cNvPr id="144" name="矩形 143"/>
          <p:cNvSpPr/>
          <p:nvPr/>
        </p:nvSpPr>
        <p:spPr>
          <a:xfrm>
            <a:off x="6863937" y="3062066"/>
            <a:ext cx="647944" cy="219291"/>
          </a:xfrm>
          <a:prstGeom prst="rect">
            <a:avLst/>
          </a:prstGeom>
        </p:spPr>
        <p:txBody>
          <a:bodyPr wrap="square">
            <a:spAutoFit/>
          </a:bodyPr>
          <a:lstStyle/>
          <a:p>
            <a:pPr algn="ctr"/>
            <a:r>
              <a:rPr lang="en-US" altLang="zh-CN" sz="825" dirty="0">
                <a:solidFill>
                  <a:schemeClr val="bg1"/>
                </a:solidFill>
              </a:rPr>
              <a:t>20%</a:t>
            </a:r>
            <a:endParaRPr lang="zh-CN" altLang="en-US" sz="825" dirty="0">
              <a:solidFill>
                <a:schemeClr val="bg1"/>
              </a:solidFill>
            </a:endParaRPr>
          </a:p>
        </p:txBody>
      </p:sp>
      <p:sp>
        <p:nvSpPr>
          <p:cNvPr id="145" name="矩形 144"/>
          <p:cNvSpPr/>
          <p:nvPr/>
        </p:nvSpPr>
        <p:spPr>
          <a:xfrm>
            <a:off x="7349762" y="2242601"/>
            <a:ext cx="971916" cy="300082"/>
          </a:xfrm>
          <a:prstGeom prst="rect">
            <a:avLst/>
          </a:prstGeom>
          <a:effectLst/>
        </p:spPr>
        <p:txBody>
          <a:bodyPr wrap="square">
            <a:spAutoFit/>
          </a:bodyPr>
          <a:lstStyle/>
          <a:p>
            <a:pPr algn="ctr" defTabSz="914278"/>
            <a:r>
              <a:rPr lang="en-US" altLang="zh-CN" sz="1350" b="1" dirty="0">
                <a:solidFill>
                  <a:srgbClr val="FFC000"/>
                </a:solidFill>
                <a:effectLst>
                  <a:outerShdw blurRad="50800" dist="38100" dir="13500000" algn="br" rotWithShape="0">
                    <a:prstClr val="black">
                      <a:alpha val="40000"/>
                    </a:prstClr>
                  </a:outerShdw>
                </a:effectLst>
                <a:ea typeface="微软雅黑" pitchFamily="34" charset="-122"/>
                <a:cs typeface="Arial" pitchFamily="34" charset="0"/>
              </a:rPr>
              <a:t>85%</a:t>
            </a:r>
            <a:endParaRPr lang="zh-CN" altLang="en-US" sz="1050" b="1" dirty="0">
              <a:solidFill>
                <a:srgbClr val="FFC000"/>
              </a:solidFill>
              <a:effectLst>
                <a:outerShdw blurRad="50800" dist="38100" dir="13500000" algn="br" rotWithShape="0">
                  <a:prstClr val="black">
                    <a:alpha val="40000"/>
                  </a:prstClr>
                </a:outerShdw>
              </a:effectLst>
              <a:ea typeface="微软雅黑" pitchFamily="34" charset="-122"/>
              <a:cs typeface="Arial" pitchFamily="34" charset="0"/>
            </a:endParaRPr>
          </a:p>
        </p:txBody>
      </p:sp>
      <p:cxnSp>
        <p:nvCxnSpPr>
          <p:cNvPr id="146" name="直接连接符 145"/>
          <p:cNvCxnSpPr>
            <a:cxnSpLocks/>
          </p:cNvCxnSpPr>
          <p:nvPr/>
        </p:nvCxnSpPr>
        <p:spPr>
          <a:xfrm flipV="1">
            <a:off x="6792009" y="2477300"/>
            <a:ext cx="0" cy="889292"/>
          </a:xfrm>
          <a:prstGeom prst="line">
            <a:avLst/>
          </a:prstGeom>
          <a:ln w="12700">
            <a:solidFill>
              <a:srgbClr val="01E4EF"/>
            </a:solidFill>
            <a:tailEnd type="stealth"/>
          </a:ln>
        </p:spPr>
        <p:style>
          <a:lnRef idx="1">
            <a:schemeClr val="accent1"/>
          </a:lnRef>
          <a:fillRef idx="0">
            <a:schemeClr val="accent1"/>
          </a:fillRef>
          <a:effectRef idx="0">
            <a:schemeClr val="accent1"/>
          </a:effectRef>
          <a:fontRef idx="minor">
            <a:schemeClr val="tx1"/>
          </a:fontRef>
        </p:style>
      </p:cxnSp>
      <p:sp>
        <p:nvSpPr>
          <p:cNvPr id="147" name="Freeform 12"/>
          <p:cNvSpPr>
            <a:spLocks/>
          </p:cNvSpPr>
          <p:nvPr/>
        </p:nvSpPr>
        <p:spPr bwMode="gray">
          <a:xfrm rot="17806152" flipV="1">
            <a:off x="7095757" y="2679283"/>
            <a:ext cx="613179" cy="347182"/>
          </a:xfrm>
          <a:custGeom>
            <a:avLst/>
            <a:gdLst>
              <a:gd name="connsiteX0" fmla="*/ 0 w 10000"/>
              <a:gd name="connsiteY0" fmla="*/ 10000 h 10000"/>
              <a:gd name="connsiteX1" fmla="*/ 20 w 10000"/>
              <a:gd name="connsiteY1" fmla="*/ 9948 h 10000"/>
              <a:gd name="connsiteX2" fmla="*/ 81 w 10000"/>
              <a:gd name="connsiteY2" fmla="*/ 9742 h 10000"/>
              <a:gd name="connsiteX3" fmla="*/ 163 w 10000"/>
              <a:gd name="connsiteY3" fmla="*/ 9432 h 10000"/>
              <a:gd name="connsiteX4" fmla="*/ 326 w 10000"/>
              <a:gd name="connsiteY4" fmla="*/ 9018 h 10000"/>
              <a:gd name="connsiteX5" fmla="*/ 509 w 10000"/>
              <a:gd name="connsiteY5" fmla="*/ 8527 h 10000"/>
              <a:gd name="connsiteX6" fmla="*/ 774 w 10000"/>
              <a:gd name="connsiteY6" fmla="*/ 7984 h 10000"/>
              <a:gd name="connsiteX7" fmla="*/ 1079 w 10000"/>
              <a:gd name="connsiteY7" fmla="*/ 7416 h 10000"/>
              <a:gd name="connsiteX8" fmla="*/ 1446 w 10000"/>
              <a:gd name="connsiteY8" fmla="*/ 6822 h 10000"/>
              <a:gd name="connsiteX9" fmla="*/ 1894 w 10000"/>
              <a:gd name="connsiteY9" fmla="*/ 6227 h 10000"/>
              <a:gd name="connsiteX10" fmla="*/ 2403 w 10000"/>
              <a:gd name="connsiteY10" fmla="*/ 5659 h 10000"/>
              <a:gd name="connsiteX11" fmla="*/ 2994 w 10000"/>
              <a:gd name="connsiteY11" fmla="*/ 5142 h 10000"/>
              <a:gd name="connsiteX12" fmla="*/ 3666 w 10000"/>
              <a:gd name="connsiteY12" fmla="*/ 4651 h 10000"/>
              <a:gd name="connsiteX13" fmla="*/ 4338 w 10000"/>
              <a:gd name="connsiteY13" fmla="*/ 4289 h 10000"/>
              <a:gd name="connsiteX14" fmla="*/ 4969 w 10000"/>
              <a:gd name="connsiteY14" fmla="*/ 4057 h 10000"/>
              <a:gd name="connsiteX15" fmla="*/ 5540 w 10000"/>
              <a:gd name="connsiteY15" fmla="*/ 3928 h 10000"/>
              <a:gd name="connsiteX16" fmla="*/ 6049 w 10000"/>
              <a:gd name="connsiteY16" fmla="*/ 3876 h 10000"/>
              <a:gd name="connsiteX17" fmla="*/ 6497 w 10000"/>
              <a:gd name="connsiteY17" fmla="*/ 3876 h 10000"/>
              <a:gd name="connsiteX18" fmla="*/ 6904 w 10000"/>
              <a:gd name="connsiteY18" fmla="*/ 3928 h 10000"/>
              <a:gd name="connsiteX19" fmla="*/ 7230 w 10000"/>
              <a:gd name="connsiteY19" fmla="*/ 4031 h 10000"/>
              <a:gd name="connsiteX20" fmla="*/ 7495 w 10000"/>
              <a:gd name="connsiteY20" fmla="*/ 4134 h 10000"/>
              <a:gd name="connsiteX21" fmla="*/ 7678 w 10000"/>
              <a:gd name="connsiteY21" fmla="*/ 4212 h 10000"/>
              <a:gd name="connsiteX22" fmla="*/ 7800 w 10000"/>
              <a:gd name="connsiteY22" fmla="*/ 4289 h 10000"/>
              <a:gd name="connsiteX23" fmla="*/ 7841 w 10000"/>
              <a:gd name="connsiteY23" fmla="*/ 4315 h 10000"/>
              <a:gd name="connsiteX24" fmla="*/ 6925 w 10000"/>
              <a:gd name="connsiteY24" fmla="*/ 6150 h 10000"/>
              <a:gd name="connsiteX25" fmla="*/ 10000 w 10000"/>
              <a:gd name="connsiteY25" fmla="*/ 4780 h 10000"/>
              <a:gd name="connsiteX26" fmla="*/ 9287 w 10000"/>
              <a:gd name="connsiteY26" fmla="*/ 0 h 10000"/>
              <a:gd name="connsiteX27" fmla="*/ 8697 w 10000"/>
              <a:gd name="connsiteY27" fmla="*/ 1938 h 10000"/>
              <a:gd name="connsiteX28" fmla="*/ 8187 w 10000"/>
              <a:gd name="connsiteY28" fmla="*/ 1565 h 10000"/>
              <a:gd name="connsiteX29" fmla="*/ 8534 w 10000"/>
              <a:gd name="connsiteY29" fmla="*/ 1835 h 10000"/>
              <a:gd name="connsiteX30" fmla="*/ 8371 w 10000"/>
              <a:gd name="connsiteY30" fmla="*/ 1731 h 10000"/>
              <a:gd name="connsiteX31" fmla="*/ 8126 w 10000"/>
              <a:gd name="connsiteY31" fmla="*/ 1628 h 10000"/>
              <a:gd name="connsiteX32" fmla="*/ 7821 w 10000"/>
              <a:gd name="connsiteY32" fmla="*/ 1550 h 10000"/>
              <a:gd name="connsiteX33" fmla="*/ 7454 w 10000"/>
              <a:gd name="connsiteY33" fmla="*/ 1473 h 10000"/>
              <a:gd name="connsiteX34" fmla="*/ 7047 w 10000"/>
              <a:gd name="connsiteY34" fmla="*/ 1421 h 10000"/>
              <a:gd name="connsiteX35" fmla="*/ 6578 w 10000"/>
              <a:gd name="connsiteY35" fmla="*/ 1421 h 10000"/>
              <a:gd name="connsiteX36" fmla="*/ 6069 w 10000"/>
              <a:gd name="connsiteY36" fmla="*/ 1499 h 10000"/>
              <a:gd name="connsiteX37" fmla="*/ 5499 w 10000"/>
              <a:gd name="connsiteY37" fmla="*/ 1628 h 10000"/>
              <a:gd name="connsiteX38" fmla="*/ 4908 w 10000"/>
              <a:gd name="connsiteY38" fmla="*/ 1886 h 10000"/>
              <a:gd name="connsiteX39" fmla="*/ 4297 w 10000"/>
              <a:gd name="connsiteY39" fmla="*/ 2222 h 10000"/>
              <a:gd name="connsiteX40" fmla="*/ 3625 w 10000"/>
              <a:gd name="connsiteY40" fmla="*/ 2713 h 10000"/>
              <a:gd name="connsiteX41" fmla="*/ 2953 w 10000"/>
              <a:gd name="connsiteY41" fmla="*/ 3333 h 10000"/>
              <a:gd name="connsiteX42" fmla="*/ 2342 w 10000"/>
              <a:gd name="connsiteY42" fmla="*/ 4005 h 10000"/>
              <a:gd name="connsiteX43" fmla="*/ 1813 w 10000"/>
              <a:gd name="connsiteY43" fmla="*/ 4703 h 10000"/>
              <a:gd name="connsiteX44" fmla="*/ 1385 w 10000"/>
              <a:gd name="connsiteY44" fmla="*/ 5452 h 10000"/>
              <a:gd name="connsiteX45" fmla="*/ 1018 w 10000"/>
              <a:gd name="connsiteY45" fmla="*/ 6202 h 10000"/>
              <a:gd name="connsiteX46" fmla="*/ 733 w 10000"/>
              <a:gd name="connsiteY46" fmla="*/ 6925 h 10000"/>
              <a:gd name="connsiteX47" fmla="*/ 489 w 10000"/>
              <a:gd name="connsiteY47" fmla="*/ 7623 h 10000"/>
              <a:gd name="connsiteX48" fmla="*/ 305 w 10000"/>
              <a:gd name="connsiteY48" fmla="*/ 8269 h 10000"/>
              <a:gd name="connsiteX49" fmla="*/ 183 w 10000"/>
              <a:gd name="connsiteY49" fmla="*/ 8837 h 10000"/>
              <a:gd name="connsiteX50" fmla="*/ 81 w 10000"/>
              <a:gd name="connsiteY50" fmla="*/ 9328 h 10000"/>
              <a:gd name="connsiteX51" fmla="*/ 41 w 10000"/>
              <a:gd name="connsiteY51" fmla="*/ 9690 h 10000"/>
              <a:gd name="connsiteX52" fmla="*/ 0 w 10000"/>
              <a:gd name="connsiteY52" fmla="*/ 9922 h 10000"/>
              <a:gd name="connsiteX53" fmla="*/ 0 w 10000"/>
              <a:gd name="connsiteY53"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000" h="10000">
                <a:moveTo>
                  <a:pt x="0" y="10000"/>
                </a:moveTo>
                <a:cubicBezTo>
                  <a:pt x="7" y="9983"/>
                  <a:pt x="13" y="9965"/>
                  <a:pt x="20" y="9948"/>
                </a:cubicBezTo>
                <a:cubicBezTo>
                  <a:pt x="40" y="9879"/>
                  <a:pt x="61" y="9811"/>
                  <a:pt x="81" y="9742"/>
                </a:cubicBezTo>
                <a:cubicBezTo>
                  <a:pt x="108" y="9639"/>
                  <a:pt x="136" y="9535"/>
                  <a:pt x="163" y="9432"/>
                </a:cubicBezTo>
                <a:cubicBezTo>
                  <a:pt x="217" y="9294"/>
                  <a:pt x="272" y="9156"/>
                  <a:pt x="326" y="9018"/>
                </a:cubicBezTo>
                <a:lnTo>
                  <a:pt x="509" y="8527"/>
                </a:lnTo>
                <a:lnTo>
                  <a:pt x="774" y="7984"/>
                </a:lnTo>
                <a:lnTo>
                  <a:pt x="1079" y="7416"/>
                </a:lnTo>
                <a:lnTo>
                  <a:pt x="1446" y="6822"/>
                </a:lnTo>
                <a:lnTo>
                  <a:pt x="1894" y="6227"/>
                </a:lnTo>
                <a:lnTo>
                  <a:pt x="2403" y="5659"/>
                </a:lnTo>
                <a:lnTo>
                  <a:pt x="2994" y="5142"/>
                </a:lnTo>
                <a:lnTo>
                  <a:pt x="3666" y="4651"/>
                </a:lnTo>
                <a:lnTo>
                  <a:pt x="4338" y="4289"/>
                </a:lnTo>
                <a:lnTo>
                  <a:pt x="4969" y="4057"/>
                </a:lnTo>
                <a:lnTo>
                  <a:pt x="5540" y="3928"/>
                </a:lnTo>
                <a:lnTo>
                  <a:pt x="6049" y="3876"/>
                </a:lnTo>
                <a:lnTo>
                  <a:pt x="6497" y="3876"/>
                </a:lnTo>
                <a:lnTo>
                  <a:pt x="6904" y="3928"/>
                </a:lnTo>
                <a:lnTo>
                  <a:pt x="7230" y="4031"/>
                </a:lnTo>
                <a:lnTo>
                  <a:pt x="7495" y="4134"/>
                </a:lnTo>
                <a:lnTo>
                  <a:pt x="7678" y="4212"/>
                </a:lnTo>
                <a:lnTo>
                  <a:pt x="7800" y="4289"/>
                </a:lnTo>
                <a:lnTo>
                  <a:pt x="7841" y="4315"/>
                </a:lnTo>
                <a:lnTo>
                  <a:pt x="6925" y="6150"/>
                </a:lnTo>
                <a:lnTo>
                  <a:pt x="10000" y="4780"/>
                </a:lnTo>
                <a:cubicBezTo>
                  <a:pt x="9762" y="3187"/>
                  <a:pt x="9525" y="1593"/>
                  <a:pt x="9287" y="0"/>
                </a:cubicBezTo>
                <a:lnTo>
                  <a:pt x="8697" y="1938"/>
                </a:lnTo>
                <a:lnTo>
                  <a:pt x="8187" y="1565"/>
                </a:lnTo>
                <a:lnTo>
                  <a:pt x="8534" y="1835"/>
                </a:lnTo>
                <a:cubicBezTo>
                  <a:pt x="8480" y="1800"/>
                  <a:pt x="8425" y="1766"/>
                  <a:pt x="8371" y="1731"/>
                </a:cubicBezTo>
                <a:lnTo>
                  <a:pt x="8126" y="1628"/>
                </a:lnTo>
                <a:lnTo>
                  <a:pt x="7821" y="1550"/>
                </a:lnTo>
                <a:lnTo>
                  <a:pt x="7454" y="1473"/>
                </a:lnTo>
                <a:lnTo>
                  <a:pt x="7047" y="1421"/>
                </a:lnTo>
                <a:lnTo>
                  <a:pt x="6578" y="1421"/>
                </a:lnTo>
                <a:lnTo>
                  <a:pt x="6069" y="1499"/>
                </a:lnTo>
                <a:lnTo>
                  <a:pt x="5499" y="1628"/>
                </a:lnTo>
                <a:lnTo>
                  <a:pt x="4908" y="1886"/>
                </a:lnTo>
                <a:lnTo>
                  <a:pt x="4297" y="2222"/>
                </a:lnTo>
                <a:lnTo>
                  <a:pt x="3625" y="2713"/>
                </a:lnTo>
                <a:lnTo>
                  <a:pt x="2953" y="3333"/>
                </a:lnTo>
                <a:lnTo>
                  <a:pt x="2342" y="4005"/>
                </a:lnTo>
                <a:lnTo>
                  <a:pt x="1813" y="4703"/>
                </a:lnTo>
                <a:lnTo>
                  <a:pt x="1385" y="5452"/>
                </a:lnTo>
                <a:lnTo>
                  <a:pt x="1018" y="6202"/>
                </a:lnTo>
                <a:lnTo>
                  <a:pt x="733" y="6925"/>
                </a:lnTo>
                <a:cubicBezTo>
                  <a:pt x="652" y="7158"/>
                  <a:pt x="570" y="7390"/>
                  <a:pt x="489" y="7623"/>
                </a:cubicBezTo>
                <a:cubicBezTo>
                  <a:pt x="428" y="7838"/>
                  <a:pt x="366" y="8054"/>
                  <a:pt x="305" y="8269"/>
                </a:cubicBezTo>
                <a:cubicBezTo>
                  <a:pt x="264" y="8458"/>
                  <a:pt x="224" y="8648"/>
                  <a:pt x="183" y="8837"/>
                </a:cubicBezTo>
                <a:lnTo>
                  <a:pt x="81" y="9328"/>
                </a:lnTo>
                <a:cubicBezTo>
                  <a:pt x="68" y="9449"/>
                  <a:pt x="54" y="9569"/>
                  <a:pt x="41" y="9690"/>
                </a:cubicBezTo>
                <a:cubicBezTo>
                  <a:pt x="27" y="9767"/>
                  <a:pt x="14" y="9845"/>
                  <a:pt x="0" y="9922"/>
                </a:cubicBezTo>
                <a:lnTo>
                  <a:pt x="0" y="10000"/>
                </a:lnTo>
              </a:path>
            </a:pathLst>
          </a:custGeom>
          <a:solidFill>
            <a:srgbClr val="04C5EC"/>
          </a:solidFill>
          <a:ln w="12700">
            <a:noFill/>
            <a:prstDash val="solid"/>
            <a:round/>
            <a:headEnd/>
            <a:tailEnd/>
          </a:ln>
        </p:spPr>
        <p:txBody>
          <a:bodyPr lIns="68536" tIns="34268" rIns="68536" bIns="34268"/>
          <a:lstStyle/>
          <a:p>
            <a:pPr defTabSz="256892">
              <a:defRPr/>
            </a:pPr>
            <a:endParaRPr lang="zh-CN" altLang="en-US" sz="900" dirty="0">
              <a:solidFill>
                <a:sysClr val="windowText" lastClr="000000"/>
              </a:solidFill>
            </a:endParaRPr>
          </a:p>
        </p:txBody>
      </p:sp>
      <p:sp>
        <p:nvSpPr>
          <p:cNvPr id="148" name="矩形 147"/>
          <p:cNvSpPr/>
          <p:nvPr/>
        </p:nvSpPr>
        <p:spPr>
          <a:xfrm>
            <a:off x="7001577" y="2661800"/>
            <a:ext cx="604152" cy="276999"/>
          </a:xfrm>
          <a:prstGeom prst="rect">
            <a:avLst/>
          </a:prstGeom>
        </p:spPr>
        <p:txBody>
          <a:bodyPr wrap="square">
            <a:spAutoFit/>
          </a:bodyPr>
          <a:lstStyle/>
          <a:p>
            <a:pPr algn="ctr"/>
            <a:r>
              <a:rPr lang="en-US" altLang="zh-CN" sz="1200" b="1" dirty="0">
                <a:solidFill>
                  <a:srgbClr val="FFC000"/>
                </a:solidFill>
              </a:rPr>
              <a:t>×4</a:t>
            </a:r>
            <a:endParaRPr lang="zh-CN" altLang="en-US" sz="900" dirty="0"/>
          </a:p>
        </p:txBody>
      </p:sp>
      <p:sp>
        <p:nvSpPr>
          <p:cNvPr id="12" name="文本框 11"/>
          <p:cNvSpPr txBox="1"/>
          <p:nvPr/>
        </p:nvSpPr>
        <p:spPr>
          <a:xfrm>
            <a:off x="1164072" y="1812366"/>
            <a:ext cx="838178" cy="369332"/>
          </a:xfrm>
          <a:prstGeom prst="rect">
            <a:avLst/>
          </a:prstGeom>
          <a:noFill/>
        </p:spPr>
        <p:txBody>
          <a:bodyPr wrap="none" rtlCol="0">
            <a:spAutoFit/>
          </a:bodyPr>
          <a:lstStyle/>
          <a:p>
            <a:pPr algn="ctr"/>
            <a:r>
              <a:rPr lang="en-US" b="1" dirty="0" smtClean="0">
                <a:solidFill>
                  <a:schemeClr val="bg1"/>
                </a:solidFill>
                <a:ea typeface="微软雅黑" panose="020B0503020204020204" pitchFamily="34" charset="-122"/>
              </a:rPr>
              <a:t>People</a:t>
            </a:r>
          </a:p>
        </p:txBody>
      </p:sp>
      <p:sp>
        <p:nvSpPr>
          <p:cNvPr id="152" name="文本框 151"/>
          <p:cNvSpPr txBox="1"/>
          <p:nvPr/>
        </p:nvSpPr>
        <p:spPr>
          <a:xfrm>
            <a:off x="4144504" y="1812366"/>
            <a:ext cx="821507" cy="369332"/>
          </a:xfrm>
          <a:prstGeom prst="rect">
            <a:avLst/>
          </a:prstGeom>
          <a:noFill/>
        </p:spPr>
        <p:txBody>
          <a:bodyPr wrap="none" rtlCol="0">
            <a:spAutoFit/>
          </a:bodyPr>
          <a:lstStyle/>
          <a:p>
            <a:pPr algn="ctr"/>
            <a:r>
              <a:rPr lang="en-US" b="1" dirty="0" smtClean="0">
                <a:solidFill>
                  <a:schemeClr val="bg1"/>
                </a:solidFill>
                <a:ea typeface="微软雅黑" panose="020B0503020204020204" pitchFamily="34" charset="-122"/>
              </a:rPr>
              <a:t>Device</a:t>
            </a:r>
          </a:p>
        </p:txBody>
      </p:sp>
      <p:sp>
        <p:nvSpPr>
          <p:cNvPr id="153" name="文本框 152"/>
          <p:cNvSpPr txBox="1"/>
          <p:nvPr/>
        </p:nvSpPr>
        <p:spPr>
          <a:xfrm>
            <a:off x="6960085" y="1812366"/>
            <a:ext cx="1160767" cy="369332"/>
          </a:xfrm>
          <a:prstGeom prst="rect">
            <a:avLst/>
          </a:prstGeom>
          <a:noFill/>
        </p:spPr>
        <p:txBody>
          <a:bodyPr wrap="none" rtlCol="0">
            <a:spAutoFit/>
          </a:bodyPr>
          <a:lstStyle/>
          <a:p>
            <a:pPr algn="ctr"/>
            <a:r>
              <a:rPr lang="en-US" b="1" dirty="0" smtClean="0">
                <a:solidFill>
                  <a:schemeClr val="bg1"/>
                </a:solidFill>
                <a:ea typeface="微软雅黑" panose="020B0503020204020204" pitchFamily="34" charset="-122"/>
              </a:rPr>
              <a:t>Enterprise</a:t>
            </a:r>
          </a:p>
        </p:txBody>
      </p:sp>
      <p:grpSp>
        <p:nvGrpSpPr>
          <p:cNvPr id="15" name="组合 14"/>
          <p:cNvGrpSpPr/>
          <p:nvPr/>
        </p:nvGrpSpPr>
        <p:grpSpPr>
          <a:xfrm>
            <a:off x="1520689" y="5020655"/>
            <a:ext cx="3369042" cy="646331"/>
            <a:chOff x="3526433" y="1478449"/>
            <a:chExt cx="4492446" cy="861850"/>
          </a:xfrm>
        </p:grpSpPr>
        <p:sp>
          <p:nvSpPr>
            <p:cNvPr id="14" name="文本框 13"/>
            <p:cNvSpPr txBox="1"/>
            <p:nvPr/>
          </p:nvSpPr>
          <p:spPr>
            <a:xfrm>
              <a:off x="3526433" y="1478449"/>
              <a:ext cx="1477456" cy="861850"/>
            </a:xfrm>
            <a:prstGeom prst="rect">
              <a:avLst/>
            </a:prstGeom>
            <a:noFill/>
          </p:spPr>
          <p:txBody>
            <a:bodyPr wrap="none" rtlCol="0">
              <a:spAutoFit/>
            </a:bodyPr>
            <a:lstStyle/>
            <a:p>
              <a:pPr algn="ctr"/>
              <a:r>
                <a:rPr lang="en-US" sz="3600" b="1" dirty="0">
                  <a:solidFill>
                    <a:srgbClr val="FFC000"/>
                  </a:solidFill>
                  <a:latin typeface="Arial" panose="020B0604020202020204" pitchFamily="34" charset="0"/>
                  <a:ea typeface="微软雅黑" panose="020B0503020204020204" pitchFamily="34" charset="-122"/>
                  <a:cs typeface="Arial" panose="020B0604020202020204" pitchFamily="34" charset="0"/>
                </a:rPr>
                <a:t>15%</a:t>
              </a:r>
              <a:endParaRPr lang="en-US" sz="1350" dirty="0">
                <a:solidFill>
                  <a:srgbClr val="FFC000"/>
                </a:solidFill>
                <a:latin typeface="Arial" panose="020B0604020202020204" pitchFamily="34" charset="0"/>
                <a:ea typeface="微软雅黑" panose="020B0503020204020204" pitchFamily="34" charset="-122"/>
                <a:cs typeface="Arial" panose="020B0604020202020204" pitchFamily="34" charset="0"/>
              </a:endParaRPr>
            </a:p>
          </p:txBody>
        </p:sp>
        <p:sp>
          <p:nvSpPr>
            <p:cNvPr id="154" name="文本框 153"/>
            <p:cNvSpPr txBox="1"/>
            <p:nvPr/>
          </p:nvSpPr>
          <p:spPr>
            <a:xfrm>
              <a:off x="4930090" y="1630472"/>
              <a:ext cx="3088789" cy="615607"/>
            </a:xfrm>
            <a:prstGeom prst="rect">
              <a:avLst/>
            </a:prstGeom>
            <a:noFill/>
          </p:spPr>
          <p:txBody>
            <a:bodyPr wrap="square" rtlCol="0">
              <a:spAutoFit/>
            </a:bodyPr>
            <a:lstStyle/>
            <a:p>
              <a:r>
                <a:rPr 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Global energy consumption of</a:t>
              </a:r>
            </a:p>
            <a:p>
              <a:r>
                <a:rPr 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200" dirty="0">
                  <a:solidFill>
                    <a:schemeClr val="bg1"/>
                  </a:solidFill>
                  <a:latin typeface="Arial" panose="020B0604020202020204" pitchFamily="34" charset="0"/>
                  <a:ea typeface="微软雅黑" panose="020B0503020204020204" pitchFamily="34" charset="-122"/>
                  <a:cs typeface="Arial" panose="020B0604020202020204" pitchFamily="34" charset="0"/>
                </a:rPr>
                <a:t>ICT industry</a:t>
              </a:r>
              <a:r>
                <a:rPr lang="en-US" sz="1200" dirty="0">
                  <a:solidFill>
                    <a:schemeClr val="bg1"/>
                  </a:solidFill>
                  <a:latin typeface="Arial" panose="020B0604020202020204" pitchFamily="34" charset="0"/>
                  <a:ea typeface="微软雅黑" panose="020B0503020204020204" pitchFamily="34" charset="-122"/>
                  <a:cs typeface="Arial" panose="020B0604020202020204" pitchFamily="34" charset="0"/>
                </a:rPr>
                <a:t> @ 2025</a:t>
              </a:r>
            </a:p>
          </p:txBody>
        </p:sp>
      </p:grpSp>
      <p:sp>
        <p:nvSpPr>
          <p:cNvPr id="155" name="文本框 154"/>
          <p:cNvSpPr txBox="1"/>
          <p:nvPr/>
        </p:nvSpPr>
        <p:spPr>
          <a:xfrm>
            <a:off x="3384765" y="4091826"/>
            <a:ext cx="2281474" cy="253916"/>
          </a:xfrm>
          <a:prstGeom prst="rect">
            <a:avLst/>
          </a:prstGeom>
          <a:noFill/>
        </p:spPr>
        <p:txBody>
          <a:bodyPr wrap="square" rtlCol="0">
            <a:spAutoFit/>
          </a:bodyPr>
          <a:lstStyle/>
          <a:p>
            <a:pPr algn="ctr"/>
            <a:r>
              <a:rPr lang="en-US" sz="1050" dirty="0">
                <a:solidFill>
                  <a:schemeClr val="bg1"/>
                </a:solidFill>
                <a:ea typeface="微软雅黑" panose="020B0503020204020204" pitchFamily="34" charset="-122"/>
              </a:rPr>
              <a:t>4 kWh × 100billion =  400 </a:t>
            </a:r>
            <a:r>
              <a:rPr lang="en-US" sz="1050" dirty="0" err="1">
                <a:solidFill>
                  <a:schemeClr val="bg1"/>
                </a:solidFill>
                <a:ea typeface="微软雅黑" panose="020B0503020204020204" pitchFamily="34" charset="-122"/>
              </a:rPr>
              <a:t>GWh</a:t>
            </a:r>
            <a:r>
              <a:rPr lang="en-US" sz="1050" dirty="0">
                <a:solidFill>
                  <a:schemeClr val="bg1"/>
                </a:solidFill>
                <a:ea typeface="微软雅黑" panose="020B0503020204020204" pitchFamily="34" charset="-122"/>
              </a:rPr>
              <a:t> /year</a:t>
            </a:r>
          </a:p>
        </p:txBody>
      </p:sp>
      <p:grpSp>
        <p:nvGrpSpPr>
          <p:cNvPr id="2" name="组合 1"/>
          <p:cNvGrpSpPr/>
          <p:nvPr/>
        </p:nvGrpSpPr>
        <p:grpSpPr>
          <a:xfrm>
            <a:off x="5436815" y="5020655"/>
            <a:ext cx="2160053" cy="646331"/>
            <a:chOff x="6889675" y="1374661"/>
            <a:chExt cx="2880320" cy="861850"/>
          </a:xfrm>
        </p:grpSpPr>
        <p:sp>
          <p:nvSpPr>
            <p:cNvPr id="55" name="矩形 54"/>
            <p:cNvSpPr/>
            <p:nvPr/>
          </p:nvSpPr>
          <p:spPr>
            <a:xfrm>
              <a:off x="6889675" y="1374661"/>
              <a:ext cx="1944216" cy="861850"/>
            </a:xfrm>
            <a:prstGeom prst="rect">
              <a:avLst/>
            </a:prstGeom>
          </p:spPr>
          <p:txBody>
            <a:bodyPr wrap="square">
              <a:spAutoFit/>
            </a:bodyPr>
            <a:lstStyle/>
            <a:p>
              <a:pPr defTabSz="914461" fontAlgn="auto">
                <a:spcBef>
                  <a:spcPts val="0"/>
                </a:spcBef>
                <a:spcAft>
                  <a:spcPts val="0"/>
                </a:spcAft>
              </a:pPr>
              <a:r>
                <a:rPr lang="en-US" altLang="zh-CN" sz="3600" b="1" dirty="0">
                  <a:solidFill>
                    <a:srgbClr val="FFC000"/>
                  </a:solidFill>
                  <a:latin typeface="Arial"/>
                  <a:ea typeface="微软雅黑"/>
                </a:rPr>
                <a:t>4-5%</a:t>
              </a:r>
              <a:endParaRPr lang="zh-CN" altLang="en-US" sz="787" dirty="0">
                <a:solidFill>
                  <a:prstClr val="white"/>
                </a:solidFill>
                <a:latin typeface="Arial"/>
                <a:ea typeface="微软雅黑"/>
              </a:endParaRPr>
            </a:p>
          </p:txBody>
        </p:sp>
        <p:sp>
          <p:nvSpPr>
            <p:cNvPr id="56" name="矩形 55"/>
            <p:cNvSpPr/>
            <p:nvPr/>
          </p:nvSpPr>
          <p:spPr>
            <a:xfrm>
              <a:off x="8473851" y="1612171"/>
              <a:ext cx="1296144" cy="369364"/>
            </a:xfrm>
            <a:prstGeom prst="rect">
              <a:avLst/>
            </a:prstGeom>
          </p:spPr>
          <p:txBody>
            <a:bodyPr wrap="square">
              <a:spAutoFit/>
            </a:bodyPr>
            <a:lstStyle/>
            <a:p>
              <a:pPr defTabSz="914461" fontAlgn="auto">
                <a:spcBef>
                  <a:spcPts val="0"/>
                </a:spcBef>
                <a:spcAft>
                  <a:spcPts val="0"/>
                </a:spcAft>
              </a:pPr>
              <a:r>
                <a:rPr lang="en-US" altLang="zh-CN" sz="1200" dirty="0">
                  <a:solidFill>
                    <a:prstClr val="white"/>
                  </a:solidFill>
                  <a:latin typeface="Arial"/>
                  <a:ea typeface="微软雅黑"/>
                </a:rPr>
                <a:t>growth rate</a:t>
              </a:r>
              <a:endParaRPr lang="zh-CN" altLang="en-US" sz="787" dirty="0">
                <a:solidFill>
                  <a:prstClr val="white"/>
                </a:solidFill>
                <a:latin typeface="Arial"/>
                <a:ea typeface="微软雅黑"/>
              </a:endParaRPr>
            </a:p>
          </p:txBody>
        </p:sp>
      </p:grpSp>
      <p:sp>
        <p:nvSpPr>
          <p:cNvPr id="67" name="矩形 66"/>
          <p:cNvSpPr/>
          <p:nvPr/>
        </p:nvSpPr>
        <p:spPr>
          <a:xfrm>
            <a:off x="1926730" y="4664856"/>
            <a:ext cx="3308919" cy="369332"/>
          </a:xfrm>
          <a:prstGeom prst="rect">
            <a:avLst/>
          </a:prstGeom>
        </p:spPr>
        <p:txBody>
          <a:bodyPr wrap="none">
            <a:spAutoFit/>
          </a:bodyPr>
          <a:lstStyle/>
          <a:p>
            <a:r>
              <a:rPr lang="en-US" altLang="zh-CN" b="1" kern="0" dirty="0" smtClean="0">
                <a:solidFill>
                  <a:srgbClr val="FFFF00"/>
                </a:solidFill>
                <a:cs typeface="Arial" pitchFamily="34" charset="0"/>
                <a:sym typeface="Helvetica"/>
              </a:rPr>
              <a:t>@2025   10 millions of new sites </a:t>
            </a:r>
            <a:endParaRPr lang="zh-CN" altLang="en-US" dirty="0"/>
          </a:p>
        </p:txBody>
      </p:sp>
      <p:sp>
        <p:nvSpPr>
          <p:cNvPr id="78" name="矩形 77"/>
          <p:cNvSpPr/>
          <p:nvPr/>
        </p:nvSpPr>
        <p:spPr>
          <a:xfrm>
            <a:off x="4758833" y="4664856"/>
            <a:ext cx="3424335" cy="369332"/>
          </a:xfrm>
          <a:prstGeom prst="rect">
            <a:avLst/>
          </a:prstGeom>
        </p:spPr>
        <p:txBody>
          <a:bodyPr wrap="none">
            <a:spAutoFit/>
          </a:bodyPr>
          <a:lstStyle/>
          <a:p>
            <a:r>
              <a:rPr lang="en-US" altLang="zh-CN" b="1" kern="0" dirty="0" smtClean="0">
                <a:solidFill>
                  <a:srgbClr val="FFFF00"/>
                </a:solidFill>
                <a:cs typeface="Arial" pitchFamily="34" charset="0"/>
                <a:sym typeface="Helvetica"/>
              </a:rPr>
              <a:t>@2025  50 thousands of new DCs </a:t>
            </a:r>
            <a:endParaRPr lang="zh-CN" altLang="en-US" dirty="0"/>
          </a:p>
        </p:txBody>
      </p:sp>
      <p:grpSp>
        <p:nvGrpSpPr>
          <p:cNvPr id="62" name="组合 141"/>
          <p:cNvGrpSpPr/>
          <p:nvPr/>
        </p:nvGrpSpPr>
        <p:grpSpPr>
          <a:xfrm rot="16200000">
            <a:off x="4265534" y="1488429"/>
            <a:ext cx="148212" cy="5974443"/>
            <a:chOff x="3580513" y="1540684"/>
            <a:chExt cx="1161311" cy="3010502"/>
          </a:xfrm>
        </p:grpSpPr>
        <p:sp>
          <p:nvSpPr>
            <p:cNvPr id="63" name="Freeform 10"/>
            <p:cNvSpPr>
              <a:spLocks/>
            </p:cNvSpPr>
            <p:nvPr/>
          </p:nvSpPr>
          <p:spPr bwMode="gray">
            <a:xfrm rot="5400000" flipH="1">
              <a:off x="4030351" y="2470377"/>
              <a:ext cx="261635" cy="1161310"/>
            </a:xfrm>
            <a:custGeom>
              <a:avLst/>
              <a:gdLst/>
              <a:ahLst/>
              <a:cxnLst>
                <a:cxn ang="0">
                  <a:pos x="37" y="1"/>
                </a:cxn>
                <a:cxn ang="0">
                  <a:pos x="45" y="472"/>
                </a:cxn>
                <a:cxn ang="0">
                  <a:pos x="0" y="474"/>
                </a:cxn>
                <a:cxn ang="0">
                  <a:pos x="72" y="604"/>
                </a:cxn>
                <a:cxn ang="0">
                  <a:pos x="142" y="474"/>
                </a:cxn>
                <a:cxn ang="0">
                  <a:pos x="100" y="474"/>
                </a:cxn>
                <a:cxn ang="0">
                  <a:pos x="99" y="0"/>
                </a:cxn>
                <a:cxn ang="0">
                  <a:pos x="37" y="1"/>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gradFill rotWithShape="1">
              <a:gsLst>
                <a:gs pos="0">
                  <a:schemeClr val="tx1">
                    <a:gamma/>
                    <a:tint val="0"/>
                    <a:invGamma/>
                    <a:alpha val="0"/>
                  </a:schemeClr>
                </a:gs>
                <a:gs pos="100000">
                  <a:srgbClr val="0070C0"/>
                </a:gs>
              </a:gsLst>
              <a:lin ang="5400000" scaled="1"/>
            </a:gradFill>
            <a:ln w="9525" cap="flat" cmpd="sng">
              <a:noFill/>
              <a:prstDash val="solid"/>
              <a:round/>
              <a:headEnd type="none" w="med" len="med"/>
              <a:tailEnd type="none" w="med" len="med"/>
            </a:ln>
            <a:effectLst/>
          </p:spPr>
          <p:txBody>
            <a:bodyPr wrap="none" anchor="ctr"/>
            <a:lstStyle/>
            <a:p>
              <a:pPr defTabSz="502625"/>
              <a:endParaRPr lang="zh-CN" altLang="en-US" sz="600" dirty="0"/>
            </a:p>
          </p:txBody>
        </p:sp>
        <p:sp>
          <p:nvSpPr>
            <p:cNvPr id="65" name="Freeform 9"/>
            <p:cNvSpPr>
              <a:spLocks/>
            </p:cNvSpPr>
            <p:nvPr/>
          </p:nvSpPr>
          <p:spPr bwMode="gray">
            <a:xfrm rot="5400000" flipH="1">
              <a:off x="3413074" y="3362880"/>
              <a:ext cx="1355745" cy="1020867"/>
            </a:xfrm>
            <a:custGeom>
              <a:avLst/>
              <a:gdLst/>
              <a:ahLst/>
              <a:cxnLst>
                <a:cxn ang="0">
                  <a:pos x="0" y="0"/>
                </a:cxn>
                <a:cxn ang="0">
                  <a:pos x="382" y="202"/>
                </a:cxn>
                <a:cxn ang="0">
                  <a:pos x="577" y="202"/>
                </a:cxn>
                <a:cxn ang="0">
                  <a:pos x="637" y="249"/>
                </a:cxn>
                <a:cxn ang="0">
                  <a:pos x="639" y="402"/>
                </a:cxn>
                <a:cxn ang="0">
                  <a:pos x="598" y="400"/>
                </a:cxn>
                <a:cxn ang="0">
                  <a:pos x="669" y="532"/>
                </a:cxn>
                <a:cxn ang="0">
                  <a:pos x="735" y="402"/>
                </a:cxn>
                <a:cxn ang="0">
                  <a:pos x="696" y="402"/>
                </a:cxn>
                <a:cxn ang="0">
                  <a:pos x="694" y="226"/>
                </a:cxn>
                <a:cxn ang="0">
                  <a:pos x="616" y="150"/>
                </a:cxn>
                <a:cxn ang="0">
                  <a:pos x="335" y="149"/>
                </a:cxn>
                <a:cxn ang="0">
                  <a:pos x="69" y="0"/>
                </a:cxn>
                <a:cxn ang="0">
                  <a:pos x="0" y="0"/>
                </a:cxn>
              </a:cxnLst>
              <a:rect l="0" t="0" r="r" b="b"/>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chemeClr val="tx1">
                    <a:gamma/>
                    <a:tint val="0"/>
                    <a:invGamma/>
                    <a:alpha val="0"/>
                  </a:schemeClr>
                </a:gs>
                <a:gs pos="100000">
                  <a:srgbClr val="0070C0"/>
                </a:gs>
              </a:gsLst>
              <a:lin ang="5400000" scaled="1"/>
            </a:gradFill>
            <a:ln w="9525" cap="flat" cmpd="sng">
              <a:noFill/>
              <a:prstDash val="solid"/>
              <a:round/>
              <a:headEnd type="none" w="med" len="med"/>
              <a:tailEnd type="none" w="med" len="med"/>
            </a:ln>
            <a:effectLst/>
          </p:spPr>
          <p:txBody>
            <a:bodyPr wrap="none" anchor="ctr"/>
            <a:lstStyle/>
            <a:p>
              <a:pPr defTabSz="502625"/>
              <a:endParaRPr lang="zh-CN" altLang="en-US" sz="600" dirty="0"/>
            </a:p>
          </p:txBody>
        </p:sp>
        <p:sp>
          <p:nvSpPr>
            <p:cNvPr id="79" name="Freeform 11"/>
            <p:cNvSpPr>
              <a:spLocks/>
            </p:cNvSpPr>
            <p:nvPr/>
          </p:nvSpPr>
          <p:spPr bwMode="gray">
            <a:xfrm rot="5400000">
              <a:off x="3413074" y="1708123"/>
              <a:ext cx="1355745" cy="1020867"/>
            </a:xfrm>
            <a:custGeom>
              <a:avLst/>
              <a:gdLst/>
              <a:ahLst/>
              <a:cxnLst>
                <a:cxn ang="0">
                  <a:pos x="0" y="0"/>
                </a:cxn>
                <a:cxn ang="0">
                  <a:pos x="382" y="202"/>
                </a:cxn>
                <a:cxn ang="0">
                  <a:pos x="577" y="202"/>
                </a:cxn>
                <a:cxn ang="0">
                  <a:pos x="637" y="249"/>
                </a:cxn>
                <a:cxn ang="0">
                  <a:pos x="639" y="402"/>
                </a:cxn>
                <a:cxn ang="0">
                  <a:pos x="598" y="400"/>
                </a:cxn>
                <a:cxn ang="0">
                  <a:pos x="669" y="532"/>
                </a:cxn>
                <a:cxn ang="0">
                  <a:pos x="735" y="402"/>
                </a:cxn>
                <a:cxn ang="0">
                  <a:pos x="696" y="402"/>
                </a:cxn>
                <a:cxn ang="0">
                  <a:pos x="694" y="226"/>
                </a:cxn>
                <a:cxn ang="0">
                  <a:pos x="616" y="150"/>
                </a:cxn>
                <a:cxn ang="0">
                  <a:pos x="335" y="149"/>
                </a:cxn>
                <a:cxn ang="0">
                  <a:pos x="69" y="0"/>
                </a:cxn>
                <a:cxn ang="0">
                  <a:pos x="0" y="0"/>
                </a:cxn>
              </a:cxnLst>
              <a:rect l="0" t="0" r="r" b="b"/>
              <a:pathLst>
                <a:path w="735" h="532">
                  <a:moveTo>
                    <a:pt x="0" y="0"/>
                  </a:moveTo>
                  <a:cubicBezTo>
                    <a:pt x="0" y="0"/>
                    <a:pt x="85" y="216"/>
                    <a:pt x="382" y="202"/>
                  </a:cubicBezTo>
                  <a:cubicBezTo>
                    <a:pt x="479" y="202"/>
                    <a:pt x="577" y="202"/>
                    <a:pt x="577" y="202"/>
                  </a:cubicBezTo>
                  <a:cubicBezTo>
                    <a:pt x="577" y="202"/>
                    <a:pt x="639" y="201"/>
                    <a:pt x="637" y="249"/>
                  </a:cubicBezTo>
                  <a:cubicBezTo>
                    <a:pt x="638" y="325"/>
                    <a:pt x="639" y="402"/>
                    <a:pt x="639" y="402"/>
                  </a:cubicBezTo>
                  <a:lnTo>
                    <a:pt x="598" y="400"/>
                  </a:lnTo>
                  <a:lnTo>
                    <a:pt x="669" y="532"/>
                  </a:lnTo>
                  <a:lnTo>
                    <a:pt x="735" y="402"/>
                  </a:lnTo>
                  <a:lnTo>
                    <a:pt x="696" y="402"/>
                  </a:lnTo>
                  <a:cubicBezTo>
                    <a:pt x="696" y="402"/>
                    <a:pt x="695" y="314"/>
                    <a:pt x="694" y="226"/>
                  </a:cubicBezTo>
                  <a:cubicBezTo>
                    <a:pt x="687" y="160"/>
                    <a:pt x="616" y="150"/>
                    <a:pt x="616" y="150"/>
                  </a:cubicBezTo>
                  <a:cubicBezTo>
                    <a:pt x="556" y="137"/>
                    <a:pt x="473" y="153"/>
                    <a:pt x="335" y="149"/>
                  </a:cubicBezTo>
                  <a:cubicBezTo>
                    <a:pt x="110" y="126"/>
                    <a:pt x="69" y="0"/>
                    <a:pt x="69" y="0"/>
                  </a:cubicBezTo>
                  <a:lnTo>
                    <a:pt x="0" y="0"/>
                  </a:lnTo>
                  <a:close/>
                </a:path>
              </a:pathLst>
            </a:custGeom>
            <a:gradFill rotWithShape="1">
              <a:gsLst>
                <a:gs pos="0">
                  <a:schemeClr val="tx1">
                    <a:gamma/>
                    <a:tint val="0"/>
                    <a:invGamma/>
                    <a:alpha val="0"/>
                  </a:schemeClr>
                </a:gs>
                <a:gs pos="100000">
                  <a:srgbClr val="0070C0"/>
                </a:gs>
              </a:gsLst>
              <a:lin ang="5400000" scaled="1"/>
            </a:gradFill>
            <a:ln w="9525" cap="flat" cmpd="sng">
              <a:noFill/>
              <a:prstDash val="solid"/>
              <a:round/>
              <a:headEnd type="none" w="med" len="med"/>
              <a:tailEnd type="none" w="med" len="med"/>
            </a:ln>
            <a:effectLst/>
          </p:spPr>
          <p:txBody>
            <a:bodyPr wrap="none" anchor="ctr"/>
            <a:lstStyle/>
            <a:p>
              <a:pPr defTabSz="502625"/>
              <a:endParaRPr lang="zh-CN" altLang="en-US" sz="600" dirty="0"/>
            </a:p>
          </p:txBody>
        </p:sp>
      </p:grpSp>
    </p:spTree>
    <p:extLst>
      <p:ext uri="{BB962C8B-B14F-4D97-AF65-F5344CB8AC3E}">
        <p14:creationId xmlns:p14="http://schemas.microsoft.com/office/powerpoint/2010/main" val="10043432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ounded Rectangle 14"/>
          <p:cNvSpPr/>
          <p:nvPr/>
        </p:nvSpPr>
        <p:spPr bwMode="white">
          <a:xfrm>
            <a:off x="330266" y="2621930"/>
            <a:ext cx="7200621" cy="820847"/>
          </a:xfrm>
          <a:prstGeom prst="roundRect">
            <a:avLst>
              <a:gd name="adj" fmla="val 6216"/>
            </a:avLst>
          </a:prstGeom>
          <a:solidFill>
            <a:schemeClr val="accent1">
              <a:lumMod val="50000"/>
            </a:schemeClr>
          </a:solidFill>
          <a:ln>
            <a:noFill/>
            <a:headEnd type="none" w="med" len="med"/>
            <a:tailEnd type="none" w="med" len="med"/>
          </a:ln>
          <a:effectLst>
            <a:outerShdw blurRad="40000" dist="23000" dir="5400000" rotWithShape="0">
              <a:srgbClr val="000000">
                <a:alpha val="35000"/>
              </a:srgbClr>
            </a:outerShdw>
          </a:effectLst>
          <a:scene3d>
            <a:camera prst="orthographicFront" fov="0">
              <a:rot lat="0" lon="0" rev="0"/>
            </a:camera>
            <a:lightRig rig="soft" dir="tl">
              <a:rot lat="0" lon="0" rev="20000000"/>
            </a:lightRig>
          </a:scene3d>
          <a:sp3d prstMaterial="matte"/>
        </p:spPr>
        <p:txBody>
          <a:bodyPr vert="horz" wrap="square" lIns="68568" tIns="34284" rIns="68568" bIns="34284" numCol="1" rtlCol="0" anchor="ctr" anchorCtr="0" compatLnSpc="1">
            <a:prstTxWarp prst="textNoShape">
              <a:avLst/>
            </a:prstTxWarp>
          </a:bodyPr>
          <a:lstStyle/>
          <a:p>
            <a:pPr algn="ctr" defTabSz="685454">
              <a:defRPr/>
            </a:pPr>
            <a:endParaRPr lang="en-US" sz="1350" kern="0" dirty="0">
              <a:gradFill>
                <a:gsLst>
                  <a:gs pos="0">
                    <a:srgbClr val="FFFFFF"/>
                  </a:gs>
                  <a:gs pos="100000">
                    <a:srgbClr val="FFFFFF"/>
                  </a:gs>
                </a:gsLst>
                <a:lin ang="5400000" scaled="0"/>
              </a:gradFill>
              <a:latin typeface="Microsoft PhagsPa" pitchFamily="34" charset="0"/>
            </a:endParaRPr>
          </a:p>
        </p:txBody>
      </p:sp>
      <p:sp>
        <p:nvSpPr>
          <p:cNvPr id="187" name="Rectangle 6"/>
          <p:cNvSpPr/>
          <p:nvPr/>
        </p:nvSpPr>
        <p:spPr>
          <a:xfrm>
            <a:off x="437185" y="2835156"/>
            <a:ext cx="1316029" cy="392407"/>
          </a:xfrm>
          <a:prstGeom prst="rect">
            <a:avLst/>
          </a:prstGeom>
        </p:spPr>
        <p:txBody>
          <a:bodyPr wrap="square" lIns="68571" tIns="34286" rIns="68571" bIns="34286">
            <a:spAutoFit/>
          </a:bodyPr>
          <a:lstStyle/>
          <a:p>
            <a:pPr marL="0" lvl="1" algn="ctr">
              <a:tabLst>
                <a:tab pos="1371360" algn="l"/>
              </a:tabLst>
            </a:pPr>
            <a:r>
              <a:rPr lang="en-US" sz="1050" b="1" dirty="0">
                <a:solidFill>
                  <a:srgbClr val="FFC000"/>
                </a:solidFill>
                <a:latin typeface="Microsoft PhagsPa" pitchFamily="34" charset="0"/>
                <a:cs typeface="Arial" pitchFamily="34" charset="0"/>
              </a:rPr>
              <a:t>Network Level</a:t>
            </a:r>
          </a:p>
          <a:p>
            <a:pPr marL="0" lvl="1" algn="ctr">
              <a:tabLst>
                <a:tab pos="1371360" algn="l"/>
              </a:tabLst>
            </a:pPr>
            <a:r>
              <a:rPr lang="en-US" sz="1050" b="1" dirty="0">
                <a:solidFill>
                  <a:srgbClr val="FFC000"/>
                </a:solidFill>
                <a:latin typeface="Microsoft PhagsPa" pitchFamily="34" charset="0"/>
                <a:cs typeface="Arial" pitchFamily="34" charset="0"/>
              </a:rPr>
              <a:t>Energy relevance</a:t>
            </a:r>
            <a:endParaRPr lang="en-US" sz="1050" b="1" dirty="0">
              <a:solidFill>
                <a:srgbClr val="FFC000"/>
              </a:solidFill>
              <a:latin typeface="Microsoft PhagsPa" pitchFamily="34" charset="0"/>
              <a:cs typeface="Arial" pitchFamily="34" charset="0"/>
            </a:endParaRPr>
          </a:p>
        </p:txBody>
      </p:sp>
      <p:grpSp>
        <p:nvGrpSpPr>
          <p:cNvPr id="188" name="组合 255"/>
          <p:cNvGrpSpPr/>
          <p:nvPr/>
        </p:nvGrpSpPr>
        <p:grpSpPr>
          <a:xfrm>
            <a:off x="4297154" y="2705379"/>
            <a:ext cx="365717" cy="383545"/>
            <a:chOff x="12157075" y="6029325"/>
            <a:chExt cx="422275" cy="415925"/>
          </a:xfrm>
          <a:solidFill>
            <a:schemeClr val="bg1"/>
          </a:solidFill>
        </p:grpSpPr>
        <p:sp>
          <p:nvSpPr>
            <p:cNvPr id="189" name="Freeform 432"/>
            <p:cNvSpPr>
              <a:spLocks noEditPoints="1"/>
            </p:cNvSpPr>
            <p:nvPr/>
          </p:nvSpPr>
          <p:spPr bwMode="auto">
            <a:xfrm>
              <a:off x="12157075" y="6029325"/>
              <a:ext cx="422275" cy="415925"/>
            </a:xfrm>
            <a:custGeom>
              <a:avLst/>
              <a:gdLst/>
              <a:ahLst/>
              <a:cxnLst>
                <a:cxn ang="0">
                  <a:pos x="20" y="0"/>
                </a:cxn>
                <a:cxn ang="0">
                  <a:pos x="12" y="2"/>
                </a:cxn>
                <a:cxn ang="0">
                  <a:pos x="2" y="12"/>
                </a:cxn>
                <a:cxn ang="0">
                  <a:pos x="0" y="156"/>
                </a:cxn>
                <a:cxn ang="0">
                  <a:pos x="2" y="164"/>
                </a:cxn>
                <a:cxn ang="0">
                  <a:pos x="12" y="174"/>
                </a:cxn>
                <a:cxn ang="0">
                  <a:pos x="126" y="176"/>
                </a:cxn>
                <a:cxn ang="0">
                  <a:pos x="126" y="208"/>
                </a:cxn>
                <a:cxn ang="0">
                  <a:pos x="112" y="218"/>
                </a:cxn>
                <a:cxn ang="0">
                  <a:pos x="106" y="234"/>
                </a:cxn>
                <a:cxn ang="0">
                  <a:pos x="108" y="244"/>
                </a:cxn>
                <a:cxn ang="0">
                  <a:pos x="122" y="260"/>
                </a:cxn>
                <a:cxn ang="0">
                  <a:pos x="132" y="262"/>
                </a:cxn>
                <a:cxn ang="0">
                  <a:pos x="152" y="254"/>
                </a:cxn>
                <a:cxn ang="0">
                  <a:pos x="160" y="234"/>
                </a:cxn>
                <a:cxn ang="0">
                  <a:pos x="158" y="226"/>
                </a:cxn>
                <a:cxn ang="0">
                  <a:pos x="148" y="212"/>
                </a:cxn>
                <a:cxn ang="0">
                  <a:pos x="138" y="176"/>
                </a:cxn>
                <a:cxn ang="0">
                  <a:pos x="246" y="176"/>
                </a:cxn>
                <a:cxn ang="0">
                  <a:pos x="260" y="170"/>
                </a:cxn>
                <a:cxn ang="0">
                  <a:pos x="266" y="156"/>
                </a:cxn>
                <a:cxn ang="0">
                  <a:pos x="266" y="20"/>
                </a:cxn>
                <a:cxn ang="0">
                  <a:pos x="260" y="6"/>
                </a:cxn>
                <a:cxn ang="0">
                  <a:pos x="246" y="0"/>
                </a:cxn>
                <a:cxn ang="0">
                  <a:pos x="254" y="156"/>
                </a:cxn>
                <a:cxn ang="0">
                  <a:pos x="252" y="158"/>
                </a:cxn>
                <a:cxn ang="0">
                  <a:pos x="246" y="164"/>
                </a:cxn>
                <a:cxn ang="0">
                  <a:pos x="20" y="164"/>
                </a:cxn>
                <a:cxn ang="0">
                  <a:pos x="14" y="162"/>
                </a:cxn>
                <a:cxn ang="0">
                  <a:pos x="12" y="156"/>
                </a:cxn>
                <a:cxn ang="0">
                  <a:pos x="12" y="20"/>
                </a:cxn>
                <a:cxn ang="0">
                  <a:pos x="18" y="14"/>
                </a:cxn>
                <a:cxn ang="0">
                  <a:pos x="246" y="14"/>
                </a:cxn>
                <a:cxn ang="0">
                  <a:pos x="248" y="14"/>
                </a:cxn>
                <a:cxn ang="0">
                  <a:pos x="252" y="18"/>
                </a:cxn>
                <a:cxn ang="0">
                  <a:pos x="254" y="156"/>
                </a:cxn>
              </a:cxnLst>
              <a:rect l="0" t="0" r="r" b="b"/>
              <a:pathLst>
                <a:path w="266" h="262">
                  <a:moveTo>
                    <a:pt x="246" y="0"/>
                  </a:moveTo>
                  <a:lnTo>
                    <a:pt x="20" y="0"/>
                  </a:lnTo>
                  <a:lnTo>
                    <a:pt x="20" y="0"/>
                  </a:lnTo>
                  <a:lnTo>
                    <a:pt x="12" y="2"/>
                  </a:lnTo>
                  <a:lnTo>
                    <a:pt x="6" y="6"/>
                  </a:lnTo>
                  <a:lnTo>
                    <a:pt x="2" y="12"/>
                  </a:lnTo>
                  <a:lnTo>
                    <a:pt x="0" y="20"/>
                  </a:lnTo>
                  <a:lnTo>
                    <a:pt x="0" y="156"/>
                  </a:lnTo>
                  <a:lnTo>
                    <a:pt x="0" y="156"/>
                  </a:lnTo>
                  <a:lnTo>
                    <a:pt x="2" y="164"/>
                  </a:lnTo>
                  <a:lnTo>
                    <a:pt x="6" y="170"/>
                  </a:lnTo>
                  <a:lnTo>
                    <a:pt x="12" y="174"/>
                  </a:lnTo>
                  <a:lnTo>
                    <a:pt x="20" y="176"/>
                  </a:lnTo>
                  <a:lnTo>
                    <a:pt x="126" y="176"/>
                  </a:lnTo>
                  <a:lnTo>
                    <a:pt x="126" y="208"/>
                  </a:lnTo>
                  <a:lnTo>
                    <a:pt x="126" y="208"/>
                  </a:lnTo>
                  <a:lnTo>
                    <a:pt x="118" y="212"/>
                  </a:lnTo>
                  <a:lnTo>
                    <a:pt x="112" y="218"/>
                  </a:lnTo>
                  <a:lnTo>
                    <a:pt x="108" y="226"/>
                  </a:lnTo>
                  <a:lnTo>
                    <a:pt x="106" y="234"/>
                  </a:lnTo>
                  <a:lnTo>
                    <a:pt x="106" y="234"/>
                  </a:lnTo>
                  <a:lnTo>
                    <a:pt x="108" y="244"/>
                  </a:lnTo>
                  <a:lnTo>
                    <a:pt x="114" y="254"/>
                  </a:lnTo>
                  <a:lnTo>
                    <a:pt x="122" y="260"/>
                  </a:lnTo>
                  <a:lnTo>
                    <a:pt x="132" y="262"/>
                  </a:lnTo>
                  <a:lnTo>
                    <a:pt x="132" y="262"/>
                  </a:lnTo>
                  <a:lnTo>
                    <a:pt x="144" y="260"/>
                  </a:lnTo>
                  <a:lnTo>
                    <a:pt x="152" y="254"/>
                  </a:lnTo>
                  <a:lnTo>
                    <a:pt x="158" y="244"/>
                  </a:lnTo>
                  <a:lnTo>
                    <a:pt x="160" y="234"/>
                  </a:lnTo>
                  <a:lnTo>
                    <a:pt x="160" y="234"/>
                  </a:lnTo>
                  <a:lnTo>
                    <a:pt x="158" y="226"/>
                  </a:lnTo>
                  <a:lnTo>
                    <a:pt x="154" y="218"/>
                  </a:lnTo>
                  <a:lnTo>
                    <a:pt x="148" y="212"/>
                  </a:lnTo>
                  <a:lnTo>
                    <a:pt x="138" y="208"/>
                  </a:lnTo>
                  <a:lnTo>
                    <a:pt x="138" y="176"/>
                  </a:lnTo>
                  <a:lnTo>
                    <a:pt x="246" y="176"/>
                  </a:lnTo>
                  <a:lnTo>
                    <a:pt x="246" y="176"/>
                  </a:lnTo>
                  <a:lnTo>
                    <a:pt x="254" y="174"/>
                  </a:lnTo>
                  <a:lnTo>
                    <a:pt x="260" y="170"/>
                  </a:lnTo>
                  <a:lnTo>
                    <a:pt x="264" y="164"/>
                  </a:lnTo>
                  <a:lnTo>
                    <a:pt x="266" y="156"/>
                  </a:lnTo>
                  <a:lnTo>
                    <a:pt x="266" y="20"/>
                  </a:lnTo>
                  <a:lnTo>
                    <a:pt x="266" y="20"/>
                  </a:lnTo>
                  <a:lnTo>
                    <a:pt x="264" y="12"/>
                  </a:lnTo>
                  <a:lnTo>
                    <a:pt x="260" y="6"/>
                  </a:lnTo>
                  <a:lnTo>
                    <a:pt x="254" y="2"/>
                  </a:lnTo>
                  <a:lnTo>
                    <a:pt x="246" y="0"/>
                  </a:lnTo>
                  <a:lnTo>
                    <a:pt x="246" y="0"/>
                  </a:lnTo>
                  <a:close/>
                  <a:moveTo>
                    <a:pt x="254" y="156"/>
                  </a:moveTo>
                  <a:lnTo>
                    <a:pt x="254" y="156"/>
                  </a:lnTo>
                  <a:lnTo>
                    <a:pt x="252" y="158"/>
                  </a:lnTo>
                  <a:lnTo>
                    <a:pt x="250" y="162"/>
                  </a:lnTo>
                  <a:lnTo>
                    <a:pt x="246" y="164"/>
                  </a:lnTo>
                  <a:lnTo>
                    <a:pt x="20" y="164"/>
                  </a:lnTo>
                  <a:lnTo>
                    <a:pt x="20" y="164"/>
                  </a:lnTo>
                  <a:lnTo>
                    <a:pt x="18" y="162"/>
                  </a:lnTo>
                  <a:lnTo>
                    <a:pt x="14" y="162"/>
                  </a:lnTo>
                  <a:lnTo>
                    <a:pt x="14" y="158"/>
                  </a:lnTo>
                  <a:lnTo>
                    <a:pt x="12" y="156"/>
                  </a:lnTo>
                  <a:lnTo>
                    <a:pt x="12" y="20"/>
                  </a:lnTo>
                  <a:lnTo>
                    <a:pt x="12" y="20"/>
                  </a:lnTo>
                  <a:lnTo>
                    <a:pt x="14" y="16"/>
                  </a:lnTo>
                  <a:lnTo>
                    <a:pt x="18" y="14"/>
                  </a:lnTo>
                  <a:lnTo>
                    <a:pt x="20" y="14"/>
                  </a:lnTo>
                  <a:lnTo>
                    <a:pt x="246" y="14"/>
                  </a:lnTo>
                  <a:lnTo>
                    <a:pt x="246" y="14"/>
                  </a:lnTo>
                  <a:lnTo>
                    <a:pt x="248" y="14"/>
                  </a:lnTo>
                  <a:lnTo>
                    <a:pt x="250" y="16"/>
                  </a:lnTo>
                  <a:lnTo>
                    <a:pt x="252" y="18"/>
                  </a:lnTo>
                  <a:lnTo>
                    <a:pt x="254" y="20"/>
                  </a:lnTo>
                  <a:lnTo>
                    <a:pt x="254" y="15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pPr defTabSz="685709" fontAlgn="auto">
                <a:spcBef>
                  <a:spcPts val="0"/>
                </a:spcBef>
                <a:spcAft>
                  <a:spcPts val="0"/>
                </a:spcAft>
                <a:defRPr/>
              </a:pPr>
              <a:endParaRPr lang="zh-CN" altLang="en-US" kern="0">
                <a:solidFill>
                  <a:sysClr val="windowText" lastClr="000000"/>
                </a:solidFill>
                <a:latin typeface="Microsoft PhagsPa" pitchFamily="34" charset="0"/>
              </a:endParaRPr>
            </a:p>
          </p:txBody>
        </p:sp>
        <p:sp>
          <p:nvSpPr>
            <p:cNvPr id="190" name="Freeform 433"/>
            <p:cNvSpPr>
              <a:spLocks noEditPoints="1"/>
            </p:cNvSpPr>
            <p:nvPr/>
          </p:nvSpPr>
          <p:spPr bwMode="auto">
            <a:xfrm>
              <a:off x="12157075" y="6388100"/>
              <a:ext cx="422275" cy="38100"/>
            </a:xfrm>
            <a:custGeom>
              <a:avLst/>
              <a:gdLst/>
              <a:ahLst/>
              <a:cxnLst>
                <a:cxn ang="0">
                  <a:pos x="100" y="0"/>
                </a:cxn>
                <a:cxn ang="0">
                  <a:pos x="0" y="0"/>
                </a:cxn>
                <a:cxn ang="0">
                  <a:pos x="0" y="24"/>
                </a:cxn>
                <a:cxn ang="0">
                  <a:pos x="100" y="24"/>
                </a:cxn>
                <a:cxn ang="0">
                  <a:pos x="100" y="24"/>
                </a:cxn>
                <a:cxn ang="0">
                  <a:pos x="98" y="16"/>
                </a:cxn>
                <a:cxn ang="0">
                  <a:pos x="98" y="10"/>
                </a:cxn>
                <a:cxn ang="0">
                  <a:pos x="98" y="10"/>
                </a:cxn>
                <a:cxn ang="0">
                  <a:pos x="100" y="0"/>
                </a:cxn>
                <a:cxn ang="0">
                  <a:pos x="100" y="0"/>
                </a:cxn>
                <a:cxn ang="0">
                  <a:pos x="166" y="0"/>
                </a:cxn>
                <a:cxn ang="0">
                  <a:pos x="166" y="0"/>
                </a:cxn>
                <a:cxn ang="0">
                  <a:pos x="168" y="10"/>
                </a:cxn>
                <a:cxn ang="0">
                  <a:pos x="168" y="10"/>
                </a:cxn>
                <a:cxn ang="0">
                  <a:pos x="168" y="16"/>
                </a:cxn>
                <a:cxn ang="0">
                  <a:pos x="166" y="24"/>
                </a:cxn>
                <a:cxn ang="0">
                  <a:pos x="266" y="24"/>
                </a:cxn>
                <a:cxn ang="0">
                  <a:pos x="266" y="0"/>
                </a:cxn>
                <a:cxn ang="0">
                  <a:pos x="166" y="0"/>
                </a:cxn>
              </a:cxnLst>
              <a:rect l="0" t="0" r="r" b="b"/>
              <a:pathLst>
                <a:path w="266" h="24">
                  <a:moveTo>
                    <a:pt x="100" y="0"/>
                  </a:moveTo>
                  <a:lnTo>
                    <a:pt x="0" y="0"/>
                  </a:lnTo>
                  <a:lnTo>
                    <a:pt x="0" y="24"/>
                  </a:lnTo>
                  <a:lnTo>
                    <a:pt x="100" y="24"/>
                  </a:lnTo>
                  <a:lnTo>
                    <a:pt x="100" y="24"/>
                  </a:lnTo>
                  <a:lnTo>
                    <a:pt x="98" y="16"/>
                  </a:lnTo>
                  <a:lnTo>
                    <a:pt x="98" y="10"/>
                  </a:lnTo>
                  <a:lnTo>
                    <a:pt x="98" y="10"/>
                  </a:lnTo>
                  <a:lnTo>
                    <a:pt x="100" y="0"/>
                  </a:lnTo>
                  <a:lnTo>
                    <a:pt x="100" y="0"/>
                  </a:lnTo>
                  <a:close/>
                  <a:moveTo>
                    <a:pt x="166" y="0"/>
                  </a:moveTo>
                  <a:lnTo>
                    <a:pt x="166" y="0"/>
                  </a:lnTo>
                  <a:lnTo>
                    <a:pt x="168" y="10"/>
                  </a:lnTo>
                  <a:lnTo>
                    <a:pt x="168" y="10"/>
                  </a:lnTo>
                  <a:lnTo>
                    <a:pt x="168" y="16"/>
                  </a:lnTo>
                  <a:lnTo>
                    <a:pt x="166" y="24"/>
                  </a:lnTo>
                  <a:lnTo>
                    <a:pt x="266" y="24"/>
                  </a:lnTo>
                  <a:lnTo>
                    <a:pt x="266" y="0"/>
                  </a:lnTo>
                  <a:lnTo>
                    <a:pt x="166"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pPr defTabSz="685709" fontAlgn="auto">
                <a:spcBef>
                  <a:spcPts val="0"/>
                </a:spcBef>
                <a:spcAft>
                  <a:spcPts val="0"/>
                </a:spcAft>
                <a:defRPr/>
              </a:pPr>
              <a:endParaRPr lang="zh-CN" altLang="en-US" kern="0">
                <a:solidFill>
                  <a:sysClr val="windowText" lastClr="000000"/>
                </a:solidFill>
                <a:latin typeface="Microsoft PhagsPa" pitchFamily="34" charset="0"/>
              </a:endParaRPr>
            </a:p>
          </p:txBody>
        </p:sp>
        <p:sp>
          <p:nvSpPr>
            <p:cNvPr id="191" name="Freeform 434"/>
            <p:cNvSpPr>
              <a:spLocks noEditPoints="1"/>
            </p:cNvSpPr>
            <p:nvPr/>
          </p:nvSpPr>
          <p:spPr bwMode="auto">
            <a:xfrm>
              <a:off x="12395200" y="6105525"/>
              <a:ext cx="101600" cy="101600"/>
            </a:xfrm>
            <a:custGeom>
              <a:avLst/>
              <a:gdLst/>
              <a:ahLst/>
              <a:cxnLst>
                <a:cxn ang="0">
                  <a:pos x="64" y="0"/>
                </a:cxn>
                <a:cxn ang="0">
                  <a:pos x="22" y="16"/>
                </a:cxn>
                <a:cxn ang="0">
                  <a:pos x="32" y="26"/>
                </a:cxn>
                <a:cxn ang="0">
                  <a:pos x="22" y="36"/>
                </a:cxn>
                <a:cxn ang="0">
                  <a:pos x="26" y="42"/>
                </a:cxn>
                <a:cxn ang="0">
                  <a:pos x="38" y="32"/>
                </a:cxn>
                <a:cxn ang="0">
                  <a:pos x="48" y="40"/>
                </a:cxn>
                <a:cxn ang="0">
                  <a:pos x="64" y="0"/>
                </a:cxn>
                <a:cxn ang="0">
                  <a:pos x="0" y="58"/>
                </a:cxn>
                <a:cxn ang="0">
                  <a:pos x="6" y="64"/>
                </a:cxn>
                <a:cxn ang="0">
                  <a:pos x="10" y="60"/>
                </a:cxn>
                <a:cxn ang="0">
                  <a:pos x="4" y="54"/>
                </a:cxn>
                <a:cxn ang="0">
                  <a:pos x="0" y="58"/>
                </a:cxn>
                <a:cxn ang="0">
                  <a:pos x="14" y="44"/>
                </a:cxn>
                <a:cxn ang="0">
                  <a:pos x="20" y="50"/>
                </a:cxn>
                <a:cxn ang="0">
                  <a:pos x="24" y="46"/>
                </a:cxn>
                <a:cxn ang="0">
                  <a:pos x="18" y="40"/>
                </a:cxn>
                <a:cxn ang="0">
                  <a:pos x="14" y="44"/>
                </a:cxn>
                <a:cxn ang="0">
                  <a:pos x="8" y="52"/>
                </a:cxn>
                <a:cxn ang="0">
                  <a:pos x="12" y="56"/>
                </a:cxn>
                <a:cxn ang="0">
                  <a:pos x="16" y="52"/>
                </a:cxn>
                <a:cxn ang="0">
                  <a:pos x="12" y="46"/>
                </a:cxn>
                <a:cxn ang="0">
                  <a:pos x="8" y="52"/>
                </a:cxn>
              </a:cxnLst>
              <a:rect l="0" t="0" r="r" b="b"/>
              <a:pathLst>
                <a:path w="64" h="64">
                  <a:moveTo>
                    <a:pt x="64" y="0"/>
                  </a:moveTo>
                  <a:lnTo>
                    <a:pt x="22" y="16"/>
                  </a:lnTo>
                  <a:lnTo>
                    <a:pt x="32" y="26"/>
                  </a:lnTo>
                  <a:lnTo>
                    <a:pt x="22" y="36"/>
                  </a:lnTo>
                  <a:lnTo>
                    <a:pt x="26" y="42"/>
                  </a:lnTo>
                  <a:lnTo>
                    <a:pt x="38" y="32"/>
                  </a:lnTo>
                  <a:lnTo>
                    <a:pt x="48" y="40"/>
                  </a:lnTo>
                  <a:lnTo>
                    <a:pt x="64" y="0"/>
                  </a:lnTo>
                  <a:close/>
                  <a:moveTo>
                    <a:pt x="0" y="58"/>
                  </a:moveTo>
                  <a:lnTo>
                    <a:pt x="6" y="64"/>
                  </a:lnTo>
                  <a:lnTo>
                    <a:pt x="10" y="60"/>
                  </a:lnTo>
                  <a:lnTo>
                    <a:pt x="4" y="54"/>
                  </a:lnTo>
                  <a:lnTo>
                    <a:pt x="0" y="58"/>
                  </a:lnTo>
                  <a:close/>
                  <a:moveTo>
                    <a:pt x="14" y="44"/>
                  </a:moveTo>
                  <a:lnTo>
                    <a:pt x="20" y="50"/>
                  </a:lnTo>
                  <a:lnTo>
                    <a:pt x="24" y="46"/>
                  </a:lnTo>
                  <a:lnTo>
                    <a:pt x="18" y="40"/>
                  </a:lnTo>
                  <a:lnTo>
                    <a:pt x="14" y="44"/>
                  </a:lnTo>
                  <a:close/>
                  <a:moveTo>
                    <a:pt x="8" y="52"/>
                  </a:moveTo>
                  <a:lnTo>
                    <a:pt x="12" y="56"/>
                  </a:lnTo>
                  <a:lnTo>
                    <a:pt x="16" y="52"/>
                  </a:lnTo>
                  <a:lnTo>
                    <a:pt x="12" y="46"/>
                  </a:lnTo>
                  <a:lnTo>
                    <a:pt x="8" y="5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pPr defTabSz="685709" fontAlgn="auto">
                <a:spcBef>
                  <a:spcPts val="0"/>
                </a:spcBef>
                <a:spcAft>
                  <a:spcPts val="0"/>
                </a:spcAft>
                <a:defRPr/>
              </a:pPr>
              <a:endParaRPr lang="zh-CN" altLang="en-US" kern="0">
                <a:solidFill>
                  <a:sysClr val="windowText" lastClr="000000"/>
                </a:solidFill>
                <a:latin typeface="Microsoft PhagsPa" pitchFamily="34" charset="0"/>
              </a:endParaRPr>
            </a:p>
          </p:txBody>
        </p:sp>
      </p:grpSp>
      <p:sp>
        <p:nvSpPr>
          <p:cNvPr id="192" name="Rectangle 6"/>
          <p:cNvSpPr/>
          <p:nvPr/>
        </p:nvSpPr>
        <p:spPr>
          <a:xfrm>
            <a:off x="1710724" y="3105786"/>
            <a:ext cx="1728042" cy="346241"/>
          </a:xfrm>
          <a:prstGeom prst="rect">
            <a:avLst/>
          </a:prstGeom>
        </p:spPr>
        <p:txBody>
          <a:bodyPr wrap="square" lIns="68571" tIns="34286" rIns="68571" bIns="34286">
            <a:spAutoFit/>
          </a:bodyPr>
          <a:lstStyle/>
          <a:p>
            <a:pPr marL="0" lvl="1" algn="ctr">
              <a:tabLst>
                <a:tab pos="1371360" algn="l"/>
              </a:tabLst>
            </a:pPr>
            <a:r>
              <a:rPr lang="en-US" sz="900" dirty="0">
                <a:solidFill>
                  <a:schemeClr val="bg1"/>
                </a:solidFill>
                <a:latin typeface="Microsoft PhagsPa" pitchFamily="34" charset="0"/>
                <a:cs typeface="Arial" pitchFamily="34" charset="0"/>
              </a:rPr>
              <a:t>Network Architecture</a:t>
            </a:r>
          </a:p>
          <a:p>
            <a:pPr marL="0" lvl="1" algn="ctr">
              <a:tabLst>
                <a:tab pos="1371360" algn="l"/>
              </a:tabLst>
            </a:pPr>
            <a:r>
              <a:rPr lang="en-US" sz="900" dirty="0">
                <a:solidFill>
                  <a:schemeClr val="bg1"/>
                </a:solidFill>
                <a:latin typeface="Microsoft PhagsPa" pitchFamily="34" charset="0"/>
                <a:cs typeface="Arial" pitchFamily="34" charset="0"/>
              </a:rPr>
              <a:t>(ICT convergence/NFV/Cloud )</a:t>
            </a:r>
            <a:endParaRPr lang="en-US" sz="900" dirty="0">
              <a:solidFill>
                <a:schemeClr val="bg1"/>
              </a:solidFill>
              <a:latin typeface="Microsoft PhagsPa" pitchFamily="34" charset="0"/>
              <a:cs typeface="Arial" pitchFamily="34" charset="0"/>
            </a:endParaRPr>
          </a:p>
        </p:txBody>
      </p:sp>
      <p:sp>
        <p:nvSpPr>
          <p:cNvPr id="193" name="Freeform 10"/>
          <p:cNvSpPr>
            <a:spLocks noEditPoints="1"/>
          </p:cNvSpPr>
          <p:nvPr/>
        </p:nvSpPr>
        <p:spPr bwMode="auto">
          <a:xfrm>
            <a:off x="2315486" y="2673776"/>
            <a:ext cx="535237" cy="391471"/>
          </a:xfrm>
          <a:custGeom>
            <a:avLst/>
            <a:gdLst/>
            <a:ahLst/>
            <a:cxnLst>
              <a:cxn ang="0">
                <a:pos x="344" y="372"/>
              </a:cxn>
              <a:cxn ang="0">
                <a:pos x="452" y="246"/>
              </a:cxn>
              <a:cxn ang="0">
                <a:pos x="508" y="404"/>
              </a:cxn>
              <a:cxn ang="0">
                <a:pos x="428" y="0"/>
              </a:cxn>
              <a:cxn ang="0">
                <a:pos x="460" y="6"/>
              </a:cxn>
              <a:cxn ang="0">
                <a:pos x="500" y="28"/>
              </a:cxn>
              <a:cxn ang="0">
                <a:pos x="526" y="66"/>
              </a:cxn>
              <a:cxn ang="0">
                <a:pos x="530" y="66"/>
              </a:cxn>
              <a:cxn ang="0">
                <a:pos x="576" y="80"/>
              </a:cxn>
              <a:cxn ang="0">
                <a:pos x="604" y="116"/>
              </a:cxn>
              <a:cxn ang="0">
                <a:pos x="610" y="146"/>
              </a:cxn>
              <a:cxn ang="0">
                <a:pos x="598" y="192"/>
              </a:cxn>
              <a:cxn ang="0">
                <a:pos x="562" y="222"/>
              </a:cxn>
              <a:cxn ang="0">
                <a:pos x="336" y="228"/>
              </a:cxn>
              <a:cxn ang="0">
                <a:pos x="310" y="224"/>
              </a:cxn>
              <a:cxn ang="0">
                <a:pos x="280" y="198"/>
              </a:cxn>
              <a:cxn ang="0">
                <a:pos x="268" y="160"/>
              </a:cxn>
              <a:cxn ang="0">
                <a:pos x="272" y="136"/>
              </a:cxn>
              <a:cxn ang="0">
                <a:pos x="294" y="108"/>
              </a:cxn>
              <a:cxn ang="0">
                <a:pos x="326" y="94"/>
              </a:cxn>
              <a:cxn ang="0">
                <a:pos x="336" y="58"/>
              </a:cxn>
              <a:cxn ang="0">
                <a:pos x="374" y="16"/>
              </a:cxn>
              <a:cxn ang="0">
                <a:pos x="428" y="0"/>
              </a:cxn>
              <a:cxn ang="0">
                <a:pos x="162" y="282"/>
              </a:cxn>
              <a:cxn ang="0">
                <a:pos x="206" y="294"/>
              </a:cxn>
              <a:cxn ang="0">
                <a:pos x="242" y="322"/>
              </a:cxn>
              <a:cxn ang="0">
                <a:pos x="258" y="348"/>
              </a:cxn>
              <a:cxn ang="0">
                <a:pos x="278" y="350"/>
              </a:cxn>
              <a:cxn ang="0">
                <a:pos x="320" y="372"/>
              </a:cxn>
              <a:cxn ang="0">
                <a:pos x="342" y="412"/>
              </a:cxn>
              <a:cxn ang="0">
                <a:pos x="342" y="446"/>
              </a:cxn>
              <a:cxn ang="0">
                <a:pos x="320" y="486"/>
              </a:cxn>
              <a:cxn ang="0">
                <a:pos x="278" y="508"/>
              </a:cxn>
              <a:cxn ang="0">
                <a:pos x="68" y="510"/>
              </a:cxn>
              <a:cxn ang="0">
                <a:pos x="30" y="498"/>
              </a:cxn>
              <a:cxn ang="0">
                <a:pos x="6" y="468"/>
              </a:cxn>
              <a:cxn ang="0">
                <a:pos x="0" y="442"/>
              </a:cxn>
              <a:cxn ang="0">
                <a:pos x="10" y="408"/>
              </a:cxn>
              <a:cxn ang="0">
                <a:pos x="36" y="384"/>
              </a:cxn>
              <a:cxn ang="0">
                <a:pos x="58" y="376"/>
              </a:cxn>
              <a:cxn ang="0">
                <a:pos x="78" y="324"/>
              </a:cxn>
              <a:cxn ang="0">
                <a:pos x="124" y="290"/>
              </a:cxn>
              <a:cxn ang="0">
                <a:pos x="162" y="282"/>
              </a:cxn>
              <a:cxn ang="0">
                <a:pos x="702" y="284"/>
              </a:cxn>
              <a:cxn ang="0">
                <a:pos x="746" y="300"/>
              </a:cxn>
              <a:cxn ang="0">
                <a:pos x="776" y="334"/>
              </a:cxn>
              <a:cxn ang="0">
                <a:pos x="788" y="348"/>
              </a:cxn>
              <a:cxn ang="0">
                <a:pos x="820" y="354"/>
              </a:cxn>
              <a:cxn ang="0">
                <a:pos x="856" y="384"/>
              </a:cxn>
              <a:cxn ang="0">
                <a:pos x="868" y="428"/>
              </a:cxn>
              <a:cxn ang="0">
                <a:pos x="862" y="460"/>
              </a:cxn>
              <a:cxn ang="0">
                <a:pos x="834" y="496"/>
              </a:cxn>
              <a:cxn ang="0">
                <a:pos x="788" y="510"/>
              </a:cxn>
              <a:cxn ang="0">
                <a:pos x="580" y="508"/>
              </a:cxn>
              <a:cxn ang="0">
                <a:pos x="546" y="490"/>
              </a:cxn>
              <a:cxn ang="0">
                <a:pos x="528" y="456"/>
              </a:cxn>
              <a:cxn ang="0">
                <a:pos x="528" y="430"/>
              </a:cxn>
              <a:cxn ang="0">
                <a:pos x="542" y="398"/>
              </a:cxn>
              <a:cxn ang="0">
                <a:pos x="572" y="378"/>
              </a:cxn>
              <a:cxn ang="0">
                <a:pos x="588" y="356"/>
              </a:cxn>
              <a:cxn ang="0">
                <a:pos x="616" y="310"/>
              </a:cxn>
              <a:cxn ang="0">
                <a:pos x="668" y="284"/>
              </a:cxn>
            </a:cxnLst>
            <a:rect l="0" t="0" r="r" b="b"/>
            <a:pathLst>
              <a:path w="868" h="510">
                <a:moveTo>
                  <a:pt x="434" y="362"/>
                </a:moveTo>
                <a:lnTo>
                  <a:pt x="362" y="404"/>
                </a:lnTo>
                <a:lnTo>
                  <a:pt x="344" y="372"/>
                </a:lnTo>
                <a:lnTo>
                  <a:pt x="416" y="330"/>
                </a:lnTo>
                <a:lnTo>
                  <a:pt x="416" y="246"/>
                </a:lnTo>
                <a:lnTo>
                  <a:pt x="452" y="246"/>
                </a:lnTo>
                <a:lnTo>
                  <a:pt x="452" y="330"/>
                </a:lnTo>
                <a:lnTo>
                  <a:pt x="526" y="372"/>
                </a:lnTo>
                <a:lnTo>
                  <a:pt x="508" y="404"/>
                </a:lnTo>
                <a:lnTo>
                  <a:pt x="434" y="362"/>
                </a:lnTo>
                <a:lnTo>
                  <a:pt x="434" y="362"/>
                </a:lnTo>
                <a:close/>
                <a:moveTo>
                  <a:pt x="428" y="0"/>
                </a:moveTo>
                <a:lnTo>
                  <a:pt x="428" y="0"/>
                </a:lnTo>
                <a:lnTo>
                  <a:pt x="444" y="2"/>
                </a:lnTo>
                <a:lnTo>
                  <a:pt x="460" y="6"/>
                </a:lnTo>
                <a:lnTo>
                  <a:pt x="474" y="12"/>
                </a:lnTo>
                <a:lnTo>
                  <a:pt x="488" y="18"/>
                </a:lnTo>
                <a:lnTo>
                  <a:pt x="500" y="28"/>
                </a:lnTo>
                <a:lnTo>
                  <a:pt x="510" y="40"/>
                </a:lnTo>
                <a:lnTo>
                  <a:pt x="518" y="52"/>
                </a:lnTo>
                <a:lnTo>
                  <a:pt x="526" y="66"/>
                </a:lnTo>
                <a:lnTo>
                  <a:pt x="526" y="66"/>
                </a:lnTo>
                <a:lnTo>
                  <a:pt x="530" y="66"/>
                </a:lnTo>
                <a:lnTo>
                  <a:pt x="530" y="66"/>
                </a:lnTo>
                <a:lnTo>
                  <a:pt x="546" y="68"/>
                </a:lnTo>
                <a:lnTo>
                  <a:pt x="562" y="72"/>
                </a:lnTo>
                <a:lnTo>
                  <a:pt x="576" y="80"/>
                </a:lnTo>
                <a:lnTo>
                  <a:pt x="588" y="90"/>
                </a:lnTo>
                <a:lnTo>
                  <a:pt x="598" y="102"/>
                </a:lnTo>
                <a:lnTo>
                  <a:pt x="604" y="116"/>
                </a:lnTo>
                <a:lnTo>
                  <a:pt x="610" y="130"/>
                </a:lnTo>
                <a:lnTo>
                  <a:pt x="610" y="146"/>
                </a:lnTo>
                <a:lnTo>
                  <a:pt x="610" y="146"/>
                </a:lnTo>
                <a:lnTo>
                  <a:pt x="610" y="164"/>
                </a:lnTo>
                <a:lnTo>
                  <a:pt x="604" y="178"/>
                </a:lnTo>
                <a:lnTo>
                  <a:pt x="598" y="192"/>
                </a:lnTo>
                <a:lnTo>
                  <a:pt x="588" y="204"/>
                </a:lnTo>
                <a:lnTo>
                  <a:pt x="576" y="214"/>
                </a:lnTo>
                <a:lnTo>
                  <a:pt x="562" y="222"/>
                </a:lnTo>
                <a:lnTo>
                  <a:pt x="546" y="226"/>
                </a:lnTo>
                <a:lnTo>
                  <a:pt x="530" y="228"/>
                </a:lnTo>
                <a:lnTo>
                  <a:pt x="336" y="228"/>
                </a:lnTo>
                <a:lnTo>
                  <a:pt x="336" y="228"/>
                </a:lnTo>
                <a:lnTo>
                  <a:pt x="322" y="226"/>
                </a:lnTo>
                <a:lnTo>
                  <a:pt x="310" y="224"/>
                </a:lnTo>
                <a:lnTo>
                  <a:pt x="298" y="216"/>
                </a:lnTo>
                <a:lnTo>
                  <a:pt x="288" y="208"/>
                </a:lnTo>
                <a:lnTo>
                  <a:pt x="280" y="198"/>
                </a:lnTo>
                <a:lnTo>
                  <a:pt x="274" y="186"/>
                </a:lnTo>
                <a:lnTo>
                  <a:pt x="270" y="174"/>
                </a:lnTo>
                <a:lnTo>
                  <a:pt x="268" y="160"/>
                </a:lnTo>
                <a:lnTo>
                  <a:pt x="268" y="160"/>
                </a:lnTo>
                <a:lnTo>
                  <a:pt x="270" y="148"/>
                </a:lnTo>
                <a:lnTo>
                  <a:pt x="272" y="136"/>
                </a:lnTo>
                <a:lnTo>
                  <a:pt x="278" y="126"/>
                </a:lnTo>
                <a:lnTo>
                  <a:pt x="284" y="116"/>
                </a:lnTo>
                <a:lnTo>
                  <a:pt x="294" y="108"/>
                </a:lnTo>
                <a:lnTo>
                  <a:pt x="302" y="102"/>
                </a:lnTo>
                <a:lnTo>
                  <a:pt x="314" y="96"/>
                </a:lnTo>
                <a:lnTo>
                  <a:pt x="326" y="94"/>
                </a:lnTo>
                <a:lnTo>
                  <a:pt x="326" y="94"/>
                </a:lnTo>
                <a:lnTo>
                  <a:pt x="330" y="74"/>
                </a:lnTo>
                <a:lnTo>
                  <a:pt x="336" y="58"/>
                </a:lnTo>
                <a:lnTo>
                  <a:pt x="346" y="42"/>
                </a:lnTo>
                <a:lnTo>
                  <a:pt x="358" y="28"/>
                </a:lnTo>
                <a:lnTo>
                  <a:pt x="374" y="16"/>
                </a:lnTo>
                <a:lnTo>
                  <a:pt x="390" y="8"/>
                </a:lnTo>
                <a:lnTo>
                  <a:pt x="410" y="2"/>
                </a:lnTo>
                <a:lnTo>
                  <a:pt x="428" y="0"/>
                </a:lnTo>
                <a:lnTo>
                  <a:pt x="428" y="0"/>
                </a:lnTo>
                <a:close/>
                <a:moveTo>
                  <a:pt x="162" y="282"/>
                </a:moveTo>
                <a:lnTo>
                  <a:pt x="162" y="282"/>
                </a:lnTo>
                <a:lnTo>
                  <a:pt x="178" y="284"/>
                </a:lnTo>
                <a:lnTo>
                  <a:pt x="192" y="288"/>
                </a:lnTo>
                <a:lnTo>
                  <a:pt x="206" y="294"/>
                </a:lnTo>
                <a:lnTo>
                  <a:pt x="220" y="300"/>
                </a:lnTo>
                <a:lnTo>
                  <a:pt x="232" y="310"/>
                </a:lnTo>
                <a:lnTo>
                  <a:pt x="242" y="322"/>
                </a:lnTo>
                <a:lnTo>
                  <a:pt x="252" y="334"/>
                </a:lnTo>
                <a:lnTo>
                  <a:pt x="258" y="348"/>
                </a:lnTo>
                <a:lnTo>
                  <a:pt x="258" y="348"/>
                </a:lnTo>
                <a:lnTo>
                  <a:pt x="262" y="348"/>
                </a:lnTo>
                <a:lnTo>
                  <a:pt x="262" y="348"/>
                </a:lnTo>
                <a:lnTo>
                  <a:pt x="278" y="350"/>
                </a:lnTo>
                <a:lnTo>
                  <a:pt x="294" y="354"/>
                </a:lnTo>
                <a:lnTo>
                  <a:pt x="308" y="362"/>
                </a:lnTo>
                <a:lnTo>
                  <a:pt x="320" y="372"/>
                </a:lnTo>
                <a:lnTo>
                  <a:pt x="330" y="384"/>
                </a:lnTo>
                <a:lnTo>
                  <a:pt x="336" y="398"/>
                </a:lnTo>
                <a:lnTo>
                  <a:pt x="342" y="412"/>
                </a:lnTo>
                <a:lnTo>
                  <a:pt x="344" y="428"/>
                </a:lnTo>
                <a:lnTo>
                  <a:pt x="344" y="428"/>
                </a:lnTo>
                <a:lnTo>
                  <a:pt x="342" y="446"/>
                </a:lnTo>
                <a:lnTo>
                  <a:pt x="336" y="460"/>
                </a:lnTo>
                <a:lnTo>
                  <a:pt x="330" y="474"/>
                </a:lnTo>
                <a:lnTo>
                  <a:pt x="320" y="486"/>
                </a:lnTo>
                <a:lnTo>
                  <a:pt x="308" y="496"/>
                </a:lnTo>
                <a:lnTo>
                  <a:pt x="294" y="504"/>
                </a:lnTo>
                <a:lnTo>
                  <a:pt x="278" y="508"/>
                </a:lnTo>
                <a:lnTo>
                  <a:pt x="262" y="510"/>
                </a:lnTo>
                <a:lnTo>
                  <a:pt x="68" y="510"/>
                </a:lnTo>
                <a:lnTo>
                  <a:pt x="68" y="510"/>
                </a:lnTo>
                <a:lnTo>
                  <a:pt x="54" y="508"/>
                </a:lnTo>
                <a:lnTo>
                  <a:pt x="42" y="506"/>
                </a:lnTo>
                <a:lnTo>
                  <a:pt x="30" y="498"/>
                </a:lnTo>
                <a:lnTo>
                  <a:pt x="20" y="490"/>
                </a:lnTo>
                <a:lnTo>
                  <a:pt x="12" y="480"/>
                </a:lnTo>
                <a:lnTo>
                  <a:pt x="6" y="468"/>
                </a:lnTo>
                <a:lnTo>
                  <a:pt x="2" y="456"/>
                </a:lnTo>
                <a:lnTo>
                  <a:pt x="0" y="442"/>
                </a:lnTo>
                <a:lnTo>
                  <a:pt x="0" y="442"/>
                </a:lnTo>
                <a:lnTo>
                  <a:pt x="2" y="430"/>
                </a:lnTo>
                <a:lnTo>
                  <a:pt x="6" y="418"/>
                </a:lnTo>
                <a:lnTo>
                  <a:pt x="10" y="408"/>
                </a:lnTo>
                <a:lnTo>
                  <a:pt x="18" y="398"/>
                </a:lnTo>
                <a:lnTo>
                  <a:pt x="26" y="390"/>
                </a:lnTo>
                <a:lnTo>
                  <a:pt x="36" y="384"/>
                </a:lnTo>
                <a:lnTo>
                  <a:pt x="46" y="378"/>
                </a:lnTo>
                <a:lnTo>
                  <a:pt x="58" y="376"/>
                </a:lnTo>
                <a:lnTo>
                  <a:pt x="58" y="376"/>
                </a:lnTo>
                <a:lnTo>
                  <a:pt x="62" y="356"/>
                </a:lnTo>
                <a:lnTo>
                  <a:pt x="68" y="340"/>
                </a:lnTo>
                <a:lnTo>
                  <a:pt x="78" y="324"/>
                </a:lnTo>
                <a:lnTo>
                  <a:pt x="92" y="310"/>
                </a:lnTo>
                <a:lnTo>
                  <a:pt x="106" y="298"/>
                </a:lnTo>
                <a:lnTo>
                  <a:pt x="124" y="290"/>
                </a:lnTo>
                <a:lnTo>
                  <a:pt x="142" y="284"/>
                </a:lnTo>
                <a:lnTo>
                  <a:pt x="162" y="282"/>
                </a:lnTo>
                <a:lnTo>
                  <a:pt x="162" y="282"/>
                </a:lnTo>
                <a:close/>
                <a:moveTo>
                  <a:pt x="686" y="282"/>
                </a:moveTo>
                <a:lnTo>
                  <a:pt x="686" y="282"/>
                </a:lnTo>
                <a:lnTo>
                  <a:pt x="702" y="284"/>
                </a:lnTo>
                <a:lnTo>
                  <a:pt x="718" y="288"/>
                </a:lnTo>
                <a:lnTo>
                  <a:pt x="732" y="294"/>
                </a:lnTo>
                <a:lnTo>
                  <a:pt x="746" y="300"/>
                </a:lnTo>
                <a:lnTo>
                  <a:pt x="758" y="310"/>
                </a:lnTo>
                <a:lnTo>
                  <a:pt x="768" y="322"/>
                </a:lnTo>
                <a:lnTo>
                  <a:pt x="776" y="334"/>
                </a:lnTo>
                <a:lnTo>
                  <a:pt x="784" y="348"/>
                </a:lnTo>
                <a:lnTo>
                  <a:pt x="784" y="348"/>
                </a:lnTo>
                <a:lnTo>
                  <a:pt x="788" y="348"/>
                </a:lnTo>
                <a:lnTo>
                  <a:pt x="788" y="348"/>
                </a:lnTo>
                <a:lnTo>
                  <a:pt x="804" y="350"/>
                </a:lnTo>
                <a:lnTo>
                  <a:pt x="820" y="354"/>
                </a:lnTo>
                <a:lnTo>
                  <a:pt x="834" y="362"/>
                </a:lnTo>
                <a:lnTo>
                  <a:pt x="846" y="372"/>
                </a:lnTo>
                <a:lnTo>
                  <a:pt x="856" y="384"/>
                </a:lnTo>
                <a:lnTo>
                  <a:pt x="862" y="398"/>
                </a:lnTo>
                <a:lnTo>
                  <a:pt x="868" y="412"/>
                </a:lnTo>
                <a:lnTo>
                  <a:pt x="868" y="428"/>
                </a:lnTo>
                <a:lnTo>
                  <a:pt x="868" y="428"/>
                </a:lnTo>
                <a:lnTo>
                  <a:pt x="868" y="446"/>
                </a:lnTo>
                <a:lnTo>
                  <a:pt x="862" y="460"/>
                </a:lnTo>
                <a:lnTo>
                  <a:pt x="856" y="474"/>
                </a:lnTo>
                <a:lnTo>
                  <a:pt x="846" y="486"/>
                </a:lnTo>
                <a:lnTo>
                  <a:pt x="834" y="496"/>
                </a:lnTo>
                <a:lnTo>
                  <a:pt x="820" y="504"/>
                </a:lnTo>
                <a:lnTo>
                  <a:pt x="804" y="508"/>
                </a:lnTo>
                <a:lnTo>
                  <a:pt x="788" y="510"/>
                </a:lnTo>
                <a:lnTo>
                  <a:pt x="594" y="510"/>
                </a:lnTo>
                <a:lnTo>
                  <a:pt x="594" y="510"/>
                </a:lnTo>
                <a:lnTo>
                  <a:pt x="580" y="508"/>
                </a:lnTo>
                <a:lnTo>
                  <a:pt x="568" y="506"/>
                </a:lnTo>
                <a:lnTo>
                  <a:pt x="556" y="498"/>
                </a:lnTo>
                <a:lnTo>
                  <a:pt x="546" y="490"/>
                </a:lnTo>
                <a:lnTo>
                  <a:pt x="538" y="480"/>
                </a:lnTo>
                <a:lnTo>
                  <a:pt x="532" y="468"/>
                </a:lnTo>
                <a:lnTo>
                  <a:pt x="528" y="456"/>
                </a:lnTo>
                <a:lnTo>
                  <a:pt x="526" y="442"/>
                </a:lnTo>
                <a:lnTo>
                  <a:pt x="526" y="442"/>
                </a:lnTo>
                <a:lnTo>
                  <a:pt x="528" y="430"/>
                </a:lnTo>
                <a:lnTo>
                  <a:pt x="530" y="418"/>
                </a:lnTo>
                <a:lnTo>
                  <a:pt x="536" y="408"/>
                </a:lnTo>
                <a:lnTo>
                  <a:pt x="542" y="398"/>
                </a:lnTo>
                <a:lnTo>
                  <a:pt x="552" y="390"/>
                </a:lnTo>
                <a:lnTo>
                  <a:pt x="560" y="384"/>
                </a:lnTo>
                <a:lnTo>
                  <a:pt x="572" y="378"/>
                </a:lnTo>
                <a:lnTo>
                  <a:pt x="584" y="376"/>
                </a:lnTo>
                <a:lnTo>
                  <a:pt x="584" y="376"/>
                </a:lnTo>
                <a:lnTo>
                  <a:pt x="588" y="356"/>
                </a:lnTo>
                <a:lnTo>
                  <a:pt x="594" y="340"/>
                </a:lnTo>
                <a:lnTo>
                  <a:pt x="604" y="324"/>
                </a:lnTo>
                <a:lnTo>
                  <a:pt x="616" y="310"/>
                </a:lnTo>
                <a:lnTo>
                  <a:pt x="632" y="298"/>
                </a:lnTo>
                <a:lnTo>
                  <a:pt x="648" y="290"/>
                </a:lnTo>
                <a:lnTo>
                  <a:pt x="668" y="284"/>
                </a:lnTo>
                <a:lnTo>
                  <a:pt x="686" y="282"/>
                </a:lnTo>
                <a:lnTo>
                  <a:pt x="686" y="282"/>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194" name="Rounded Rectangle 14"/>
          <p:cNvSpPr/>
          <p:nvPr/>
        </p:nvSpPr>
        <p:spPr bwMode="white">
          <a:xfrm>
            <a:off x="319899" y="3521421"/>
            <a:ext cx="7200621" cy="820847"/>
          </a:xfrm>
          <a:prstGeom prst="roundRect">
            <a:avLst>
              <a:gd name="adj" fmla="val 6216"/>
            </a:avLst>
          </a:prstGeom>
          <a:solidFill>
            <a:schemeClr val="accent1">
              <a:lumMod val="50000"/>
            </a:schemeClr>
          </a:solidFill>
          <a:ln>
            <a:noFill/>
            <a:headEnd type="none" w="med" len="med"/>
            <a:tailEnd type="none" w="med" len="med"/>
          </a:ln>
          <a:effectLst>
            <a:outerShdw blurRad="40000" dist="23000" dir="5400000" rotWithShape="0">
              <a:srgbClr val="000000">
                <a:alpha val="35000"/>
              </a:srgbClr>
            </a:outerShdw>
          </a:effectLst>
          <a:scene3d>
            <a:camera prst="orthographicFront" fov="0">
              <a:rot lat="0" lon="0" rev="0"/>
            </a:camera>
            <a:lightRig rig="soft" dir="tl">
              <a:rot lat="0" lon="0" rev="20000000"/>
            </a:lightRig>
          </a:scene3d>
          <a:sp3d prstMaterial="matte"/>
        </p:spPr>
        <p:txBody>
          <a:bodyPr vert="horz" wrap="square" lIns="68568" tIns="34284" rIns="68568" bIns="34284" numCol="1" rtlCol="0" anchor="ctr" anchorCtr="0" compatLnSpc="1">
            <a:prstTxWarp prst="textNoShape">
              <a:avLst/>
            </a:prstTxWarp>
          </a:bodyPr>
          <a:lstStyle/>
          <a:p>
            <a:pPr algn="ctr" defTabSz="685454">
              <a:defRPr/>
            </a:pPr>
            <a:endParaRPr lang="en-US" sz="1350" kern="0" dirty="0">
              <a:gradFill>
                <a:gsLst>
                  <a:gs pos="0">
                    <a:srgbClr val="FFFFFF"/>
                  </a:gs>
                  <a:gs pos="100000">
                    <a:srgbClr val="FFFFFF"/>
                  </a:gs>
                </a:gsLst>
                <a:lin ang="5400000" scaled="0"/>
              </a:gradFill>
              <a:latin typeface="Microsoft PhagsPa" pitchFamily="34" charset="0"/>
            </a:endParaRPr>
          </a:p>
        </p:txBody>
      </p:sp>
      <p:sp>
        <p:nvSpPr>
          <p:cNvPr id="195" name="Rectangle 6"/>
          <p:cNvSpPr/>
          <p:nvPr/>
        </p:nvSpPr>
        <p:spPr>
          <a:xfrm>
            <a:off x="457922" y="3707571"/>
            <a:ext cx="1316029" cy="392407"/>
          </a:xfrm>
          <a:prstGeom prst="rect">
            <a:avLst/>
          </a:prstGeom>
        </p:spPr>
        <p:txBody>
          <a:bodyPr wrap="square" lIns="68571" tIns="34286" rIns="68571" bIns="34286">
            <a:spAutoFit/>
          </a:bodyPr>
          <a:lstStyle/>
          <a:p>
            <a:pPr marL="0" lvl="1" algn="ctr">
              <a:tabLst>
                <a:tab pos="1371360" algn="l"/>
              </a:tabLst>
            </a:pPr>
            <a:r>
              <a:rPr lang="en-US" sz="1050" b="1" dirty="0">
                <a:solidFill>
                  <a:srgbClr val="FFC000"/>
                </a:solidFill>
                <a:latin typeface="Microsoft PhagsPa" pitchFamily="34" charset="0"/>
                <a:cs typeface="Arial" pitchFamily="34" charset="0"/>
              </a:rPr>
              <a:t>Site Level</a:t>
            </a:r>
          </a:p>
          <a:p>
            <a:pPr marL="0" lvl="1" algn="ctr">
              <a:tabLst>
                <a:tab pos="1371360" algn="l"/>
              </a:tabLst>
            </a:pPr>
            <a:r>
              <a:rPr lang="en-US" altLang="zh-CN" sz="1050" b="1" dirty="0">
                <a:solidFill>
                  <a:srgbClr val="FFC000"/>
                </a:solidFill>
                <a:latin typeface="Microsoft PhagsPa" pitchFamily="34" charset="0"/>
                <a:cs typeface="Arial" pitchFamily="34" charset="0"/>
              </a:rPr>
              <a:t>Energy relevance</a:t>
            </a:r>
          </a:p>
        </p:txBody>
      </p:sp>
      <p:grpSp>
        <p:nvGrpSpPr>
          <p:cNvPr id="196" name="组合 739"/>
          <p:cNvGrpSpPr/>
          <p:nvPr/>
        </p:nvGrpSpPr>
        <p:grpSpPr>
          <a:xfrm>
            <a:off x="2413599" y="3576275"/>
            <a:ext cx="313995" cy="420317"/>
            <a:chOff x="5862637" y="5030107"/>
            <a:chExt cx="733426" cy="961118"/>
          </a:xfrm>
          <a:solidFill>
            <a:schemeClr val="bg1"/>
          </a:solidFill>
        </p:grpSpPr>
        <p:grpSp>
          <p:nvGrpSpPr>
            <p:cNvPr id="197" name="组合 306"/>
            <p:cNvGrpSpPr/>
            <p:nvPr/>
          </p:nvGrpSpPr>
          <p:grpSpPr>
            <a:xfrm>
              <a:off x="5886224" y="5030107"/>
              <a:ext cx="687387" cy="741363"/>
              <a:chOff x="16670338" y="3752850"/>
              <a:chExt cx="687387" cy="741363"/>
            </a:xfrm>
            <a:grpFill/>
          </p:grpSpPr>
          <p:sp>
            <p:nvSpPr>
              <p:cNvPr id="203" name="Freeform 120"/>
              <p:cNvSpPr>
                <a:spLocks/>
              </p:cNvSpPr>
              <p:nvPr/>
            </p:nvSpPr>
            <p:spPr bwMode="auto">
              <a:xfrm>
                <a:off x="17227550" y="3752850"/>
                <a:ext cx="130175" cy="419100"/>
              </a:xfrm>
              <a:custGeom>
                <a:avLst/>
                <a:gdLst/>
                <a:ahLst/>
                <a:cxnLst>
                  <a:cxn ang="0">
                    <a:pos x="4" y="229"/>
                  </a:cxn>
                  <a:cxn ang="0">
                    <a:pos x="4" y="229"/>
                  </a:cxn>
                  <a:cxn ang="0">
                    <a:pos x="26" y="207"/>
                  </a:cxn>
                  <a:cxn ang="0">
                    <a:pos x="38" y="186"/>
                  </a:cxn>
                  <a:cxn ang="0">
                    <a:pos x="43" y="160"/>
                  </a:cxn>
                  <a:cxn ang="0">
                    <a:pos x="47" y="129"/>
                  </a:cxn>
                  <a:cxn ang="0">
                    <a:pos x="47" y="129"/>
                  </a:cxn>
                  <a:cxn ang="0">
                    <a:pos x="43" y="103"/>
                  </a:cxn>
                  <a:cxn ang="0">
                    <a:pos x="38" y="77"/>
                  </a:cxn>
                  <a:cxn ang="0">
                    <a:pos x="26" y="52"/>
                  </a:cxn>
                  <a:cxn ang="0">
                    <a:pos x="4" y="30"/>
                  </a:cxn>
                  <a:cxn ang="0">
                    <a:pos x="4" y="30"/>
                  </a:cxn>
                  <a:cxn ang="0">
                    <a:pos x="0" y="26"/>
                  </a:cxn>
                  <a:cxn ang="0">
                    <a:pos x="0" y="17"/>
                  </a:cxn>
                  <a:cxn ang="0">
                    <a:pos x="0" y="13"/>
                  </a:cxn>
                  <a:cxn ang="0">
                    <a:pos x="4" y="4"/>
                  </a:cxn>
                  <a:cxn ang="0">
                    <a:pos x="4" y="4"/>
                  </a:cxn>
                  <a:cxn ang="0">
                    <a:pos x="13" y="0"/>
                  </a:cxn>
                  <a:cxn ang="0">
                    <a:pos x="17" y="0"/>
                  </a:cxn>
                  <a:cxn ang="0">
                    <a:pos x="26" y="0"/>
                  </a:cxn>
                  <a:cxn ang="0">
                    <a:pos x="30" y="4"/>
                  </a:cxn>
                  <a:cxn ang="0">
                    <a:pos x="30" y="4"/>
                  </a:cxn>
                  <a:cxn ang="0">
                    <a:pos x="56" y="34"/>
                  </a:cxn>
                  <a:cxn ang="0">
                    <a:pos x="69" y="64"/>
                  </a:cxn>
                  <a:cxn ang="0">
                    <a:pos x="82" y="95"/>
                  </a:cxn>
                  <a:cxn ang="0">
                    <a:pos x="82" y="129"/>
                  </a:cxn>
                  <a:cxn ang="0">
                    <a:pos x="82" y="164"/>
                  </a:cxn>
                  <a:cxn ang="0">
                    <a:pos x="69" y="199"/>
                  </a:cxn>
                  <a:cxn ang="0">
                    <a:pos x="56" y="229"/>
                  </a:cxn>
                  <a:cxn ang="0">
                    <a:pos x="30" y="255"/>
                  </a:cxn>
                  <a:cxn ang="0">
                    <a:pos x="30" y="255"/>
                  </a:cxn>
                  <a:cxn ang="0">
                    <a:pos x="26" y="259"/>
                  </a:cxn>
                  <a:cxn ang="0">
                    <a:pos x="17" y="264"/>
                  </a:cxn>
                  <a:cxn ang="0">
                    <a:pos x="13" y="259"/>
                  </a:cxn>
                  <a:cxn ang="0">
                    <a:pos x="4" y="255"/>
                  </a:cxn>
                  <a:cxn ang="0">
                    <a:pos x="4" y="255"/>
                  </a:cxn>
                  <a:cxn ang="0">
                    <a:pos x="0" y="251"/>
                  </a:cxn>
                  <a:cxn ang="0">
                    <a:pos x="0" y="242"/>
                  </a:cxn>
                  <a:cxn ang="0">
                    <a:pos x="0" y="238"/>
                  </a:cxn>
                  <a:cxn ang="0">
                    <a:pos x="4" y="229"/>
                  </a:cxn>
                  <a:cxn ang="0">
                    <a:pos x="4" y="229"/>
                  </a:cxn>
                </a:cxnLst>
                <a:rect l="0" t="0" r="r" b="b"/>
                <a:pathLst>
                  <a:path w="82" h="264">
                    <a:moveTo>
                      <a:pt x="4" y="229"/>
                    </a:moveTo>
                    <a:lnTo>
                      <a:pt x="4" y="229"/>
                    </a:lnTo>
                    <a:lnTo>
                      <a:pt x="26" y="207"/>
                    </a:lnTo>
                    <a:lnTo>
                      <a:pt x="38" y="186"/>
                    </a:lnTo>
                    <a:lnTo>
                      <a:pt x="43" y="160"/>
                    </a:lnTo>
                    <a:lnTo>
                      <a:pt x="47" y="129"/>
                    </a:lnTo>
                    <a:lnTo>
                      <a:pt x="47" y="129"/>
                    </a:lnTo>
                    <a:lnTo>
                      <a:pt x="43" y="103"/>
                    </a:lnTo>
                    <a:lnTo>
                      <a:pt x="38" y="77"/>
                    </a:lnTo>
                    <a:lnTo>
                      <a:pt x="26" y="52"/>
                    </a:lnTo>
                    <a:lnTo>
                      <a:pt x="4" y="30"/>
                    </a:lnTo>
                    <a:lnTo>
                      <a:pt x="4" y="30"/>
                    </a:lnTo>
                    <a:lnTo>
                      <a:pt x="0" y="26"/>
                    </a:lnTo>
                    <a:lnTo>
                      <a:pt x="0" y="17"/>
                    </a:lnTo>
                    <a:lnTo>
                      <a:pt x="0" y="13"/>
                    </a:lnTo>
                    <a:lnTo>
                      <a:pt x="4" y="4"/>
                    </a:lnTo>
                    <a:lnTo>
                      <a:pt x="4" y="4"/>
                    </a:lnTo>
                    <a:lnTo>
                      <a:pt x="13" y="0"/>
                    </a:lnTo>
                    <a:lnTo>
                      <a:pt x="17" y="0"/>
                    </a:lnTo>
                    <a:lnTo>
                      <a:pt x="26" y="0"/>
                    </a:lnTo>
                    <a:lnTo>
                      <a:pt x="30" y="4"/>
                    </a:lnTo>
                    <a:lnTo>
                      <a:pt x="30" y="4"/>
                    </a:lnTo>
                    <a:lnTo>
                      <a:pt x="56" y="34"/>
                    </a:lnTo>
                    <a:lnTo>
                      <a:pt x="69" y="64"/>
                    </a:lnTo>
                    <a:lnTo>
                      <a:pt x="82" y="95"/>
                    </a:lnTo>
                    <a:lnTo>
                      <a:pt x="82" y="129"/>
                    </a:lnTo>
                    <a:lnTo>
                      <a:pt x="82" y="164"/>
                    </a:lnTo>
                    <a:lnTo>
                      <a:pt x="69" y="199"/>
                    </a:lnTo>
                    <a:lnTo>
                      <a:pt x="56" y="229"/>
                    </a:lnTo>
                    <a:lnTo>
                      <a:pt x="30" y="255"/>
                    </a:lnTo>
                    <a:lnTo>
                      <a:pt x="30" y="255"/>
                    </a:lnTo>
                    <a:lnTo>
                      <a:pt x="26" y="259"/>
                    </a:lnTo>
                    <a:lnTo>
                      <a:pt x="17" y="264"/>
                    </a:lnTo>
                    <a:lnTo>
                      <a:pt x="13" y="259"/>
                    </a:lnTo>
                    <a:lnTo>
                      <a:pt x="4" y="255"/>
                    </a:lnTo>
                    <a:lnTo>
                      <a:pt x="4" y="255"/>
                    </a:lnTo>
                    <a:lnTo>
                      <a:pt x="0" y="251"/>
                    </a:lnTo>
                    <a:lnTo>
                      <a:pt x="0" y="242"/>
                    </a:lnTo>
                    <a:lnTo>
                      <a:pt x="0" y="238"/>
                    </a:lnTo>
                    <a:lnTo>
                      <a:pt x="4" y="229"/>
                    </a:lnTo>
                    <a:lnTo>
                      <a:pt x="4" y="229"/>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04" name="Freeform 121"/>
              <p:cNvSpPr>
                <a:spLocks/>
              </p:cNvSpPr>
              <p:nvPr/>
            </p:nvSpPr>
            <p:spPr bwMode="auto">
              <a:xfrm>
                <a:off x="17165638" y="3814762"/>
                <a:ext cx="109537" cy="295275"/>
              </a:xfrm>
              <a:custGeom>
                <a:avLst/>
                <a:gdLst/>
                <a:ahLst/>
                <a:cxnLst>
                  <a:cxn ang="0">
                    <a:pos x="4" y="151"/>
                  </a:cxn>
                  <a:cxn ang="0">
                    <a:pos x="4" y="151"/>
                  </a:cxn>
                  <a:cxn ang="0">
                    <a:pos x="17" y="138"/>
                  </a:cxn>
                  <a:cxn ang="0">
                    <a:pos x="26" y="125"/>
                  </a:cxn>
                  <a:cxn ang="0">
                    <a:pos x="30" y="108"/>
                  </a:cxn>
                  <a:cxn ang="0">
                    <a:pos x="30" y="90"/>
                  </a:cxn>
                  <a:cxn ang="0">
                    <a:pos x="30" y="77"/>
                  </a:cxn>
                  <a:cxn ang="0">
                    <a:pos x="26" y="60"/>
                  </a:cxn>
                  <a:cxn ang="0">
                    <a:pos x="17" y="43"/>
                  </a:cxn>
                  <a:cxn ang="0">
                    <a:pos x="4" y="30"/>
                  </a:cxn>
                  <a:cxn ang="0">
                    <a:pos x="4" y="30"/>
                  </a:cxn>
                  <a:cxn ang="0">
                    <a:pos x="0" y="25"/>
                  </a:cxn>
                  <a:cxn ang="0">
                    <a:pos x="0" y="17"/>
                  </a:cxn>
                  <a:cxn ang="0">
                    <a:pos x="0" y="13"/>
                  </a:cxn>
                  <a:cxn ang="0">
                    <a:pos x="4" y="4"/>
                  </a:cxn>
                  <a:cxn ang="0">
                    <a:pos x="4" y="4"/>
                  </a:cxn>
                  <a:cxn ang="0">
                    <a:pos x="13" y="0"/>
                  </a:cxn>
                  <a:cxn ang="0">
                    <a:pos x="17" y="0"/>
                  </a:cxn>
                  <a:cxn ang="0">
                    <a:pos x="26" y="0"/>
                  </a:cxn>
                  <a:cxn ang="0">
                    <a:pos x="30" y="4"/>
                  </a:cxn>
                  <a:cxn ang="0">
                    <a:pos x="30" y="4"/>
                  </a:cxn>
                  <a:cxn ang="0">
                    <a:pos x="47" y="25"/>
                  </a:cxn>
                  <a:cxn ang="0">
                    <a:pos x="56" y="47"/>
                  </a:cxn>
                  <a:cxn ang="0">
                    <a:pos x="65" y="69"/>
                  </a:cxn>
                  <a:cxn ang="0">
                    <a:pos x="69" y="90"/>
                  </a:cxn>
                  <a:cxn ang="0">
                    <a:pos x="65" y="116"/>
                  </a:cxn>
                  <a:cxn ang="0">
                    <a:pos x="56" y="138"/>
                  </a:cxn>
                  <a:cxn ang="0">
                    <a:pos x="47" y="160"/>
                  </a:cxn>
                  <a:cxn ang="0">
                    <a:pos x="30" y="177"/>
                  </a:cxn>
                  <a:cxn ang="0">
                    <a:pos x="30" y="177"/>
                  </a:cxn>
                  <a:cxn ang="0">
                    <a:pos x="26" y="181"/>
                  </a:cxn>
                  <a:cxn ang="0">
                    <a:pos x="17" y="186"/>
                  </a:cxn>
                  <a:cxn ang="0">
                    <a:pos x="13" y="181"/>
                  </a:cxn>
                  <a:cxn ang="0">
                    <a:pos x="4" y="177"/>
                  </a:cxn>
                  <a:cxn ang="0">
                    <a:pos x="4" y="177"/>
                  </a:cxn>
                  <a:cxn ang="0">
                    <a:pos x="0" y="173"/>
                  </a:cxn>
                  <a:cxn ang="0">
                    <a:pos x="0" y="164"/>
                  </a:cxn>
                  <a:cxn ang="0">
                    <a:pos x="0" y="160"/>
                  </a:cxn>
                  <a:cxn ang="0">
                    <a:pos x="4" y="151"/>
                  </a:cxn>
                  <a:cxn ang="0">
                    <a:pos x="4" y="151"/>
                  </a:cxn>
                </a:cxnLst>
                <a:rect l="0" t="0" r="r" b="b"/>
                <a:pathLst>
                  <a:path w="69" h="186">
                    <a:moveTo>
                      <a:pt x="4" y="151"/>
                    </a:moveTo>
                    <a:lnTo>
                      <a:pt x="4" y="151"/>
                    </a:lnTo>
                    <a:lnTo>
                      <a:pt x="17" y="138"/>
                    </a:lnTo>
                    <a:lnTo>
                      <a:pt x="26" y="125"/>
                    </a:lnTo>
                    <a:lnTo>
                      <a:pt x="30" y="108"/>
                    </a:lnTo>
                    <a:lnTo>
                      <a:pt x="30" y="90"/>
                    </a:lnTo>
                    <a:lnTo>
                      <a:pt x="30" y="77"/>
                    </a:lnTo>
                    <a:lnTo>
                      <a:pt x="26" y="60"/>
                    </a:lnTo>
                    <a:lnTo>
                      <a:pt x="17" y="43"/>
                    </a:lnTo>
                    <a:lnTo>
                      <a:pt x="4" y="30"/>
                    </a:lnTo>
                    <a:lnTo>
                      <a:pt x="4" y="30"/>
                    </a:lnTo>
                    <a:lnTo>
                      <a:pt x="0" y="25"/>
                    </a:lnTo>
                    <a:lnTo>
                      <a:pt x="0" y="17"/>
                    </a:lnTo>
                    <a:lnTo>
                      <a:pt x="0" y="13"/>
                    </a:lnTo>
                    <a:lnTo>
                      <a:pt x="4" y="4"/>
                    </a:lnTo>
                    <a:lnTo>
                      <a:pt x="4" y="4"/>
                    </a:lnTo>
                    <a:lnTo>
                      <a:pt x="13" y="0"/>
                    </a:lnTo>
                    <a:lnTo>
                      <a:pt x="17" y="0"/>
                    </a:lnTo>
                    <a:lnTo>
                      <a:pt x="26" y="0"/>
                    </a:lnTo>
                    <a:lnTo>
                      <a:pt x="30" y="4"/>
                    </a:lnTo>
                    <a:lnTo>
                      <a:pt x="30" y="4"/>
                    </a:lnTo>
                    <a:lnTo>
                      <a:pt x="47" y="25"/>
                    </a:lnTo>
                    <a:lnTo>
                      <a:pt x="56" y="47"/>
                    </a:lnTo>
                    <a:lnTo>
                      <a:pt x="65" y="69"/>
                    </a:lnTo>
                    <a:lnTo>
                      <a:pt x="69" y="90"/>
                    </a:lnTo>
                    <a:lnTo>
                      <a:pt x="65" y="116"/>
                    </a:lnTo>
                    <a:lnTo>
                      <a:pt x="56" y="138"/>
                    </a:lnTo>
                    <a:lnTo>
                      <a:pt x="47" y="160"/>
                    </a:lnTo>
                    <a:lnTo>
                      <a:pt x="30" y="177"/>
                    </a:lnTo>
                    <a:lnTo>
                      <a:pt x="30" y="177"/>
                    </a:lnTo>
                    <a:lnTo>
                      <a:pt x="26" y="181"/>
                    </a:lnTo>
                    <a:lnTo>
                      <a:pt x="17" y="186"/>
                    </a:lnTo>
                    <a:lnTo>
                      <a:pt x="13" y="181"/>
                    </a:lnTo>
                    <a:lnTo>
                      <a:pt x="4" y="177"/>
                    </a:lnTo>
                    <a:lnTo>
                      <a:pt x="4" y="177"/>
                    </a:lnTo>
                    <a:lnTo>
                      <a:pt x="0" y="173"/>
                    </a:lnTo>
                    <a:lnTo>
                      <a:pt x="0" y="164"/>
                    </a:lnTo>
                    <a:lnTo>
                      <a:pt x="0" y="160"/>
                    </a:lnTo>
                    <a:lnTo>
                      <a:pt x="4" y="151"/>
                    </a:lnTo>
                    <a:lnTo>
                      <a:pt x="4" y="151"/>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05" name="Freeform 122"/>
              <p:cNvSpPr>
                <a:spLocks/>
              </p:cNvSpPr>
              <p:nvPr/>
            </p:nvSpPr>
            <p:spPr bwMode="auto">
              <a:xfrm>
                <a:off x="16711613" y="3752850"/>
                <a:ext cx="130175" cy="419100"/>
              </a:xfrm>
              <a:custGeom>
                <a:avLst/>
                <a:gdLst/>
                <a:ahLst/>
                <a:cxnLst>
                  <a:cxn ang="0">
                    <a:pos x="78" y="30"/>
                  </a:cxn>
                  <a:cxn ang="0">
                    <a:pos x="78" y="30"/>
                  </a:cxn>
                  <a:cxn ang="0">
                    <a:pos x="61" y="52"/>
                  </a:cxn>
                  <a:cxn ang="0">
                    <a:pos x="48" y="77"/>
                  </a:cxn>
                  <a:cxn ang="0">
                    <a:pos x="39" y="103"/>
                  </a:cxn>
                  <a:cxn ang="0">
                    <a:pos x="35" y="129"/>
                  </a:cxn>
                  <a:cxn ang="0">
                    <a:pos x="35" y="129"/>
                  </a:cxn>
                  <a:cxn ang="0">
                    <a:pos x="39" y="160"/>
                  </a:cxn>
                  <a:cxn ang="0">
                    <a:pos x="48" y="186"/>
                  </a:cxn>
                  <a:cxn ang="0">
                    <a:pos x="61" y="207"/>
                  </a:cxn>
                  <a:cxn ang="0">
                    <a:pos x="78" y="229"/>
                  </a:cxn>
                  <a:cxn ang="0">
                    <a:pos x="78" y="229"/>
                  </a:cxn>
                  <a:cxn ang="0">
                    <a:pos x="82" y="238"/>
                  </a:cxn>
                  <a:cxn ang="0">
                    <a:pos x="82" y="242"/>
                  </a:cxn>
                  <a:cxn ang="0">
                    <a:pos x="82" y="251"/>
                  </a:cxn>
                  <a:cxn ang="0">
                    <a:pos x="78" y="255"/>
                  </a:cxn>
                  <a:cxn ang="0">
                    <a:pos x="78" y="255"/>
                  </a:cxn>
                  <a:cxn ang="0">
                    <a:pos x="74" y="259"/>
                  </a:cxn>
                  <a:cxn ang="0">
                    <a:pos x="65" y="264"/>
                  </a:cxn>
                  <a:cxn ang="0">
                    <a:pos x="61" y="259"/>
                  </a:cxn>
                  <a:cxn ang="0">
                    <a:pos x="52" y="255"/>
                  </a:cxn>
                  <a:cxn ang="0">
                    <a:pos x="52" y="255"/>
                  </a:cxn>
                  <a:cxn ang="0">
                    <a:pos x="30" y="229"/>
                  </a:cxn>
                  <a:cxn ang="0">
                    <a:pos x="13" y="199"/>
                  </a:cxn>
                  <a:cxn ang="0">
                    <a:pos x="4" y="164"/>
                  </a:cxn>
                  <a:cxn ang="0">
                    <a:pos x="0" y="129"/>
                  </a:cxn>
                  <a:cxn ang="0">
                    <a:pos x="4" y="95"/>
                  </a:cxn>
                  <a:cxn ang="0">
                    <a:pos x="13" y="64"/>
                  </a:cxn>
                  <a:cxn ang="0">
                    <a:pos x="30" y="34"/>
                  </a:cxn>
                  <a:cxn ang="0">
                    <a:pos x="52" y="4"/>
                  </a:cxn>
                  <a:cxn ang="0">
                    <a:pos x="52" y="4"/>
                  </a:cxn>
                  <a:cxn ang="0">
                    <a:pos x="61" y="0"/>
                  </a:cxn>
                  <a:cxn ang="0">
                    <a:pos x="65" y="0"/>
                  </a:cxn>
                  <a:cxn ang="0">
                    <a:pos x="74" y="0"/>
                  </a:cxn>
                  <a:cxn ang="0">
                    <a:pos x="78" y="4"/>
                  </a:cxn>
                  <a:cxn ang="0">
                    <a:pos x="78" y="4"/>
                  </a:cxn>
                  <a:cxn ang="0">
                    <a:pos x="82" y="13"/>
                  </a:cxn>
                  <a:cxn ang="0">
                    <a:pos x="82" y="17"/>
                  </a:cxn>
                  <a:cxn ang="0">
                    <a:pos x="82" y="26"/>
                  </a:cxn>
                  <a:cxn ang="0">
                    <a:pos x="78" y="30"/>
                  </a:cxn>
                  <a:cxn ang="0">
                    <a:pos x="78" y="30"/>
                  </a:cxn>
                </a:cxnLst>
                <a:rect l="0" t="0" r="r" b="b"/>
                <a:pathLst>
                  <a:path w="82" h="264">
                    <a:moveTo>
                      <a:pt x="78" y="30"/>
                    </a:moveTo>
                    <a:lnTo>
                      <a:pt x="78" y="30"/>
                    </a:lnTo>
                    <a:lnTo>
                      <a:pt x="61" y="52"/>
                    </a:lnTo>
                    <a:lnTo>
                      <a:pt x="48" y="77"/>
                    </a:lnTo>
                    <a:lnTo>
                      <a:pt x="39" y="103"/>
                    </a:lnTo>
                    <a:lnTo>
                      <a:pt x="35" y="129"/>
                    </a:lnTo>
                    <a:lnTo>
                      <a:pt x="35" y="129"/>
                    </a:lnTo>
                    <a:lnTo>
                      <a:pt x="39" y="160"/>
                    </a:lnTo>
                    <a:lnTo>
                      <a:pt x="48" y="186"/>
                    </a:lnTo>
                    <a:lnTo>
                      <a:pt x="61" y="207"/>
                    </a:lnTo>
                    <a:lnTo>
                      <a:pt x="78" y="229"/>
                    </a:lnTo>
                    <a:lnTo>
                      <a:pt x="78" y="229"/>
                    </a:lnTo>
                    <a:lnTo>
                      <a:pt x="82" y="238"/>
                    </a:lnTo>
                    <a:lnTo>
                      <a:pt x="82" y="242"/>
                    </a:lnTo>
                    <a:lnTo>
                      <a:pt x="82" y="251"/>
                    </a:lnTo>
                    <a:lnTo>
                      <a:pt x="78" y="255"/>
                    </a:lnTo>
                    <a:lnTo>
                      <a:pt x="78" y="255"/>
                    </a:lnTo>
                    <a:lnTo>
                      <a:pt x="74" y="259"/>
                    </a:lnTo>
                    <a:lnTo>
                      <a:pt x="65" y="264"/>
                    </a:lnTo>
                    <a:lnTo>
                      <a:pt x="61" y="259"/>
                    </a:lnTo>
                    <a:lnTo>
                      <a:pt x="52" y="255"/>
                    </a:lnTo>
                    <a:lnTo>
                      <a:pt x="52" y="255"/>
                    </a:lnTo>
                    <a:lnTo>
                      <a:pt x="30" y="229"/>
                    </a:lnTo>
                    <a:lnTo>
                      <a:pt x="13" y="199"/>
                    </a:lnTo>
                    <a:lnTo>
                      <a:pt x="4" y="164"/>
                    </a:lnTo>
                    <a:lnTo>
                      <a:pt x="0" y="129"/>
                    </a:lnTo>
                    <a:lnTo>
                      <a:pt x="4" y="95"/>
                    </a:lnTo>
                    <a:lnTo>
                      <a:pt x="13" y="64"/>
                    </a:lnTo>
                    <a:lnTo>
                      <a:pt x="30" y="34"/>
                    </a:lnTo>
                    <a:lnTo>
                      <a:pt x="52" y="4"/>
                    </a:lnTo>
                    <a:lnTo>
                      <a:pt x="52" y="4"/>
                    </a:lnTo>
                    <a:lnTo>
                      <a:pt x="61" y="0"/>
                    </a:lnTo>
                    <a:lnTo>
                      <a:pt x="65" y="0"/>
                    </a:lnTo>
                    <a:lnTo>
                      <a:pt x="74" y="0"/>
                    </a:lnTo>
                    <a:lnTo>
                      <a:pt x="78" y="4"/>
                    </a:lnTo>
                    <a:lnTo>
                      <a:pt x="78" y="4"/>
                    </a:lnTo>
                    <a:lnTo>
                      <a:pt x="82" y="13"/>
                    </a:lnTo>
                    <a:lnTo>
                      <a:pt x="82" y="17"/>
                    </a:lnTo>
                    <a:lnTo>
                      <a:pt x="82" y="26"/>
                    </a:lnTo>
                    <a:lnTo>
                      <a:pt x="78" y="30"/>
                    </a:lnTo>
                    <a:lnTo>
                      <a:pt x="78" y="3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06" name="Freeform 123"/>
              <p:cNvSpPr>
                <a:spLocks/>
              </p:cNvSpPr>
              <p:nvPr/>
            </p:nvSpPr>
            <p:spPr bwMode="auto">
              <a:xfrm>
                <a:off x="16800513" y="3814762"/>
                <a:ext cx="103187" cy="295275"/>
              </a:xfrm>
              <a:custGeom>
                <a:avLst/>
                <a:gdLst/>
                <a:ahLst/>
                <a:cxnLst>
                  <a:cxn ang="0">
                    <a:pos x="61" y="30"/>
                  </a:cxn>
                  <a:cxn ang="0">
                    <a:pos x="61" y="30"/>
                  </a:cxn>
                  <a:cxn ang="0">
                    <a:pos x="52" y="43"/>
                  </a:cxn>
                  <a:cxn ang="0">
                    <a:pos x="43" y="60"/>
                  </a:cxn>
                  <a:cxn ang="0">
                    <a:pos x="39" y="77"/>
                  </a:cxn>
                  <a:cxn ang="0">
                    <a:pos x="35" y="90"/>
                  </a:cxn>
                  <a:cxn ang="0">
                    <a:pos x="39" y="108"/>
                  </a:cxn>
                  <a:cxn ang="0">
                    <a:pos x="43" y="125"/>
                  </a:cxn>
                  <a:cxn ang="0">
                    <a:pos x="52" y="138"/>
                  </a:cxn>
                  <a:cxn ang="0">
                    <a:pos x="61" y="151"/>
                  </a:cxn>
                  <a:cxn ang="0">
                    <a:pos x="61" y="151"/>
                  </a:cxn>
                  <a:cxn ang="0">
                    <a:pos x="65" y="160"/>
                  </a:cxn>
                  <a:cxn ang="0">
                    <a:pos x="65" y="164"/>
                  </a:cxn>
                  <a:cxn ang="0">
                    <a:pos x="65" y="173"/>
                  </a:cxn>
                  <a:cxn ang="0">
                    <a:pos x="61" y="177"/>
                  </a:cxn>
                  <a:cxn ang="0">
                    <a:pos x="61" y="177"/>
                  </a:cxn>
                  <a:cxn ang="0">
                    <a:pos x="56" y="181"/>
                  </a:cxn>
                  <a:cxn ang="0">
                    <a:pos x="48" y="186"/>
                  </a:cxn>
                  <a:cxn ang="0">
                    <a:pos x="43" y="181"/>
                  </a:cxn>
                  <a:cxn ang="0">
                    <a:pos x="35" y="177"/>
                  </a:cxn>
                  <a:cxn ang="0">
                    <a:pos x="35" y="177"/>
                  </a:cxn>
                  <a:cxn ang="0">
                    <a:pos x="22" y="160"/>
                  </a:cxn>
                  <a:cxn ang="0">
                    <a:pos x="9" y="138"/>
                  </a:cxn>
                  <a:cxn ang="0">
                    <a:pos x="0" y="116"/>
                  </a:cxn>
                  <a:cxn ang="0">
                    <a:pos x="0" y="90"/>
                  </a:cxn>
                  <a:cxn ang="0">
                    <a:pos x="0" y="69"/>
                  </a:cxn>
                  <a:cxn ang="0">
                    <a:pos x="9" y="47"/>
                  </a:cxn>
                  <a:cxn ang="0">
                    <a:pos x="22" y="25"/>
                  </a:cxn>
                  <a:cxn ang="0">
                    <a:pos x="35" y="4"/>
                  </a:cxn>
                  <a:cxn ang="0">
                    <a:pos x="35" y="4"/>
                  </a:cxn>
                  <a:cxn ang="0">
                    <a:pos x="43" y="0"/>
                  </a:cxn>
                  <a:cxn ang="0">
                    <a:pos x="48" y="0"/>
                  </a:cxn>
                  <a:cxn ang="0">
                    <a:pos x="56" y="0"/>
                  </a:cxn>
                  <a:cxn ang="0">
                    <a:pos x="61" y="4"/>
                  </a:cxn>
                  <a:cxn ang="0">
                    <a:pos x="61" y="4"/>
                  </a:cxn>
                  <a:cxn ang="0">
                    <a:pos x="65" y="13"/>
                  </a:cxn>
                  <a:cxn ang="0">
                    <a:pos x="65" y="17"/>
                  </a:cxn>
                  <a:cxn ang="0">
                    <a:pos x="65" y="25"/>
                  </a:cxn>
                  <a:cxn ang="0">
                    <a:pos x="61" y="30"/>
                  </a:cxn>
                  <a:cxn ang="0">
                    <a:pos x="61" y="30"/>
                  </a:cxn>
                </a:cxnLst>
                <a:rect l="0" t="0" r="r" b="b"/>
                <a:pathLst>
                  <a:path w="65" h="186">
                    <a:moveTo>
                      <a:pt x="61" y="30"/>
                    </a:moveTo>
                    <a:lnTo>
                      <a:pt x="61" y="30"/>
                    </a:lnTo>
                    <a:lnTo>
                      <a:pt x="52" y="43"/>
                    </a:lnTo>
                    <a:lnTo>
                      <a:pt x="43" y="60"/>
                    </a:lnTo>
                    <a:lnTo>
                      <a:pt x="39" y="77"/>
                    </a:lnTo>
                    <a:lnTo>
                      <a:pt x="35" y="90"/>
                    </a:lnTo>
                    <a:lnTo>
                      <a:pt x="39" y="108"/>
                    </a:lnTo>
                    <a:lnTo>
                      <a:pt x="43" y="125"/>
                    </a:lnTo>
                    <a:lnTo>
                      <a:pt x="52" y="138"/>
                    </a:lnTo>
                    <a:lnTo>
                      <a:pt x="61" y="151"/>
                    </a:lnTo>
                    <a:lnTo>
                      <a:pt x="61" y="151"/>
                    </a:lnTo>
                    <a:lnTo>
                      <a:pt x="65" y="160"/>
                    </a:lnTo>
                    <a:lnTo>
                      <a:pt x="65" y="164"/>
                    </a:lnTo>
                    <a:lnTo>
                      <a:pt x="65" y="173"/>
                    </a:lnTo>
                    <a:lnTo>
                      <a:pt x="61" y="177"/>
                    </a:lnTo>
                    <a:lnTo>
                      <a:pt x="61" y="177"/>
                    </a:lnTo>
                    <a:lnTo>
                      <a:pt x="56" y="181"/>
                    </a:lnTo>
                    <a:lnTo>
                      <a:pt x="48" y="186"/>
                    </a:lnTo>
                    <a:lnTo>
                      <a:pt x="43" y="181"/>
                    </a:lnTo>
                    <a:lnTo>
                      <a:pt x="35" y="177"/>
                    </a:lnTo>
                    <a:lnTo>
                      <a:pt x="35" y="177"/>
                    </a:lnTo>
                    <a:lnTo>
                      <a:pt x="22" y="160"/>
                    </a:lnTo>
                    <a:lnTo>
                      <a:pt x="9" y="138"/>
                    </a:lnTo>
                    <a:lnTo>
                      <a:pt x="0" y="116"/>
                    </a:lnTo>
                    <a:lnTo>
                      <a:pt x="0" y="90"/>
                    </a:lnTo>
                    <a:lnTo>
                      <a:pt x="0" y="69"/>
                    </a:lnTo>
                    <a:lnTo>
                      <a:pt x="9" y="47"/>
                    </a:lnTo>
                    <a:lnTo>
                      <a:pt x="22" y="25"/>
                    </a:lnTo>
                    <a:lnTo>
                      <a:pt x="35" y="4"/>
                    </a:lnTo>
                    <a:lnTo>
                      <a:pt x="35" y="4"/>
                    </a:lnTo>
                    <a:lnTo>
                      <a:pt x="43" y="0"/>
                    </a:lnTo>
                    <a:lnTo>
                      <a:pt x="48" y="0"/>
                    </a:lnTo>
                    <a:lnTo>
                      <a:pt x="56" y="0"/>
                    </a:lnTo>
                    <a:lnTo>
                      <a:pt x="61" y="4"/>
                    </a:lnTo>
                    <a:lnTo>
                      <a:pt x="61" y="4"/>
                    </a:lnTo>
                    <a:lnTo>
                      <a:pt x="65" y="13"/>
                    </a:lnTo>
                    <a:lnTo>
                      <a:pt x="65" y="17"/>
                    </a:lnTo>
                    <a:lnTo>
                      <a:pt x="65" y="25"/>
                    </a:lnTo>
                    <a:lnTo>
                      <a:pt x="61" y="30"/>
                    </a:lnTo>
                    <a:lnTo>
                      <a:pt x="61" y="3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07" name="Freeform 124"/>
              <p:cNvSpPr>
                <a:spLocks noEditPoints="1"/>
              </p:cNvSpPr>
              <p:nvPr/>
            </p:nvSpPr>
            <p:spPr bwMode="auto">
              <a:xfrm>
                <a:off x="16670338" y="4254500"/>
                <a:ext cx="673100" cy="239713"/>
              </a:xfrm>
              <a:custGeom>
                <a:avLst/>
                <a:gdLst/>
                <a:ahLst/>
                <a:cxnLst>
                  <a:cxn ang="0">
                    <a:pos x="415" y="0"/>
                  </a:cxn>
                  <a:cxn ang="0">
                    <a:pos x="9" y="0"/>
                  </a:cxn>
                  <a:cxn ang="0">
                    <a:pos x="9" y="0"/>
                  </a:cxn>
                  <a:cxn ang="0">
                    <a:pos x="4" y="4"/>
                  </a:cxn>
                  <a:cxn ang="0">
                    <a:pos x="0" y="8"/>
                  </a:cxn>
                  <a:cxn ang="0">
                    <a:pos x="0" y="142"/>
                  </a:cxn>
                  <a:cxn ang="0">
                    <a:pos x="0" y="142"/>
                  </a:cxn>
                  <a:cxn ang="0">
                    <a:pos x="4" y="147"/>
                  </a:cxn>
                  <a:cxn ang="0">
                    <a:pos x="9" y="151"/>
                  </a:cxn>
                  <a:cxn ang="0">
                    <a:pos x="415" y="151"/>
                  </a:cxn>
                  <a:cxn ang="0">
                    <a:pos x="415" y="151"/>
                  </a:cxn>
                  <a:cxn ang="0">
                    <a:pos x="420" y="147"/>
                  </a:cxn>
                  <a:cxn ang="0">
                    <a:pos x="424" y="142"/>
                  </a:cxn>
                  <a:cxn ang="0">
                    <a:pos x="424" y="8"/>
                  </a:cxn>
                  <a:cxn ang="0">
                    <a:pos x="424" y="8"/>
                  </a:cxn>
                  <a:cxn ang="0">
                    <a:pos x="420" y="4"/>
                  </a:cxn>
                  <a:cxn ang="0">
                    <a:pos x="415" y="0"/>
                  </a:cxn>
                  <a:cxn ang="0">
                    <a:pos x="415" y="0"/>
                  </a:cxn>
                  <a:cxn ang="0">
                    <a:pos x="78" y="103"/>
                  </a:cxn>
                  <a:cxn ang="0">
                    <a:pos x="78" y="103"/>
                  </a:cxn>
                  <a:cxn ang="0">
                    <a:pos x="61" y="103"/>
                  </a:cxn>
                  <a:cxn ang="0">
                    <a:pos x="48" y="95"/>
                  </a:cxn>
                  <a:cxn ang="0">
                    <a:pos x="39" y="86"/>
                  </a:cxn>
                  <a:cxn ang="0">
                    <a:pos x="35" y="73"/>
                  </a:cxn>
                  <a:cxn ang="0">
                    <a:pos x="35" y="73"/>
                  </a:cxn>
                  <a:cxn ang="0">
                    <a:pos x="39" y="64"/>
                  </a:cxn>
                  <a:cxn ang="0">
                    <a:pos x="48" y="56"/>
                  </a:cxn>
                  <a:cxn ang="0">
                    <a:pos x="61" y="47"/>
                  </a:cxn>
                  <a:cxn ang="0">
                    <a:pos x="78" y="47"/>
                  </a:cxn>
                  <a:cxn ang="0">
                    <a:pos x="78" y="47"/>
                  </a:cxn>
                  <a:cxn ang="0">
                    <a:pos x="95" y="47"/>
                  </a:cxn>
                  <a:cxn ang="0">
                    <a:pos x="108" y="56"/>
                  </a:cxn>
                  <a:cxn ang="0">
                    <a:pos x="117" y="64"/>
                  </a:cxn>
                  <a:cxn ang="0">
                    <a:pos x="121" y="73"/>
                  </a:cxn>
                  <a:cxn ang="0">
                    <a:pos x="121" y="73"/>
                  </a:cxn>
                  <a:cxn ang="0">
                    <a:pos x="117" y="86"/>
                  </a:cxn>
                  <a:cxn ang="0">
                    <a:pos x="108" y="95"/>
                  </a:cxn>
                  <a:cxn ang="0">
                    <a:pos x="95" y="103"/>
                  </a:cxn>
                  <a:cxn ang="0">
                    <a:pos x="78" y="103"/>
                  </a:cxn>
                  <a:cxn ang="0">
                    <a:pos x="78" y="103"/>
                  </a:cxn>
                  <a:cxn ang="0">
                    <a:pos x="389" y="86"/>
                  </a:cxn>
                  <a:cxn ang="0">
                    <a:pos x="389" y="86"/>
                  </a:cxn>
                  <a:cxn ang="0">
                    <a:pos x="385" y="95"/>
                  </a:cxn>
                  <a:cxn ang="0">
                    <a:pos x="377" y="99"/>
                  </a:cxn>
                  <a:cxn ang="0">
                    <a:pos x="195" y="99"/>
                  </a:cxn>
                  <a:cxn ang="0">
                    <a:pos x="195" y="99"/>
                  </a:cxn>
                  <a:cxn ang="0">
                    <a:pos x="186" y="95"/>
                  </a:cxn>
                  <a:cxn ang="0">
                    <a:pos x="182" y="86"/>
                  </a:cxn>
                  <a:cxn ang="0">
                    <a:pos x="182" y="64"/>
                  </a:cxn>
                  <a:cxn ang="0">
                    <a:pos x="182" y="64"/>
                  </a:cxn>
                  <a:cxn ang="0">
                    <a:pos x="186" y="56"/>
                  </a:cxn>
                  <a:cxn ang="0">
                    <a:pos x="195" y="51"/>
                  </a:cxn>
                  <a:cxn ang="0">
                    <a:pos x="377" y="51"/>
                  </a:cxn>
                  <a:cxn ang="0">
                    <a:pos x="377" y="51"/>
                  </a:cxn>
                  <a:cxn ang="0">
                    <a:pos x="385" y="56"/>
                  </a:cxn>
                  <a:cxn ang="0">
                    <a:pos x="389" y="64"/>
                  </a:cxn>
                  <a:cxn ang="0">
                    <a:pos x="389" y="86"/>
                  </a:cxn>
                </a:cxnLst>
                <a:rect l="0" t="0" r="r" b="b"/>
                <a:pathLst>
                  <a:path w="424" h="151">
                    <a:moveTo>
                      <a:pt x="415" y="0"/>
                    </a:moveTo>
                    <a:lnTo>
                      <a:pt x="9" y="0"/>
                    </a:lnTo>
                    <a:lnTo>
                      <a:pt x="9" y="0"/>
                    </a:lnTo>
                    <a:lnTo>
                      <a:pt x="4" y="4"/>
                    </a:lnTo>
                    <a:lnTo>
                      <a:pt x="0" y="8"/>
                    </a:lnTo>
                    <a:lnTo>
                      <a:pt x="0" y="142"/>
                    </a:lnTo>
                    <a:lnTo>
                      <a:pt x="0" y="142"/>
                    </a:lnTo>
                    <a:lnTo>
                      <a:pt x="4" y="147"/>
                    </a:lnTo>
                    <a:lnTo>
                      <a:pt x="9" y="151"/>
                    </a:lnTo>
                    <a:lnTo>
                      <a:pt x="415" y="151"/>
                    </a:lnTo>
                    <a:lnTo>
                      <a:pt x="415" y="151"/>
                    </a:lnTo>
                    <a:lnTo>
                      <a:pt x="420" y="147"/>
                    </a:lnTo>
                    <a:lnTo>
                      <a:pt x="424" y="142"/>
                    </a:lnTo>
                    <a:lnTo>
                      <a:pt x="424" y="8"/>
                    </a:lnTo>
                    <a:lnTo>
                      <a:pt x="424" y="8"/>
                    </a:lnTo>
                    <a:lnTo>
                      <a:pt x="420" y="4"/>
                    </a:lnTo>
                    <a:lnTo>
                      <a:pt x="415" y="0"/>
                    </a:lnTo>
                    <a:lnTo>
                      <a:pt x="415" y="0"/>
                    </a:lnTo>
                    <a:close/>
                    <a:moveTo>
                      <a:pt x="78" y="103"/>
                    </a:moveTo>
                    <a:lnTo>
                      <a:pt x="78" y="103"/>
                    </a:lnTo>
                    <a:lnTo>
                      <a:pt x="61" y="103"/>
                    </a:lnTo>
                    <a:lnTo>
                      <a:pt x="48" y="95"/>
                    </a:lnTo>
                    <a:lnTo>
                      <a:pt x="39" y="86"/>
                    </a:lnTo>
                    <a:lnTo>
                      <a:pt x="35" y="73"/>
                    </a:lnTo>
                    <a:lnTo>
                      <a:pt x="35" y="73"/>
                    </a:lnTo>
                    <a:lnTo>
                      <a:pt x="39" y="64"/>
                    </a:lnTo>
                    <a:lnTo>
                      <a:pt x="48" y="56"/>
                    </a:lnTo>
                    <a:lnTo>
                      <a:pt x="61" y="47"/>
                    </a:lnTo>
                    <a:lnTo>
                      <a:pt x="78" y="47"/>
                    </a:lnTo>
                    <a:lnTo>
                      <a:pt x="78" y="47"/>
                    </a:lnTo>
                    <a:lnTo>
                      <a:pt x="95" y="47"/>
                    </a:lnTo>
                    <a:lnTo>
                      <a:pt x="108" y="56"/>
                    </a:lnTo>
                    <a:lnTo>
                      <a:pt x="117" y="64"/>
                    </a:lnTo>
                    <a:lnTo>
                      <a:pt x="121" y="73"/>
                    </a:lnTo>
                    <a:lnTo>
                      <a:pt x="121" y="73"/>
                    </a:lnTo>
                    <a:lnTo>
                      <a:pt x="117" y="86"/>
                    </a:lnTo>
                    <a:lnTo>
                      <a:pt x="108" y="95"/>
                    </a:lnTo>
                    <a:lnTo>
                      <a:pt x="95" y="103"/>
                    </a:lnTo>
                    <a:lnTo>
                      <a:pt x="78" y="103"/>
                    </a:lnTo>
                    <a:lnTo>
                      <a:pt x="78" y="103"/>
                    </a:lnTo>
                    <a:close/>
                    <a:moveTo>
                      <a:pt x="389" y="86"/>
                    </a:moveTo>
                    <a:lnTo>
                      <a:pt x="389" y="86"/>
                    </a:lnTo>
                    <a:lnTo>
                      <a:pt x="385" y="95"/>
                    </a:lnTo>
                    <a:lnTo>
                      <a:pt x="377" y="99"/>
                    </a:lnTo>
                    <a:lnTo>
                      <a:pt x="195" y="99"/>
                    </a:lnTo>
                    <a:lnTo>
                      <a:pt x="195" y="99"/>
                    </a:lnTo>
                    <a:lnTo>
                      <a:pt x="186" y="95"/>
                    </a:lnTo>
                    <a:lnTo>
                      <a:pt x="182" y="86"/>
                    </a:lnTo>
                    <a:lnTo>
                      <a:pt x="182" y="64"/>
                    </a:lnTo>
                    <a:lnTo>
                      <a:pt x="182" y="64"/>
                    </a:lnTo>
                    <a:lnTo>
                      <a:pt x="186" y="56"/>
                    </a:lnTo>
                    <a:lnTo>
                      <a:pt x="195" y="51"/>
                    </a:lnTo>
                    <a:lnTo>
                      <a:pt x="377" y="51"/>
                    </a:lnTo>
                    <a:lnTo>
                      <a:pt x="377" y="51"/>
                    </a:lnTo>
                    <a:lnTo>
                      <a:pt x="385" y="56"/>
                    </a:lnTo>
                    <a:lnTo>
                      <a:pt x="389" y="64"/>
                    </a:lnTo>
                    <a:lnTo>
                      <a:pt x="389" y="8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08" name="Freeform 125"/>
              <p:cNvSpPr>
                <a:spLocks/>
              </p:cNvSpPr>
              <p:nvPr/>
            </p:nvSpPr>
            <p:spPr bwMode="auto">
              <a:xfrm>
                <a:off x="17000538" y="3930650"/>
                <a:ext cx="74612" cy="295275"/>
              </a:xfrm>
              <a:custGeom>
                <a:avLst/>
                <a:gdLst/>
                <a:ahLst/>
                <a:cxnLst>
                  <a:cxn ang="0">
                    <a:pos x="47" y="173"/>
                  </a:cxn>
                  <a:cxn ang="0">
                    <a:pos x="47" y="173"/>
                  </a:cxn>
                  <a:cxn ang="0">
                    <a:pos x="43" y="182"/>
                  </a:cxn>
                  <a:cxn ang="0">
                    <a:pos x="34" y="186"/>
                  </a:cxn>
                  <a:cxn ang="0">
                    <a:pos x="8" y="186"/>
                  </a:cxn>
                  <a:cxn ang="0">
                    <a:pos x="8" y="186"/>
                  </a:cxn>
                  <a:cxn ang="0">
                    <a:pos x="0" y="182"/>
                  </a:cxn>
                  <a:cxn ang="0">
                    <a:pos x="0" y="173"/>
                  </a:cxn>
                  <a:cxn ang="0">
                    <a:pos x="0" y="13"/>
                  </a:cxn>
                  <a:cxn ang="0">
                    <a:pos x="0" y="13"/>
                  </a:cxn>
                  <a:cxn ang="0">
                    <a:pos x="0" y="4"/>
                  </a:cxn>
                  <a:cxn ang="0">
                    <a:pos x="8" y="0"/>
                  </a:cxn>
                  <a:cxn ang="0">
                    <a:pos x="34" y="0"/>
                  </a:cxn>
                  <a:cxn ang="0">
                    <a:pos x="34" y="0"/>
                  </a:cxn>
                  <a:cxn ang="0">
                    <a:pos x="43" y="4"/>
                  </a:cxn>
                  <a:cxn ang="0">
                    <a:pos x="47" y="13"/>
                  </a:cxn>
                  <a:cxn ang="0">
                    <a:pos x="47" y="173"/>
                  </a:cxn>
                </a:cxnLst>
                <a:rect l="0" t="0" r="r" b="b"/>
                <a:pathLst>
                  <a:path w="47" h="186">
                    <a:moveTo>
                      <a:pt x="47" y="173"/>
                    </a:moveTo>
                    <a:lnTo>
                      <a:pt x="47" y="173"/>
                    </a:lnTo>
                    <a:lnTo>
                      <a:pt x="43" y="182"/>
                    </a:lnTo>
                    <a:lnTo>
                      <a:pt x="34" y="186"/>
                    </a:lnTo>
                    <a:lnTo>
                      <a:pt x="8" y="186"/>
                    </a:lnTo>
                    <a:lnTo>
                      <a:pt x="8" y="186"/>
                    </a:lnTo>
                    <a:lnTo>
                      <a:pt x="0" y="182"/>
                    </a:lnTo>
                    <a:lnTo>
                      <a:pt x="0" y="173"/>
                    </a:lnTo>
                    <a:lnTo>
                      <a:pt x="0" y="13"/>
                    </a:lnTo>
                    <a:lnTo>
                      <a:pt x="0" y="13"/>
                    </a:lnTo>
                    <a:lnTo>
                      <a:pt x="0" y="4"/>
                    </a:lnTo>
                    <a:lnTo>
                      <a:pt x="8" y="0"/>
                    </a:lnTo>
                    <a:lnTo>
                      <a:pt x="34" y="0"/>
                    </a:lnTo>
                    <a:lnTo>
                      <a:pt x="34" y="0"/>
                    </a:lnTo>
                    <a:lnTo>
                      <a:pt x="43" y="4"/>
                    </a:lnTo>
                    <a:lnTo>
                      <a:pt x="47" y="13"/>
                    </a:lnTo>
                    <a:lnTo>
                      <a:pt x="47" y="17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grpSp>
        <p:grpSp>
          <p:nvGrpSpPr>
            <p:cNvPr id="198" name="组合 319"/>
            <p:cNvGrpSpPr/>
            <p:nvPr/>
          </p:nvGrpSpPr>
          <p:grpSpPr>
            <a:xfrm>
              <a:off x="5862637" y="5738813"/>
              <a:ext cx="733426" cy="252412"/>
              <a:chOff x="5862637" y="5738813"/>
              <a:chExt cx="733426" cy="252412"/>
            </a:xfrm>
            <a:grpFill/>
          </p:grpSpPr>
          <p:sp>
            <p:nvSpPr>
              <p:cNvPr id="199" name="矩形 198"/>
              <p:cNvSpPr/>
              <p:nvPr/>
            </p:nvSpPr>
            <p:spPr bwMode="auto">
              <a:xfrm>
                <a:off x="6205539" y="5738813"/>
                <a:ext cx="45719" cy="242888"/>
              </a:xfrm>
              <a:prstGeom prst="rect">
                <a:avLst/>
              </a:prstGeom>
              <a:grp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a:latin typeface="Microsoft PhagsPa" pitchFamily="34" charset="0"/>
                  <a:ea typeface="宋体" charset="-122"/>
                </a:endParaRPr>
              </a:p>
            </p:txBody>
          </p:sp>
          <p:sp>
            <p:nvSpPr>
              <p:cNvPr id="200" name="椭圆 199"/>
              <p:cNvSpPr/>
              <p:nvPr/>
            </p:nvSpPr>
            <p:spPr bwMode="auto">
              <a:xfrm>
                <a:off x="6176964" y="5891213"/>
                <a:ext cx="100012" cy="100012"/>
              </a:xfrm>
              <a:prstGeom prst="ellipse">
                <a:avLst/>
              </a:prstGeom>
              <a:grp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dirty="0">
                  <a:latin typeface="Microsoft PhagsPa" pitchFamily="34" charset="0"/>
                  <a:ea typeface="宋体" charset="-122"/>
                </a:endParaRPr>
              </a:p>
            </p:txBody>
          </p:sp>
          <p:sp>
            <p:nvSpPr>
              <p:cNvPr id="201" name="矩形 200"/>
              <p:cNvSpPr/>
              <p:nvPr/>
            </p:nvSpPr>
            <p:spPr bwMode="auto">
              <a:xfrm>
                <a:off x="6310313" y="5931219"/>
                <a:ext cx="285750" cy="45719"/>
              </a:xfrm>
              <a:prstGeom prst="rect">
                <a:avLst/>
              </a:prstGeom>
              <a:grp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dirty="0">
                  <a:latin typeface="Microsoft PhagsPa" pitchFamily="34" charset="0"/>
                  <a:ea typeface="宋体" charset="-122"/>
                </a:endParaRPr>
              </a:p>
            </p:txBody>
          </p:sp>
          <p:sp>
            <p:nvSpPr>
              <p:cNvPr id="202" name="矩形 201"/>
              <p:cNvSpPr/>
              <p:nvPr/>
            </p:nvSpPr>
            <p:spPr bwMode="auto">
              <a:xfrm>
                <a:off x="5862637" y="5931219"/>
                <a:ext cx="285750" cy="45719"/>
              </a:xfrm>
              <a:prstGeom prst="rect">
                <a:avLst/>
              </a:prstGeom>
              <a:grp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a:latin typeface="Microsoft PhagsPa" pitchFamily="34" charset="0"/>
                  <a:ea typeface="宋体" charset="-122"/>
                </a:endParaRPr>
              </a:p>
            </p:txBody>
          </p:sp>
        </p:grpSp>
      </p:grpSp>
      <p:sp>
        <p:nvSpPr>
          <p:cNvPr id="209" name="Rounded Rectangle 14"/>
          <p:cNvSpPr/>
          <p:nvPr/>
        </p:nvSpPr>
        <p:spPr bwMode="white">
          <a:xfrm>
            <a:off x="317304" y="4420939"/>
            <a:ext cx="7200621" cy="820847"/>
          </a:xfrm>
          <a:prstGeom prst="roundRect">
            <a:avLst>
              <a:gd name="adj" fmla="val 6216"/>
            </a:avLst>
          </a:prstGeom>
          <a:solidFill>
            <a:schemeClr val="accent1">
              <a:lumMod val="50000"/>
            </a:schemeClr>
          </a:solidFill>
          <a:ln>
            <a:noFill/>
            <a:headEnd type="none" w="med" len="med"/>
            <a:tailEnd type="none" w="med" len="med"/>
          </a:ln>
          <a:effectLst>
            <a:outerShdw blurRad="40000" dist="23000" dir="5400000" rotWithShape="0">
              <a:srgbClr val="000000">
                <a:alpha val="35000"/>
              </a:srgbClr>
            </a:outerShdw>
          </a:effectLst>
          <a:scene3d>
            <a:camera prst="orthographicFront" fov="0">
              <a:rot lat="0" lon="0" rev="0"/>
            </a:camera>
            <a:lightRig rig="soft" dir="tl">
              <a:rot lat="0" lon="0" rev="20000000"/>
            </a:lightRig>
          </a:scene3d>
          <a:sp3d prstMaterial="matte"/>
        </p:spPr>
        <p:txBody>
          <a:bodyPr vert="horz" wrap="square" lIns="68568" tIns="34284" rIns="68568" bIns="34284" numCol="1" rtlCol="0" anchor="ctr" anchorCtr="0" compatLnSpc="1">
            <a:prstTxWarp prst="textNoShape">
              <a:avLst/>
            </a:prstTxWarp>
          </a:bodyPr>
          <a:lstStyle/>
          <a:p>
            <a:pPr algn="ctr" defTabSz="685454">
              <a:defRPr/>
            </a:pPr>
            <a:endParaRPr lang="en-US" sz="1350" kern="0" dirty="0">
              <a:gradFill>
                <a:gsLst>
                  <a:gs pos="0">
                    <a:srgbClr val="FFFFFF"/>
                  </a:gs>
                  <a:gs pos="100000">
                    <a:srgbClr val="FFFFFF"/>
                  </a:gs>
                </a:gsLst>
                <a:lin ang="5400000" scaled="0"/>
              </a:gradFill>
              <a:latin typeface="Microsoft PhagsPa" pitchFamily="34" charset="0"/>
            </a:endParaRPr>
          </a:p>
        </p:txBody>
      </p:sp>
      <p:sp>
        <p:nvSpPr>
          <p:cNvPr id="210" name="Rectangle 6"/>
          <p:cNvSpPr/>
          <p:nvPr/>
        </p:nvSpPr>
        <p:spPr>
          <a:xfrm>
            <a:off x="455326" y="4607090"/>
            <a:ext cx="1316029" cy="392407"/>
          </a:xfrm>
          <a:prstGeom prst="rect">
            <a:avLst/>
          </a:prstGeom>
        </p:spPr>
        <p:txBody>
          <a:bodyPr wrap="square" lIns="68571" tIns="34286" rIns="68571" bIns="34286">
            <a:spAutoFit/>
          </a:bodyPr>
          <a:lstStyle/>
          <a:p>
            <a:pPr marL="0" lvl="1" algn="ctr">
              <a:tabLst>
                <a:tab pos="1371360" algn="l"/>
              </a:tabLst>
            </a:pPr>
            <a:r>
              <a:rPr lang="en-US" sz="1050" b="1" dirty="0">
                <a:solidFill>
                  <a:srgbClr val="FFC000"/>
                </a:solidFill>
                <a:latin typeface="Microsoft PhagsPa" pitchFamily="34" charset="0"/>
                <a:cs typeface="Arial" pitchFamily="34" charset="0"/>
              </a:rPr>
              <a:t>Component Level</a:t>
            </a:r>
          </a:p>
          <a:p>
            <a:pPr marL="0" lvl="1" algn="ctr">
              <a:tabLst>
                <a:tab pos="1371360" algn="l"/>
              </a:tabLst>
            </a:pPr>
            <a:r>
              <a:rPr lang="en-US" altLang="zh-CN" sz="1050" b="1" dirty="0">
                <a:solidFill>
                  <a:srgbClr val="FFC000"/>
                </a:solidFill>
                <a:latin typeface="Microsoft PhagsPa" pitchFamily="34" charset="0"/>
                <a:cs typeface="Arial" pitchFamily="34" charset="0"/>
              </a:rPr>
              <a:t>Energy relevance</a:t>
            </a:r>
          </a:p>
        </p:txBody>
      </p:sp>
      <p:grpSp>
        <p:nvGrpSpPr>
          <p:cNvPr id="211" name="组合 521"/>
          <p:cNvGrpSpPr/>
          <p:nvPr/>
        </p:nvGrpSpPr>
        <p:grpSpPr>
          <a:xfrm>
            <a:off x="4365853" y="3558250"/>
            <a:ext cx="273691" cy="499319"/>
            <a:chOff x="-909638" y="971550"/>
            <a:chExt cx="909638" cy="2039938"/>
          </a:xfrm>
          <a:solidFill>
            <a:schemeClr val="bg1"/>
          </a:solidFill>
        </p:grpSpPr>
        <p:sp>
          <p:nvSpPr>
            <p:cNvPr id="212"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13"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14"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15"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16"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grpSp>
      <p:grpSp>
        <p:nvGrpSpPr>
          <p:cNvPr id="217" name="组合 621"/>
          <p:cNvGrpSpPr/>
          <p:nvPr/>
        </p:nvGrpSpPr>
        <p:grpSpPr>
          <a:xfrm>
            <a:off x="2372985" y="4587099"/>
            <a:ext cx="346834" cy="271052"/>
            <a:chOff x="-983298" y="1666240"/>
            <a:chExt cx="547688" cy="309563"/>
          </a:xfrm>
          <a:solidFill>
            <a:schemeClr val="bg1"/>
          </a:solidFill>
        </p:grpSpPr>
        <p:sp>
          <p:nvSpPr>
            <p:cNvPr id="218"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cs typeface="Arial" pitchFamily="34" charset="0"/>
              </a:endParaRPr>
            </a:p>
          </p:txBody>
        </p:sp>
        <p:sp>
          <p:nvSpPr>
            <p:cNvPr id="219"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cs typeface="Arial" pitchFamily="34" charset="0"/>
              </a:endParaRPr>
            </a:p>
          </p:txBody>
        </p:sp>
      </p:grpSp>
      <p:grpSp>
        <p:nvGrpSpPr>
          <p:cNvPr id="220" name="组合 345"/>
          <p:cNvGrpSpPr/>
          <p:nvPr/>
        </p:nvGrpSpPr>
        <p:grpSpPr>
          <a:xfrm>
            <a:off x="4227170" y="4541974"/>
            <a:ext cx="536783" cy="364332"/>
            <a:chOff x="10140950" y="2263775"/>
            <a:chExt cx="387350" cy="238125"/>
          </a:xfrm>
          <a:solidFill>
            <a:schemeClr val="bg1"/>
          </a:solidFill>
        </p:grpSpPr>
        <p:sp>
          <p:nvSpPr>
            <p:cNvPr id="221" name="Freeform 111"/>
            <p:cNvSpPr>
              <a:spLocks noEditPoints="1"/>
            </p:cNvSpPr>
            <p:nvPr/>
          </p:nvSpPr>
          <p:spPr bwMode="auto">
            <a:xfrm>
              <a:off x="10375900" y="2276475"/>
              <a:ext cx="152400" cy="152400"/>
            </a:xfrm>
            <a:custGeom>
              <a:avLst/>
              <a:gdLst/>
              <a:ahLst/>
              <a:cxnLst>
                <a:cxn ang="0">
                  <a:pos x="84" y="68"/>
                </a:cxn>
                <a:cxn ang="0">
                  <a:pos x="86" y="64"/>
                </a:cxn>
                <a:cxn ang="0">
                  <a:pos x="94" y="62"/>
                </a:cxn>
                <a:cxn ang="0">
                  <a:pos x="96" y="54"/>
                </a:cxn>
                <a:cxn ang="0">
                  <a:pos x="90" y="48"/>
                </a:cxn>
                <a:cxn ang="0">
                  <a:pos x="90" y="42"/>
                </a:cxn>
                <a:cxn ang="0">
                  <a:pos x="96" y="38"/>
                </a:cxn>
                <a:cxn ang="0">
                  <a:pos x="92" y="28"/>
                </a:cxn>
                <a:cxn ang="0">
                  <a:pos x="84" y="28"/>
                </a:cxn>
                <a:cxn ang="0">
                  <a:pos x="82" y="22"/>
                </a:cxn>
                <a:cxn ang="0">
                  <a:pos x="84" y="16"/>
                </a:cxn>
                <a:cxn ang="0">
                  <a:pos x="78" y="10"/>
                </a:cxn>
                <a:cxn ang="0">
                  <a:pos x="70" y="12"/>
                </a:cxn>
                <a:cxn ang="0">
                  <a:pos x="66" y="10"/>
                </a:cxn>
                <a:cxn ang="0">
                  <a:pos x="64" y="2"/>
                </a:cxn>
                <a:cxn ang="0">
                  <a:pos x="54" y="0"/>
                </a:cxn>
                <a:cxn ang="0">
                  <a:pos x="48" y="6"/>
                </a:cxn>
                <a:cxn ang="0">
                  <a:pos x="42" y="6"/>
                </a:cxn>
                <a:cxn ang="0">
                  <a:pos x="38" y="0"/>
                </a:cxn>
                <a:cxn ang="0">
                  <a:pos x="30" y="2"/>
                </a:cxn>
                <a:cxn ang="0">
                  <a:pos x="28" y="10"/>
                </a:cxn>
                <a:cxn ang="0">
                  <a:pos x="22" y="14"/>
                </a:cxn>
                <a:cxn ang="0">
                  <a:pos x="16" y="12"/>
                </a:cxn>
                <a:cxn ang="0">
                  <a:pos x="10" y="18"/>
                </a:cxn>
                <a:cxn ang="0">
                  <a:pos x="12" y="26"/>
                </a:cxn>
                <a:cxn ang="0">
                  <a:pos x="10" y="32"/>
                </a:cxn>
                <a:cxn ang="0">
                  <a:pos x="2" y="32"/>
                </a:cxn>
                <a:cxn ang="0">
                  <a:pos x="0" y="42"/>
                </a:cxn>
                <a:cxn ang="0">
                  <a:pos x="6" y="46"/>
                </a:cxn>
                <a:cxn ang="0">
                  <a:pos x="6" y="52"/>
                </a:cxn>
                <a:cxn ang="0">
                  <a:pos x="0" y="58"/>
                </a:cxn>
                <a:cxn ang="0">
                  <a:pos x="4" y="66"/>
                </a:cxn>
                <a:cxn ang="0">
                  <a:pos x="12" y="68"/>
                </a:cxn>
                <a:cxn ang="0">
                  <a:pos x="14" y="72"/>
                </a:cxn>
                <a:cxn ang="0">
                  <a:pos x="12" y="80"/>
                </a:cxn>
                <a:cxn ang="0">
                  <a:pos x="18" y="86"/>
                </a:cxn>
                <a:cxn ang="0">
                  <a:pos x="26" y="84"/>
                </a:cxn>
                <a:cxn ang="0">
                  <a:pos x="32" y="86"/>
                </a:cxn>
                <a:cxn ang="0">
                  <a:pos x="32" y="94"/>
                </a:cxn>
                <a:cxn ang="0">
                  <a:pos x="42" y="96"/>
                </a:cxn>
                <a:cxn ang="0">
                  <a:pos x="48" y="90"/>
                </a:cxn>
                <a:cxn ang="0">
                  <a:pos x="54" y="88"/>
                </a:cxn>
                <a:cxn ang="0">
                  <a:pos x="58" y="94"/>
                </a:cxn>
                <a:cxn ang="0">
                  <a:pos x="66" y="92"/>
                </a:cxn>
                <a:cxn ang="0">
                  <a:pos x="68" y="84"/>
                </a:cxn>
                <a:cxn ang="0">
                  <a:pos x="74" y="80"/>
                </a:cxn>
                <a:cxn ang="0">
                  <a:pos x="80" y="84"/>
                </a:cxn>
                <a:cxn ang="0">
                  <a:pos x="86" y="76"/>
                </a:cxn>
                <a:cxn ang="0">
                  <a:pos x="28" y="68"/>
                </a:cxn>
                <a:cxn ang="0">
                  <a:pos x="20" y="48"/>
                </a:cxn>
                <a:cxn ang="0">
                  <a:pos x="28" y="28"/>
                </a:cxn>
                <a:cxn ang="0">
                  <a:pos x="58" y="20"/>
                </a:cxn>
                <a:cxn ang="0">
                  <a:pos x="74" y="36"/>
                </a:cxn>
                <a:cxn ang="0">
                  <a:pos x="68" y="66"/>
                </a:cxn>
                <a:cxn ang="0">
                  <a:pos x="50" y="76"/>
                </a:cxn>
                <a:cxn ang="0">
                  <a:pos x="28" y="68"/>
                </a:cxn>
              </a:cxnLst>
              <a:rect l="0" t="0" r="r" b="b"/>
              <a:pathLst>
                <a:path w="96" h="96">
                  <a:moveTo>
                    <a:pt x="86" y="74"/>
                  </a:moveTo>
                  <a:lnTo>
                    <a:pt x="86" y="74"/>
                  </a:lnTo>
                  <a:lnTo>
                    <a:pt x="84" y="68"/>
                  </a:lnTo>
                  <a:lnTo>
                    <a:pt x="84" y="66"/>
                  </a:lnTo>
                  <a:lnTo>
                    <a:pt x="84" y="66"/>
                  </a:lnTo>
                  <a:lnTo>
                    <a:pt x="86" y="64"/>
                  </a:lnTo>
                  <a:lnTo>
                    <a:pt x="90" y="64"/>
                  </a:lnTo>
                  <a:lnTo>
                    <a:pt x="90" y="64"/>
                  </a:lnTo>
                  <a:lnTo>
                    <a:pt x="94" y="62"/>
                  </a:lnTo>
                  <a:lnTo>
                    <a:pt x="96" y="58"/>
                  </a:lnTo>
                  <a:lnTo>
                    <a:pt x="96" y="58"/>
                  </a:lnTo>
                  <a:lnTo>
                    <a:pt x="96" y="54"/>
                  </a:lnTo>
                  <a:lnTo>
                    <a:pt x="92" y="52"/>
                  </a:lnTo>
                  <a:lnTo>
                    <a:pt x="92" y="52"/>
                  </a:lnTo>
                  <a:lnTo>
                    <a:pt x="90" y="48"/>
                  </a:lnTo>
                  <a:lnTo>
                    <a:pt x="88" y="44"/>
                  </a:lnTo>
                  <a:lnTo>
                    <a:pt x="88" y="44"/>
                  </a:lnTo>
                  <a:lnTo>
                    <a:pt x="90" y="42"/>
                  </a:lnTo>
                  <a:lnTo>
                    <a:pt x="92" y="40"/>
                  </a:lnTo>
                  <a:lnTo>
                    <a:pt x="92" y="40"/>
                  </a:lnTo>
                  <a:lnTo>
                    <a:pt x="96" y="38"/>
                  </a:lnTo>
                  <a:lnTo>
                    <a:pt x="96" y="32"/>
                  </a:lnTo>
                  <a:lnTo>
                    <a:pt x="96" y="32"/>
                  </a:lnTo>
                  <a:lnTo>
                    <a:pt x="92" y="28"/>
                  </a:lnTo>
                  <a:lnTo>
                    <a:pt x="88" y="28"/>
                  </a:lnTo>
                  <a:lnTo>
                    <a:pt x="88" y="28"/>
                  </a:lnTo>
                  <a:lnTo>
                    <a:pt x="84" y="28"/>
                  </a:lnTo>
                  <a:lnTo>
                    <a:pt x="82" y="24"/>
                  </a:lnTo>
                  <a:lnTo>
                    <a:pt x="82" y="24"/>
                  </a:lnTo>
                  <a:lnTo>
                    <a:pt x="82" y="22"/>
                  </a:lnTo>
                  <a:lnTo>
                    <a:pt x="84" y="20"/>
                  </a:lnTo>
                  <a:lnTo>
                    <a:pt x="84" y="20"/>
                  </a:lnTo>
                  <a:lnTo>
                    <a:pt x="84" y="16"/>
                  </a:lnTo>
                  <a:lnTo>
                    <a:pt x="82" y="12"/>
                  </a:lnTo>
                  <a:lnTo>
                    <a:pt x="82" y="12"/>
                  </a:lnTo>
                  <a:lnTo>
                    <a:pt x="78" y="10"/>
                  </a:lnTo>
                  <a:lnTo>
                    <a:pt x="74" y="10"/>
                  </a:lnTo>
                  <a:lnTo>
                    <a:pt x="74" y="10"/>
                  </a:lnTo>
                  <a:lnTo>
                    <a:pt x="70" y="12"/>
                  </a:lnTo>
                  <a:lnTo>
                    <a:pt x="68" y="12"/>
                  </a:lnTo>
                  <a:lnTo>
                    <a:pt x="68" y="12"/>
                  </a:lnTo>
                  <a:lnTo>
                    <a:pt x="66" y="10"/>
                  </a:lnTo>
                  <a:lnTo>
                    <a:pt x="64" y="6"/>
                  </a:lnTo>
                  <a:lnTo>
                    <a:pt x="64" y="6"/>
                  </a:lnTo>
                  <a:lnTo>
                    <a:pt x="64" y="2"/>
                  </a:lnTo>
                  <a:lnTo>
                    <a:pt x="60" y="0"/>
                  </a:lnTo>
                  <a:lnTo>
                    <a:pt x="60" y="0"/>
                  </a:lnTo>
                  <a:lnTo>
                    <a:pt x="54" y="0"/>
                  </a:lnTo>
                  <a:lnTo>
                    <a:pt x="52" y="2"/>
                  </a:lnTo>
                  <a:lnTo>
                    <a:pt x="52" y="2"/>
                  </a:lnTo>
                  <a:lnTo>
                    <a:pt x="48" y="6"/>
                  </a:lnTo>
                  <a:lnTo>
                    <a:pt x="46" y="8"/>
                  </a:lnTo>
                  <a:lnTo>
                    <a:pt x="46" y="8"/>
                  </a:lnTo>
                  <a:lnTo>
                    <a:pt x="42" y="6"/>
                  </a:lnTo>
                  <a:lnTo>
                    <a:pt x="42" y="2"/>
                  </a:lnTo>
                  <a:lnTo>
                    <a:pt x="42" y="2"/>
                  </a:lnTo>
                  <a:lnTo>
                    <a:pt x="38" y="0"/>
                  </a:lnTo>
                  <a:lnTo>
                    <a:pt x="34" y="0"/>
                  </a:lnTo>
                  <a:lnTo>
                    <a:pt x="34" y="0"/>
                  </a:lnTo>
                  <a:lnTo>
                    <a:pt x="30" y="2"/>
                  </a:lnTo>
                  <a:lnTo>
                    <a:pt x="28" y="6"/>
                  </a:lnTo>
                  <a:lnTo>
                    <a:pt x="28" y="6"/>
                  </a:lnTo>
                  <a:lnTo>
                    <a:pt x="28" y="10"/>
                  </a:lnTo>
                  <a:lnTo>
                    <a:pt x="26" y="14"/>
                  </a:lnTo>
                  <a:lnTo>
                    <a:pt x="26" y="14"/>
                  </a:lnTo>
                  <a:lnTo>
                    <a:pt x="22" y="14"/>
                  </a:lnTo>
                  <a:lnTo>
                    <a:pt x="20" y="12"/>
                  </a:lnTo>
                  <a:lnTo>
                    <a:pt x="20" y="12"/>
                  </a:lnTo>
                  <a:lnTo>
                    <a:pt x="16" y="12"/>
                  </a:lnTo>
                  <a:lnTo>
                    <a:pt x="12" y="14"/>
                  </a:lnTo>
                  <a:lnTo>
                    <a:pt x="12" y="14"/>
                  </a:lnTo>
                  <a:lnTo>
                    <a:pt x="10" y="18"/>
                  </a:lnTo>
                  <a:lnTo>
                    <a:pt x="10" y="22"/>
                  </a:lnTo>
                  <a:lnTo>
                    <a:pt x="10" y="22"/>
                  </a:lnTo>
                  <a:lnTo>
                    <a:pt x="12" y="26"/>
                  </a:lnTo>
                  <a:lnTo>
                    <a:pt x="12" y="30"/>
                  </a:lnTo>
                  <a:lnTo>
                    <a:pt x="12" y="30"/>
                  </a:lnTo>
                  <a:lnTo>
                    <a:pt x="10" y="32"/>
                  </a:lnTo>
                  <a:lnTo>
                    <a:pt x="6" y="32"/>
                  </a:lnTo>
                  <a:lnTo>
                    <a:pt x="6" y="32"/>
                  </a:lnTo>
                  <a:lnTo>
                    <a:pt x="2" y="32"/>
                  </a:lnTo>
                  <a:lnTo>
                    <a:pt x="0" y="36"/>
                  </a:lnTo>
                  <a:lnTo>
                    <a:pt x="0" y="36"/>
                  </a:lnTo>
                  <a:lnTo>
                    <a:pt x="0" y="42"/>
                  </a:lnTo>
                  <a:lnTo>
                    <a:pt x="4" y="44"/>
                  </a:lnTo>
                  <a:lnTo>
                    <a:pt x="4" y="44"/>
                  </a:lnTo>
                  <a:lnTo>
                    <a:pt x="6" y="46"/>
                  </a:lnTo>
                  <a:lnTo>
                    <a:pt x="8" y="50"/>
                  </a:lnTo>
                  <a:lnTo>
                    <a:pt x="8" y="50"/>
                  </a:lnTo>
                  <a:lnTo>
                    <a:pt x="6" y="52"/>
                  </a:lnTo>
                  <a:lnTo>
                    <a:pt x="4" y="54"/>
                  </a:lnTo>
                  <a:lnTo>
                    <a:pt x="4" y="54"/>
                  </a:lnTo>
                  <a:lnTo>
                    <a:pt x="0" y="58"/>
                  </a:lnTo>
                  <a:lnTo>
                    <a:pt x="0" y="62"/>
                  </a:lnTo>
                  <a:lnTo>
                    <a:pt x="0" y="62"/>
                  </a:lnTo>
                  <a:lnTo>
                    <a:pt x="4" y="66"/>
                  </a:lnTo>
                  <a:lnTo>
                    <a:pt x="8" y="66"/>
                  </a:lnTo>
                  <a:lnTo>
                    <a:pt x="8" y="66"/>
                  </a:lnTo>
                  <a:lnTo>
                    <a:pt x="12" y="68"/>
                  </a:lnTo>
                  <a:lnTo>
                    <a:pt x="14" y="70"/>
                  </a:lnTo>
                  <a:lnTo>
                    <a:pt x="14" y="70"/>
                  </a:lnTo>
                  <a:lnTo>
                    <a:pt x="14" y="72"/>
                  </a:lnTo>
                  <a:lnTo>
                    <a:pt x="12" y="76"/>
                  </a:lnTo>
                  <a:lnTo>
                    <a:pt x="12" y="76"/>
                  </a:lnTo>
                  <a:lnTo>
                    <a:pt x="12" y="80"/>
                  </a:lnTo>
                  <a:lnTo>
                    <a:pt x="14" y="84"/>
                  </a:lnTo>
                  <a:lnTo>
                    <a:pt x="14" y="84"/>
                  </a:lnTo>
                  <a:lnTo>
                    <a:pt x="18" y="86"/>
                  </a:lnTo>
                  <a:lnTo>
                    <a:pt x="22" y="84"/>
                  </a:lnTo>
                  <a:lnTo>
                    <a:pt x="22" y="84"/>
                  </a:lnTo>
                  <a:lnTo>
                    <a:pt x="26" y="84"/>
                  </a:lnTo>
                  <a:lnTo>
                    <a:pt x="30" y="84"/>
                  </a:lnTo>
                  <a:lnTo>
                    <a:pt x="30" y="84"/>
                  </a:lnTo>
                  <a:lnTo>
                    <a:pt x="32" y="86"/>
                  </a:lnTo>
                  <a:lnTo>
                    <a:pt x="32" y="90"/>
                  </a:lnTo>
                  <a:lnTo>
                    <a:pt x="32" y="90"/>
                  </a:lnTo>
                  <a:lnTo>
                    <a:pt x="32" y="94"/>
                  </a:lnTo>
                  <a:lnTo>
                    <a:pt x="36" y="96"/>
                  </a:lnTo>
                  <a:lnTo>
                    <a:pt x="36" y="96"/>
                  </a:lnTo>
                  <a:lnTo>
                    <a:pt x="42" y="96"/>
                  </a:lnTo>
                  <a:lnTo>
                    <a:pt x="44" y="92"/>
                  </a:lnTo>
                  <a:lnTo>
                    <a:pt x="44" y="92"/>
                  </a:lnTo>
                  <a:lnTo>
                    <a:pt x="48" y="90"/>
                  </a:lnTo>
                  <a:lnTo>
                    <a:pt x="50" y="88"/>
                  </a:lnTo>
                  <a:lnTo>
                    <a:pt x="50" y="88"/>
                  </a:lnTo>
                  <a:lnTo>
                    <a:pt x="54" y="88"/>
                  </a:lnTo>
                  <a:lnTo>
                    <a:pt x="54" y="92"/>
                  </a:lnTo>
                  <a:lnTo>
                    <a:pt x="54" y="92"/>
                  </a:lnTo>
                  <a:lnTo>
                    <a:pt x="58" y="94"/>
                  </a:lnTo>
                  <a:lnTo>
                    <a:pt x="62" y="94"/>
                  </a:lnTo>
                  <a:lnTo>
                    <a:pt x="62" y="94"/>
                  </a:lnTo>
                  <a:lnTo>
                    <a:pt x="66" y="92"/>
                  </a:lnTo>
                  <a:lnTo>
                    <a:pt x="68" y="88"/>
                  </a:lnTo>
                  <a:lnTo>
                    <a:pt x="68" y="88"/>
                  </a:lnTo>
                  <a:lnTo>
                    <a:pt x="68" y="84"/>
                  </a:lnTo>
                  <a:lnTo>
                    <a:pt x="70" y="80"/>
                  </a:lnTo>
                  <a:lnTo>
                    <a:pt x="70" y="80"/>
                  </a:lnTo>
                  <a:lnTo>
                    <a:pt x="74" y="80"/>
                  </a:lnTo>
                  <a:lnTo>
                    <a:pt x="76" y="82"/>
                  </a:lnTo>
                  <a:lnTo>
                    <a:pt x="76" y="82"/>
                  </a:lnTo>
                  <a:lnTo>
                    <a:pt x="80" y="84"/>
                  </a:lnTo>
                  <a:lnTo>
                    <a:pt x="84" y="80"/>
                  </a:lnTo>
                  <a:lnTo>
                    <a:pt x="84" y="80"/>
                  </a:lnTo>
                  <a:lnTo>
                    <a:pt x="86" y="76"/>
                  </a:lnTo>
                  <a:lnTo>
                    <a:pt x="86" y="74"/>
                  </a:lnTo>
                  <a:lnTo>
                    <a:pt x="86" y="74"/>
                  </a:lnTo>
                  <a:close/>
                  <a:moveTo>
                    <a:pt x="28" y="68"/>
                  </a:moveTo>
                  <a:lnTo>
                    <a:pt x="28" y="68"/>
                  </a:lnTo>
                  <a:lnTo>
                    <a:pt x="22" y="58"/>
                  </a:lnTo>
                  <a:lnTo>
                    <a:pt x="20" y="48"/>
                  </a:lnTo>
                  <a:lnTo>
                    <a:pt x="22" y="38"/>
                  </a:lnTo>
                  <a:lnTo>
                    <a:pt x="28" y="28"/>
                  </a:lnTo>
                  <a:lnTo>
                    <a:pt x="28" y="28"/>
                  </a:lnTo>
                  <a:lnTo>
                    <a:pt x="36" y="22"/>
                  </a:lnTo>
                  <a:lnTo>
                    <a:pt x="46" y="20"/>
                  </a:lnTo>
                  <a:lnTo>
                    <a:pt x="58" y="20"/>
                  </a:lnTo>
                  <a:lnTo>
                    <a:pt x="68" y="26"/>
                  </a:lnTo>
                  <a:lnTo>
                    <a:pt x="68" y="26"/>
                  </a:lnTo>
                  <a:lnTo>
                    <a:pt x="74" y="36"/>
                  </a:lnTo>
                  <a:lnTo>
                    <a:pt x="76" y="46"/>
                  </a:lnTo>
                  <a:lnTo>
                    <a:pt x="74" y="58"/>
                  </a:lnTo>
                  <a:lnTo>
                    <a:pt x="68" y="66"/>
                  </a:lnTo>
                  <a:lnTo>
                    <a:pt x="68" y="66"/>
                  </a:lnTo>
                  <a:lnTo>
                    <a:pt x="60" y="74"/>
                  </a:lnTo>
                  <a:lnTo>
                    <a:pt x="50" y="76"/>
                  </a:lnTo>
                  <a:lnTo>
                    <a:pt x="38" y="74"/>
                  </a:lnTo>
                  <a:lnTo>
                    <a:pt x="28" y="68"/>
                  </a:lnTo>
                  <a:lnTo>
                    <a:pt x="28" y="68"/>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22" name="Freeform 112"/>
            <p:cNvSpPr>
              <a:spLocks noEditPoints="1"/>
            </p:cNvSpPr>
            <p:nvPr/>
          </p:nvSpPr>
          <p:spPr bwMode="auto">
            <a:xfrm>
              <a:off x="10140950" y="2263775"/>
              <a:ext cx="238125" cy="238125"/>
            </a:xfrm>
            <a:custGeom>
              <a:avLst/>
              <a:gdLst/>
              <a:ahLst/>
              <a:cxnLst>
                <a:cxn ang="0">
                  <a:pos x="130" y="108"/>
                </a:cxn>
                <a:cxn ang="0">
                  <a:pos x="140" y="100"/>
                </a:cxn>
                <a:cxn ang="0">
                  <a:pos x="148" y="96"/>
                </a:cxn>
                <a:cxn ang="0">
                  <a:pos x="148" y="84"/>
                </a:cxn>
                <a:cxn ang="0">
                  <a:pos x="142" y="78"/>
                </a:cxn>
                <a:cxn ang="0">
                  <a:pos x="140" y="66"/>
                </a:cxn>
                <a:cxn ang="0">
                  <a:pos x="148" y="60"/>
                </a:cxn>
                <a:cxn ang="0">
                  <a:pos x="146" y="48"/>
                </a:cxn>
                <a:cxn ang="0">
                  <a:pos x="138" y="44"/>
                </a:cxn>
                <a:cxn ang="0">
                  <a:pos x="126" y="40"/>
                </a:cxn>
                <a:cxn ang="0">
                  <a:pos x="130" y="28"/>
                </a:cxn>
                <a:cxn ang="0">
                  <a:pos x="126" y="18"/>
                </a:cxn>
                <a:cxn ang="0">
                  <a:pos x="114" y="18"/>
                </a:cxn>
                <a:cxn ang="0">
                  <a:pos x="106" y="20"/>
                </a:cxn>
                <a:cxn ang="0">
                  <a:pos x="100" y="10"/>
                </a:cxn>
                <a:cxn ang="0">
                  <a:pos x="92" y="0"/>
                </a:cxn>
                <a:cxn ang="0">
                  <a:pos x="82" y="2"/>
                </a:cxn>
                <a:cxn ang="0">
                  <a:pos x="76" y="10"/>
                </a:cxn>
                <a:cxn ang="0">
                  <a:pos x="64" y="6"/>
                </a:cxn>
                <a:cxn ang="0">
                  <a:pos x="56" y="0"/>
                </a:cxn>
                <a:cxn ang="0">
                  <a:pos x="46" y="6"/>
                </a:cxn>
                <a:cxn ang="0">
                  <a:pos x="44" y="14"/>
                </a:cxn>
                <a:cxn ang="0">
                  <a:pos x="36" y="22"/>
                </a:cxn>
                <a:cxn ang="0">
                  <a:pos x="24" y="18"/>
                </a:cxn>
                <a:cxn ang="0">
                  <a:pos x="16" y="26"/>
                </a:cxn>
                <a:cxn ang="0">
                  <a:pos x="16" y="34"/>
                </a:cxn>
                <a:cxn ang="0">
                  <a:pos x="18" y="48"/>
                </a:cxn>
                <a:cxn ang="0">
                  <a:pos x="6" y="50"/>
                </a:cxn>
                <a:cxn ang="0">
                  <a:pos x="0" y="58"/>
                </a:cxn>
                <a:cxn ang="0">
                  <a:pos x="4" y="70"/>
                </a:cxn>
                <a:cxn ang="0">
                  <a:pos x="12" y="80"/>
                </a:cxn>
                <a:cxn ang="0">
                  <a:pos x="6" y="86"/>
                </a:cxn>
                <a:cxn ang="0">
                  <a:pos x="2" y="98"/>
                </a:cxn>
                <a:cxn ang="0">
                  <a:pos x="8" y="104"/>
                </a:cxn>
                <a:cxn ang="0">
                  <a:pos x="18" y="106"/>
                </a:cxn>
                <a:cxn ang="0">
                  <a:pos x="20" y="118"/>
                </a:cxn>
                <a:cxn ang="0">
                  <a:pos x="20" y="128"/>
                </a:cxn>
                <a:cxn ang="0">
                  <a:pos x="30" y="134"/>
                </a:cxn>
                <a:cxn ang="0">
                  <a:pos x="38" y="130"/>
                </a:cxn>
                <a:cxn ang="0">
                  <a:pos x="50" y="134"/>
                </a:cxn>
                <a:cxn ang="0">
                  <a:pos x="52" y="146"/>
                </a:cxn>
                <a:cxn ang="0">
                  <a:pos x="62" y="150"/>
                </a:cxn>
                <a:cxn ang="0">
                  <a:pos x="68" y="144"/>
                </a:cxn>
                <a:cxn ang="0">
                  <a:pos x="80" y="138"/>
                </a:cxn>
                <a:cxn ang="0">
                  <a:pos x="86" y="146"/>
                </a:cxn>
                <a:cxn ang="0">
                  <a:pos x="98" y="148"/>
                </a:cxn>
                <a:cxn ang="0">
                  <a:pos x="104" y="138"/>
                </a:cxn>
                <a:cxn ang="0">
                  <a:pos x="110" y="126"/>
                </a:cxn>
                <a:cxn ang="0">
                  <a:pos x="118" y="130"/>
                </a:cxn>
                <a:cxn ang="0">
                  <a:pos x="130" y="128"/>
                </a:cxn>
                <a:cxn ang="0">
                  <a:pos x="134" y="118"/>
                </a:cxn>
                <a:cxn ang="0">
                  <a:pos x="44" y="108"/>
                </a:cxn>
                <a:cxn ang="0">
                  <a:pos x="30" y="76"/>
                </a:cxn>
                <a:cxn ang="0">
                  <a:pos x="42" y="44"/>
                </a:cxn>
                <a:cxn ang="0">
                  <a:pos x="64" y="32"/>
                </a:cxn>
                <a:cxn ang="0">
                  <a:pos x="98" y="38"/>
                </a:cxn>
                <a:cxn ang="0">
                  <a:pos x="114" y="56"/>
                </a:cxn>
                <a:cxn ang="0">
                  <a:pos x="116" y="90"/>
                </a:cxn>
                <a:cxn ang="0">
                  <a:pos x="100" y="110"/>
                </a:cxn>
                <a:cxn ang="0">
                  <a:pos x="68" y="118"/>
                </a:cxn>
                <a:cxn ang="0">
                  <a:pos x="44" y="108"/>
                </a:cxn>
              </a:cxnLst>
              <a:rect l="0" t="0" r="r" b="b"/>
              <a:pathLst>
                <a:path w="150" h="150">
                  <a:moveTo>
                    <a:pt x="132" y="114"/>
                  </a:moveTo>
                  <a:lnTo>
                    <a:pt x="132" y="114"/>
                  </a:lnTo>
                  <a:lnTo>
                    <a:pt x="130" y="112"/>
                  </a:lnTo>
                  <a:lnTo>
                    <a:pt x="130" y="108"/>
                  </a:lnTo>
                  <a:lnTo>
                    <a:pt x="132" y="102"/>
                  </a:lnTo>
                  <a:lnTo>
                    <a:pt x="132" y="102"/>
                  </a:lnTo>
                  <a:lnTo>
                    <a:pt x="134" y="100"/>
                  </a:lnTo>
                  <a:lnTo>
                    <a:pt x="140" y="100"/>
                  </a:lnTo>
                  <a:lnTo>
                    <a:pt x="140" y="100"/>
                  </a:lnTo>
                  <a:lnTo>
                    <a:pt x="142" y="100"/>
                  </a:lnTo>
                  <a:lnTo>
                    <a:pt x="146" y="98"/>
                  </a:lnTo>
                  <a:lnTo>
                    <a:pt x="148" y="96"/>
                  </a:lnTo>
                  <a:lnTo>
                    <a:pt x="150" y="92"/>
                  </a:lnTo>
                  <a:lnTo>
                    <a:pt x="150" y="92"/>
                  </a:lnTo>
                  <a:lnTo>
                    <a:pt x="150" y="88"/>
                  </a:lnTo>
                  <a:lnTo>
                    <a:pt x="148" y="84"/>
                  </a:lnTo>
                  <a:lnTo>
                    <a:pt x="148" y="82"/>
                  </a:lnTo>
                  <a:lnTo>
                    <a:pt x="144" y="80"/>
                  </a:lnTo>
                  <a:lnTo>
                    <a:pt x="144" y="80"/>
                  </a:lnTo>
                  <a:lnTo>
                    <a:pt x="142" y="78"/>
                  </a:lnTo>
                  <a:lnTo>
                    <a:pt x="140" y="76"/>
                  </a:lnTo>
                  <a:lnTo>
                    <a:pt x="138" y="70"/>
                  </a:lnTo>
                  <a:lnTo>
                    <a:pt x="138" y="70"/>
                  </a:lnTo>
                  <a:lnTo>
                    <a:pt x="140" y="66"/>
                  </a:lnTo>
                  <a:lnTo>
                    <a:pt x="144" y="64"/>
                  </a:lnTo>
                  <a:lnTo>
                    <a:pt x="144" y="64"/>
                  </a:lnTo>
                  <a:lnTo>
                    <a:pt x="146" y="62"/>
                  </a:lnTo>
                  <a:lnTo>
                    <a:pt x="148" y="60"/>
                  </a:lnTo>
                  <a:lnTo>
                    <a:pt x="148" y="56"/>
                  </a:lnTo>
                  <a:lnTo>
                    <a:pt x="148" y="52"/>
                  </a:lnTo>
                  <a:lnTo>
                    <a:pt x="148" y="52"/>
                  </a:lnTo>
                  <a:lnTo>
                    <a:pt x="146" y="48"/>
                  </a:lnTo>
                  <a:lnTo>
                    <a:pt x="144" y="46"/>
                  </a:lnTo>
                  <a:lnTo>
                    <a:pt x="140" y="44"/>
                  </a:lnTo>
                  <a:lnTo>
                    <a:pt x="138" y="44"/>
                  </a:lnTo>
                  <a:lnTo>
                    <a:pt x="138" y="44"/>
                  </a:lnTo>
                  <a:lnTo>
                    <a:pt x="134" y="44"/>
                  </a:lnTo>
                  <a:lnTo>
                    <a:pt x="132" y="44"/>
                  </a:lnTo>
                  <a:lnTo>
                    <a:pt x="126" y="40"/>
                  </a:lnTo>
                  <a:lnTo>
                    <a:pt x="126" y="40"/>
                  </a:lnTo>
                  <a:lnTo>
                    <a:pt x="126" y="36"/>
                  </a:lnTo>
                  <a:lnTo>
                    <a:pt x="130" y="30"/>
                  </a:lnTo>
                  <a:lnTo>
                    <a:pt x="130" y="30"/>
                  </a:lnTo>
                  <a:lnTo>
                    <a:pt x="130" y="28"/>
                  </a:lnTo>
                  <a:lnTo>
                    <a:pt x="130" y="24"/>
                  </a:lnTo>
                  <a:lnTo>
                    <a:pt x="130" y="22"/>
                  </a:lnTo>
                  <a:lnTo>
                    <a:pt x="126" y="18"/>
                  </a:lnTo>
                  <a:lnTo>
                    <a:pt x="126" y="18"/>
                  </a:lnTo>
                  <a:lnTo>
                    <a:pt x="124" y="16"/>
                  </a:lnTo>
                  <a:lnTo>
                    <a:pt x="120" y="16"/>
                  </a:lnTo>
                  <a:lnTo>
                    <a:pt x="118" y="16"/>
                  </a:lnTo>
                  <a:lnTo>
                    <a:pt x="114" y="18"/>
                  </a:lnTo>
                  <a:lnTo>
                    <a:pt x="114" y="18"/>
                  </a:lnTo>
                  <a:lnTo>
                    <a:pt x="110" y="20"/>
                  </a:lnTo>
                  <a:lnTo>
                    <a:pt x="106" y="20"/>
                  </a:lnTo>
                  <a:lnTo>
                    <a:pt x="106" y="20"/>
                  </a:lnTo>
                  <a:lnTo>
                    <a:pt x="102" y="16"/>
                  </a:lnTo>
                  <a:lnTo>
                    <a:pt x="100" y="12"/>
                  </a:lnTo>
                  <a:lnTo>
                    <a:pt x="100" y="10"/>
                  </a:lnTo>
                  <a:lnTo>
                    <a:pt x="100" y="10"/>
                  </a:lnTo>
                  <a:lnTo>
                    <a:pt x="100" y="6"/>
                  </a:lnTo>
                  <a:lnTo>
                    <a:pt x="98" y="4"/>
                  </a:lnTo>
                  <a:lnTo>
                    <a:pt x="96" y="2"/>
                  </a:lnTo>
                  <a:lnTo>
                    <a:pt x="92" y="0"/>
                  </a:lnTo>
                  <a:lnTo>
                    <a:pt x="92" y="0"/>
                  </a:lnTo>
                  <a:lnTo>
                    <a:pt x="88" y="0"/>
                  </a:lnTo>
                  <a:lnTo>
                    <a:pt x="84" y="0"/>
                  </a:lnTo>
                  <a:lnTo>
                    <a:pt x="82" y="2"/>
                  </a:lnTo>
                  <a:lnTo>
                    <a:pt x="80" y="4"/>
                  </a:lnTo>
                  <a:lnTo>
                    <a:pt x="80" y="4"/>
                  </a:lnTo>
                  <a:lnTo>
                    <a:pt x="78" y="8"/>
                  </a:lnTo>
                  <a:lnTo>
                    <a:pt x="76" y="10"/>
                  </a:lnTo>
                  <a:lnTo>
                    <a:pt x="70" y="12"/>
                  </a:lnTo>
                  <a:lnTo>
                    <a:pt x="70" y="12"/>
                  </a:lnTo>
                  <a:lnTo>
                    <a:pt x="66" y="10"/>
                  </a:lnTo>
                  <a:lnTo>
                    <a:pt x="64" y="6"/>
                  </a:lnTo>
                  <a:lnTo>
                    <a:pt x="64" y="6"/>
                  </a:lnTo>
                  <a:lnTo>
                    <a:pt x="62" y="2"/>
                  </a:lnTo>
                  <a:lnTo>
                    <a:pt x="60" y="2"/>
                  </a:lnTo>
                  <a:lnTo>
                    <a:pt x="56" y="0"/>
                  </a:lnTo>
                  <a:lnTo>
                    <a:pt x="52" y="2"/>
                  </a:lnTo>
                  <a:lnTo>
                    <a:pt x="52" y="2"/>
                  </a:lnTo>
                  <a:lnTo>
                    <a:pt x="48" y="4"/>
                  </a:lnTo>
                  <a:lnTo>
                    <a:pt x="46" y="6"/>
                  </a:lnTo>
                  <a:lnTo>
                    <a:pt x="44" y="8"/>
                  </a:lnTo>
                  <a:lnTo>
                    <a:pt x="44" y="12"/>
                  </a:lnTo>
                  <a:lnTo>
                    <a:pt x="44" y="12"/>
                  </a:lnTo>
                  <a:lnTo>
                    <a:pt x="44" y="14"/>
                  </a:lnTo>
                  <a:lnTo>
                    <a:pt x="44" y="18"/>
                  </a:lnTo>
                  <a:lnTo>
                    <a:pt x="40" y="22"/>
                  </a:lnTo>
                  <a:lnTo>
                    <a:pt x="40" y="22"/>
                  </a:lnTo>
                  <a:lnTo>
                    <a:pt x="36" y="22"/>
                  </a:lnTo>
                  <a:lnTo>
                    <a:pt x="30" y="20"/>
                  </a:lnTo>
                  <a:lnTo>
                    <a:pt x="30" y="20"/>
                  </a:lnTo>
                  <a:lnTo>
                    <a:pt x="28" y="18"/>
                  </a:lnTo>
                  <a:lnTo>
                    <a:pt x="24" y="18"/>
                  </a:lnTo>
                  <a:lnTo>
                    <a:pt x="22" y="20"/>
                  </a:lnTo>
                  <a:lnTo>
                    <a:pt x="18" y="22"/>
                  </a:lnTo>
                  <a:lnTo>
                    <a:pt x="18" y="22"/>
                  </a:lnTo>
                  <a:lnTo>
                    <a:pt x="16" y="26"/>
                  </a:lnTo>
                  <a:lnTo>
                    <a:pt x="16" y="30"/>
                  </a:lnTo>
                  <a:lnTo>
                    <a:pt x="16" y="32"/>
                  </a:lnTo>
                  <a:lnTo>
                    <a:pt x="16" y="34"/>
                  </a:lnTo>
                  <a:lnTo>
                    <a:pt x="16" y="34"/>
                  </a:lnTo>
                  <a:lnTo>
                    <a:pt x="18" y="38"/>
                  </a:lnTo>
                  <a:lnTo>
                    <a:pt x="20" y="42"/>
                  </a:lnTo>
                  <a:lnTo>
                    <a:pt x="18" y="48"/>
                  </a:lnTo>
                  <a:lnTo>
                    <a:pt x="18" y="48"/>
                  </a:lnTo>
                  <a:lnTo>
                    <a:pt x="14" y="50"/>
                  </a:lnTo>
                  <a:lnTo>
                    <a:pt x="10" y="50"/>
                  </a:lnTo>
                  <a:lnTo>
                    <a:pt x="10" y="50"/>
                  </a:lnTo>
                  <a:lnTo>
                    <a:pt x="6" y="50"/>
                  </a:lnTo>
                  <a:lnTo>
                    <a:pt x="4" y="52"/>
                  </a:lnTo>
                  <a:lnTo>
                    <a:pt x="2" y="54"/>
                  </a:lnTo>
                  <a:lnTo>
                    <a:pt x="0" y="58"/>
                  </a:lnTo>
                  <a:lnTo>
                    <a:pt x="0" y="58"/>
                  </a:lnTo>
                  <a:lnTo>
                    <a:pt x="0" y="62"/>
                  </a:lnTo>
                  <a:lnTo>
                    <a:pt x="0" y="66"/>
                  </a:lnTo>
                  <a:lnTo>
                    <a:pt x="2" y="68"/>
                  </a:lnTo>
                  <a:lnTo>
                    <a:pt x="4" y="70"/>
                  </a:lnTo>
                  <a:lnTo>
                    <a:pt x="4" y="70"/>
                  </a:lnTo>
                  <a:lnTo>
                    <a:pt x="8" y="70"/>
                  </a:lnTo>
                  <a:lnTo>
                    <a:pt x="10" y="74"/>
                  </a:lnTo>
                  <a:lnTo>
                    <a:pt x="12" y="80"/>
                  </a:lnTo>
                  <a:lnTo>
                    <a:pt x="12" y="80"/>
                  </a:lnTo>
                  <a:lnTo>
                    <a:pt x="10" y="82"/>
                  </a:lnTo>
                  <a:lnTo>
                    <a:pt x="6" y="86"/>
                  </a:lnTo>
                  <a:lnTo>
                    <a:pt x="6" y="86"/>
                  </a:lnTo>
                  <a:lnTo>
                    <a:pt x="2" y="88"/>
                  </a:lnTo>
                  <a:lnTo>
                    <a:pt x="2" y="90"/>
                  </a:lnTo>
                  <a:lnTo>
                    <a:pt x="0" y="94"/>
                  </a:lnTo>
                  <a:lnTo>
                    <a:pt x="2" y="98"/>
                  </a:lnTo>
                  <a:lnTo>
                    <a:pt x="2" y="98"/>
                  </a:lnTo>
                  <a:lnTo>
                    <a:pt x="2" y="100"/>
                  </a:lnTo>
                  <a:lnTo>
                    <a:pt x="6" y="104"/>
                  </a:lnTo>
                  <a:lnTo>
                    <a:pt x="8" y="104"/>
                  </a:lnTo>
                  <a:lnTo>
                    <a:pt x="12" y="104"/>
                  </a:lnTo>
                  <a:lnTo>
                    <a:pt x="12" y="104"/>
                  </a:lnTo>
                  <a:lnTo>
                    <a:pt x="14" y="104"/>
                  </a:lnTo>
                  <a:lnTo>
                    <a:pt x="18" y="106"/>
                  </a:lnTo>
                  <a:lnTo>
                    <a:pt x="22" y="110"/>
                  </a:lnTo>
                  <a:lnTo>
                    <a:pt x="22" y="110"/>
                  </a:lnTo>
                  <a:lnTo>
                    <a:pt x="22" y="114"/>
                  </a:lnTo>
                  <a:lnTo>
                    <a:pt x="20" y="118"/>
                  </a:lnTo>
                  <a:lnTo>
                    <a:pt x="20" y="118"/>
                  </a:lnTo>
                  <a:lnTo>
                    <a:pt x="18" y="122"/>
                  </a:lnTo>
                  <a:lnTo>
                    <a:pt x="18" y="124"/>
                  </a:lnTo>
                  <a:lnTo>
                    <a:pt x="20" y="128"/>
                  </a:lnTo>
                  <a:lnTo>
                    <a:pt x="22" y="130"/>
                  </a:lnTo>
                  <a:lnTo>
                    <a:pt x="22" y="130"/>
                  </a:lnTo>
                  <a:lnTo>
                    <a:pt x="26" y="134"/>
                  </a:lnTo>
                  <a:lnTo>
                    <a:pt x="30" y="134"/>
                  </a:lnTo>
                  <a:lnTo>
                    <a:pt x="32" y="134"/>
                  </a:lnTo>
                  <a:lnTo>
                    <a:pt x="34" y="132"/>
                  </a:lnTo>
                  <a:lnTo>
                    <a:pt x="34" y="132"/>
                  </a:lnTo>
                  <a:lnTo>
                    <a:pt x="38" y="130"/>
                  </a:lnTo>
                  <a:lnTo>
                    <a:pt x="42" y="130"/>
                  </a:lnTo>
                  <a:lnTo>
                    <a:pt x="48" y="132"/>
                  </a:lnTo>
                  <a:lnTo>
                    <a:pt x="48" y="132"/>
                  </a:lnTo>
                  <a:lnTo>
                    <a:pt x="50" y="134"/>
                  </a:lnTo>
                  <a:lnTo>
                    <a:pt x="50" y="140"/>
                  </a:lnTo>
                  <a:lnTo>
                    <a:pt x="50" y="140"/>
                  </a:lnTo>
                  <a:lnTo>
                    <a:pt x="50" y="144"/>
                  </a:lnTo>
                  <a:lnTo>
                    <a:pt x="52" y="146"/>
                  </a:lnTo>
                  <a:lnTo>
                    <a:pt x="54" y="148"/>
                  </a:lnTo>
                  <a:lnTo>
                    <a:pt x="58" y="150"/>
                  </a:lnTo>
                  <a:lnTo>
                    <a:pt x="58" y="150"/>
                  </a:lnTo>
                  <a:lnTo>
                    <a:pt x="62" y="150"/>
                  </a:lnTo>
                  <a:lnTo>
                    <a:pt x="64" y="150"/>
                  </a:lnTo>
                  <a:lnTo>
                    <a:pt x="68" y="148"/>
                  </a:lnTo>
                  <a:lnTo>
                    <a:pt x="68" y="144"/>
                  </a:lnTo>
                  <a:lnTo>
                    <a:pt x="68" y="144"/>
                  </a:lnTo>
                  <a:lnTo>
                    <a:pt x="70" y="142"/>
                  </a:lnTo>
                  <a:lnTo>
                    <a:pt x="74" y="140"/>
                  </a:lnTo>
                  <a:lnTo>
                    <a:pt x="80" y="138"/>
                  </a:lnTo>
                  <a:lnTo>
                    <a:pt x="80" y="138"/>
                  </a:lnTo>
                  <a:lnTo>
                    <a:pt x="82" y="140"/>
                  </a:lnTo>
                  <a:lnTo>
                    <a:pt x="86" y="144"/>
                  </a:lnTo>
                  <a:lnTo>
                    <a:pt x="86" y="144"/>
                  </a:lnTo>
                  <a:lnTo>
                    <a:pt x="86" y="146"/>
                  </a:lnTo>
                  <a:lnTo>
                    <a:pt x="90" y="148"/>
                  </a:lnTo>
                  <a:lnTo>
                    <a:pt x="94" y="148"/>
                  </a:lnTo>
                  <a:lnTo>
                    <a:pt x="98" y="148"/>
                  </a:lnTo>
                  <a:lnTo>
                    <a:pt x="98" y="148"/>
                  </a:lnTo>
                  <a:lnTo>
                    <a:pt x="100" y="146"/>
                  </a:lnTo>
                  <a:lnTo>
                    <a:pt x="104" y="144"/>
                  </a:lnTo>
                  <a:lnTo>
                    <a:pt x="104" y="142"/>
                  </a:lnTo>
                  <a:lnTo>
                    <a:pt x="104" y="138"/>
                  </a:lnTo>
                  <a:lnTo>
                    <a:pt x="104" y="138"/>
                  </a:lnTo>
                  <a:lnTo>
                    <a:pt x="104" y="134"/>
                  </a:lnTo>
                  <a:lnTo>
                    <a:pt x="106" y="132"/>
                  </a:lnTo>
                  <a:lnTo>
                    <a:pt x="110" y="126"/>
                  </a:lnTo>
                  <a:lnTo>
                    <a:pt x="110" y="126"/>
                  </a:lnTo>
                  <a:lnTo>
                    <a:pt x="114" y="126"/>
                  </a:lnTo>
                  <a:lnTo>
                    <a:pt x="118" y="130"/>
                  </a:lnTo>
                  <a:lnTo>
                    <a:pt x="118" y="130"/>
                  </a:lnTo>
                  <a:lnTo>
                    <a:pt x="122" y="130"/>
                  </a:lnTo>
                  <a:lnTo>
                    <a:pt x="124" y="130"/>
                  </a:lnTo>
                  <a:lnTo>
                    <a:pt x="128" y="130"/>
                  </a:lnTo>
                  <a:lnTo>
                    <a:pt x="130" y="128"/>
                  </a:lnTo>
                  <a:lnTo>
                    <a:pt x="130" y="128"/>
                  </a:lnTo>
                  <a:lnTo>
                    <a:pt x="134" y="124"/>
                  </a:lnTo>
                  <a:lnTo>
                    <a:pt x="134" y="120"/>
                  </a:lnTo>
                  <a:lnTo>
                    <a:pt x="134" y="118"/>
                  </a:lnTo>
                  <a:lnTo>
                    <a:pt x="132" y="114"/>
                  </a:lnTo>
                  <a:lnTo>
                    <a:pt x="132" y="114"/>
                  </a:lnTo>
                  <a:close/>
                  <a:moveTo>
                    <a:pt x="44" y="108"/>
                  </a:moveTo>
                  <a:lnTo>
                    <a:pt x="44" y="108"/>
                  </a:lnTo>
                  <a:lnTo>
                    <a:pt x="38" y="100"/>
                  </a:lnTo>
                  <a:lnTo>
                    <a:pt x="34" y="92"/>
                  </a:lnTo>
                  <a:lnTo>
                    <a:pt x="32" y="84"/>
                  </a:lnTo>
                  <a:lnTo>
                    <a:pt x="30" y="76"/>
                  </a:lnTo>
                  <a:lnTo>
                    <a:pt x="32" y="68"/>
                  </a:lnTo>
                  <a:lnTo>
                    <a:pt x="34" y="60"/>
                  </a:lnTo>
                  <a:lnTo>
                    <a:pt x="36" y="52"/>
                  </a:lnTo>
                  <a:lnTo>
                    <a:pt x="42" y="44"/>
                  </a:lnTo>
                  <a:lnTo>
                    <a:pt x="42" y="44"/>
                  </a:lnTo>
                  <a:lnTo>
                    <a:pt x="50" y="38"/>
                  </a:lnTo>
                  <a:lnTo>
                    <a:pt x="56" y="34"/>
                  </a:lnTo>
                  <a:lnTo>
                    <a:pt x="64" y="32"/>
                  </a:lnTo>
                  <a:lnTo>
                    <a:pt x="74" y="30"/>
                  </a:lnTo>
                  <a:lnTo>
                    <a:pt x="82" y="32"/>
                  </a:lnTo>
                  <a:lnTo>
                    <a:pt x="90" y="34"/>
                  </a:lnTo>
                  <a:lnTo>
                    <a:pt x="98" y="38"/>
                  </a:lnTo>
                  <a:lnTo>
                    <a:pt x="104" y="42"/>
                  </a:lnTo>
                  <a:lnTo>
                    <a:pt x="104" y="42"/>
                  </a:lnTo>
                  <a:lnTo>
                    <a:pt x="110" y="50"/>
                  </a:lnTo>
                  <a:lnTo>
                    <a:pt x="114" y="56"/>
                  </a:lnTo>
                  <a:lnTo>
                    <a:pt x="118" y="64"/>
                  </a:lnTo>
                  <a:lnTo>
                    <a:pt x="118" y="74"/>
                  </a:lnTo>
                  <a:lnTo>
                    <a:pt x="118" y="82"/>
                  </a:lnTo>
                  <a:lnTo>
                    <a:pt x="116" y="90"/>
                  </a:lnTo>
                  <a:lnTo>
                    <a:pt x="112" y="98"/>
                  </a:lnTo>
                  <a:lnTo>
                    <a:pt x="106" y="104"/>
                  </a:lnTo>
                  <a:lnTo>
                    <a:pt x="106" y="104"/>
                  </a:lnTo>
                  <a:lnTo>
                    <a:pt x="100" y="110"/>
                  </a:lnTo>
                  <a:lnTo>
                    <a:pt x="92" y="114"/>
                  </a:lnTo>
                  <a:lnTo>
                    <a:pt x="84" y="118"/>
                  </a:lnTo>
                  <a:lnTo>
                    <a:pt x="76" y="118"/>
                  </a:lnTo>
                  <a:lnTo>
                    <a:pt x="68" y="118"/>
                  </a:lnTo>
                  <a:lnTo>
                    <a:pt x="60" y="116"/>
                  </a:lnTo>
                  <a:lnTo>
                    <a:pt x="52" y="112"/>
                  </a:lnTo>
                  <a:lnTo>
                    <a:pt x="44" y="108"/>
                  </a:lnTo>
                  <a:lnTo>
                    <a:pt x="44" y="108"/>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23" name="Freeform 113"/>
            <p:cNvSpPr>
              <a:spLocks/>
            </p:cNvSpPr>
            <p:nvPr/>
          </p:nvSpPr>
          <p:spPr bwMode="auto">
            <a:xfrm>
              <a:off x="10210800" y="2333625"/>
              <a:ext cx="98425" cy="98425"/>
            </a:xfrm>
            <a:custGeom>
              <a:avLst/>
              <a:gdLst/>
              <a:ahLst/>
              <a:cxnLst>
                <a:cxn ang="0">
                  <a:pos x="52" y="52"/>
                </a:cxn>
                <a:cxn ang="0">
                  <a:pos x="52" y="52"/>
                </a:cxn>
                <a:cxn ang="0">
                  <a:pos x="48" y="56"/>
                </a:cxn>
                <a:cxn ang="0">
                  <a:pos x="42" y="60"/>
                </a:cxn>
                <a:cxn ang="0">
                  <a:pos x="30" y="62"/>
                </a:cxn>
                <a:cxn ang="0">
                  <a:pos x="18" y="60"/>
                </a:cxn>
                <a:cxn ang="0">
                  <a:pos x="14" y="56"/>
                </a:cxn>
                <a:cxn ang="0">
                  <a:pos x="8" y="52"/>
                </a:cxn>
                <a:cxn ang="0">
                  <a:pos x="8" y="52"/>
                </a:cxn>
                <a:cxn ang="0">
                  <a:pos x="4" y="48"/>
                </a:cxn>
                <a:cxn ang="0">
                  <a:pos x="2" y="42"/>
                </a:cxn>
                <a:cxn ang="0">
                  <a:pos x="0" y="30"/>
                </a:cxn>
                <a:cxn ang="0">
                  <a:pos x="2" y="20"/>
                </a:cxn>
                <a:cxn ang="0">
                  <a:pos x="4" y="14"/>
                </a:cxn>
                <a:cxn ang="0">
                  <a:pos x="8" y="8"/>
                </a:cxn>
                <a:cxn ang="0">
                  <a:pos x="8" y="8"/>
                </a:cxn>
                <a:cxn ang="0">
                  <a:pos x="14" y="4"/>
                </a:cxn>
                <a:cxn ang="0">
                  <a:pos x="18" y="2"/>
                </a:cxn>
                <a:cxn ang="0">
                  <a:pos x="30" y="0"/>
                </a:cxn>
                <a:cxn ang="0">
                  <a:pos x="42" y="2"/>
                </a:cxn>
                <a:cxn ang="0">
                  <a:pos x="48" y="4"/>
                </a:cxn>
                <a:cxn ang="0">
                  <a:pos x="52" y="8"/>
                </a:cxn>
                <a:cxn ang="0">
                  <a:pos x="52" y="8"/>
                </a:cxn>
                <a:cxn ang="0">
                  <a:pos x="56" y="14"/>
                </a:cxn>
                <a:cxn ang="0">
                  <a:pos x="60" y="20"/>
                </a:cxn>
                <a:cxn ang="0">
                  <a:pos x="62" y="30"/>
                </a:cxn>
                <a:cxn ang="0">
                  <a:pos x="60" y="42"/>
                </a:cxn>
                <a:cxn ang="0">
                  <a:pos x="56" y="48"/>
                </a:cxn>
                <a:cxn ang="0">
                  <a:pos x="52" y="52"/>
                </a:cxn>
                <a:cxn ang="0">
                  <a:pos x="52" y="52"/>
                </a:cxn>
              </a:cxnLst>
              <a:rect l="0" t="0" r="r" b="b"/>
              <a:pathLst>
                <a:path w="62" h="62">
                  <a:moveTo>
                    <a:pt x="52" y="52"/>
                  </a:moveTo>
                  <a:lnTo>
                    <a:pt x="52" y="52"/>
                  </a:lnTo>
                  <a:lnTo>
                    <a:pt x="48" y="56"/>
                  </a:lnTo>
                  <a:lnTo>
                    <a:pt x="42" y="60"/>
                  </a:lnTo>
                  <a:lnTo>
                    <a:pt x="30" y="62"/>
                  </a:lnTo>
                  <a:lnTo>
                    <a:pt x="18" y="60"/>
                  </a:lnTo>
                  <a:lnTo>
                    <a:pt x="14" y="56"/>
                  </a:lnTo>
                  <a:lnTo>
                    <a:pt x="8" y="52"/>
                  </a:lnTo>
                  <a:lnTo>
                    <a:pt x="8" y="52"/>
                  </a:lnTo>
                  <a:lnTo>
                    <a:pt x="4" y="48"/>
                  </a:lnTo>
                  <a:lnTo>
                    <a:pt x="2" y="42"/>
                  </a:lnTo>
                  <a:lnTo>
                    <a:pt x="0" y="30"/>
                  </a:lnTo>
                  <a:lnTo>
                    <a:pt x="2" y="20"/>
                  </a:lnTo>
                  <a:lnTo>
                    <a:pt x="4" y="14"/>
                  </a:lnTo>
                  <a:lnTo>
                    <a:pt x="8" y="8"/>
                  </a:lnTo>
                  <a:lnTo>
                    <a:pt x="8" y="8"/>
                  </a:lnTo>
                  <a:lnTo>
                    <a:pt x="14" y="4"/>
                  </a:lnTo>
                  <a:lnTo>
                    <a:pt x="18" y="2"/>
                  </a:lnTo>
                  <a:lnTo>
                    <a:pt x="30" y="0"/>
                  </a:lnTo>
                  <a:lnTo>
                    <a:pt x="42" y="2"/>
                  </a:lnTo>
                  <a:lnTo>
                    <a:pt x="48" y="4"/>
                  </a:lnTo>
                  <a:lnTo>
                    <a:pt x="52" y="8"/>
                  </a:lnTo>
                  <a:lnTo>
                    <a:pt x="52" y="8"/>
                  </a:lnTo>
                  <a:lnTo>
                    <a:pt x="56" y="14"/>
                  </a:lnTo>
                  <a:lnTo>
                    <a:pt x="60" y="20"/>
                  </a:lnTo>
                  <a:lnTo>
                    <a:pt x="62" y="30"/>
                  </a:lnTo>
                  <a:lnTo>
                    <a:pt x="60" y="42"/>
                  </a:lnTo>
                  <a:lnTo>
                    <a:pt x="56" y="48"/>
                  </a:lnTo>
                  <a:lnTo>
                    <a:pt x="52" y="52"/>
                  </a:lnTo>
                  <a:lnTo>
                    <a:pt x="52" y="5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grpSp>
      <p:sp>
        <p:nvSpPr>
          <p:cNvPr id="224" name="Rounded Rectangle 14"/>
          <p:cNvSpPr/>
          <p:nvPr/>
        </p:nvSpPr>
        <p:spPr bwMode="white">
          <a:xfrm>
            <a:off x="7652949" y="2580898"/>
            <a:ext cx="768161" cy="2638331"/>
          </a:xfrm>
          <a:prstGeom prst="roundRect">
            <a:avLst>
              <a:gd name="adj" fmla="val 6216"/>
            </a:avLst>
          </a:prstGeom>
          <a:noFill/>
          <a:ln>
            <a:solidFill>
              <a:srgbClr val="FFC000"/>
            </a:solidFill>
            <a:headEnd type="none" w="med" len="med"/>
            <a:tailEnd type="none" w="med" len="med"/>
          </a:ln>
          <a:effectLst>
            <a:outerShdw blurRad="40000" dist="23000" dir="5400000" rotWithShape="0">
              <a:srgbClr val="000000">
                <a:alpha val="35000"/>
              </a:srgbClr>
            </a:outerShdw>
          </a:effectLst>
          <a:scene3d>
            <a:camera prst="orthographicFront" fov="0">
              <a:rot lat="0" lon="0" rev="0"/>
            </a:camera>
            <a:lightRig rig="soft" dir="tl">
              <a:rot lat="0" lon="0" rev="20000000"/>
            </a:lightRig>
          </a:scene3d>
          <a:sp3d prstMaterial="matte"/>
        </p:spPr>
        <p:txBody>
          <a:bodyPr vert="horz" wrap="square" lIns="68568" tIns="34284" rIns="68568" bIns="34284" numCol="1" rtlCol="0" anchor="ctr" anchorCtr="0" compatLnSpc="1">
            <a:prstTxWarp prst="textNoShape">
              <a:avLst/>
            </a:prstTxWarp>
          </a:bodyPr>
          <a:lstStyle/>
          <a:p>
            <a:pPr algn="ctr" defTabSz="685454">
              <a:defRPr/>
            </a:pPr>
            <a:endParaRPr lang="en-US" sz="1350" kern="0" dirty="0">
              <a:gradFill>
                <a:gsLst>
                  <a:gs pos="0">
                    <a:srgbClr val="FFFFFF"/>
                  </a:gs>
                  <a:gs pos="100000">
                    <a:srgbClr val="FFFFFF"/>
                  </a:gs>
                </a:gsLst>
                <a:lin ang="5400000" scaled="0"/>
              </a:gradFill>
              <a:latin typeface="Microsoft PhagsPa" pitchFamily="34" charset="0"/>
            </a:endParaRPr>
          </a:p>
        </p:txBody>
      </p:sp>
      <p:sp>
        <p:nvSpPr>
          <p:cNvPr id="225" name="五边形 224"/>
          <p:cNvSpPr/>
          <p:nvPr/>
        </p:nvSpPr>
        <p:spPr bwMode="auto">
          <a:xfrm rot="5400000">
            <a:off x="-273873" y="4453126"/>
            <a:ext cx="1191298" cy="279710"/>
          </a:xfrm>
          <a:prstGeom prst="homePlate">
            <a:avLst/>
          </a:prstGeom>
          <a:noFill/>
          <a:ln w="9525">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z="1350">
              <a:latin typeface="Microsoft PhagsPa" pitchFamily="34" charset="0"/>
              <a:ea typeface="宋体" charset="-122"/>
            </a:endParaRPr>
          </a:p>
        </p:txBody>
      </p:sp>
      <p:sp>
        <p:nvSpPr>
          <p:cNvPr id="229" name="Freeform 67"/>
          <p:cNvSpPr>
            <a:spLocks noEditPoints="1"/>
          </p:cNvSpPr>
          <p:nvPr/>
        </p:nvSpPr>
        <p:spPr bwMode="auto">
          <a:xfrm>
            <a:off x="7794283" y="2932573"/>
            <a:ext cx="416967" cy="468488"/>
          </a:xfrm>
          <a:custGeom>
            <a:avLst/>
            <a:gdLst/>
            <a:ahLst/>
            <a:cxnLst>
              <a:cxn ang="0">
                <a:pos x="16100" y="7268"/>
              </a:cxn>
              <a:cxn ang="0">
                <a:pos x="10856" y="8878"/>
              </a:cxn>
              <a:cxn ang="0">
                <a:pos x="8878" y="8234"/>
              </a:cxn>
              <a:cxn ang="0">
                <a:pos x="8418" y="0"/>
              </a:cxn>
              <a:cxn ang="0">
                <a:pos x="7406" y="6394"/>
              </a:cxn>
              <a:cxn ang="0">
                <a:pos x="6532" y="6302"/>
              </a:cxn>
              <a:cxn ang="0">
                <a:pos x="4738" y="5566"/>
              </a:cxn>
              <a:cxn ang="0">
                <a:pos x="3542" y="5337"/>
              </a:cxn>
              <a:cxn ang="0">
                <a:pos x="2622" y="5566"/>
              </a:cxn>
              <a:cxn ang="0">
                <a:pos x="1702" y="6348"/>
              </a:cxn>
              <a:cxn ang="0">
                <a:pos x="2346" y="9844"/>
              </a:cxn>
              <a:cxn ang="0">
                <a:pos x="2990" y="11270"/>
              </a:cxn>
              <a:cxn ang="0">
                <a:pos x="3496" y="11730"/>
              </a:cxn>
              <a:cxn ang="0">
                <a:pos x="5152" y="11822"/>
              </a:cxn>
              <a:cxn ang="0">
                <a:pos x="5934" y="11638"/>
              </a:cxn>
              <a:cxn ang="0">
                <a:pos x="6716" y="10396"/>
              </a:cxn>
              <a:cxn ang="0">
                <a:pos x="7268" y="8188"/>
              </a:cxn>
              <a:cxn ang="0">
                <a:pos x="3956" y="14168"/>
              </a:cxn>
              <a:cxn ang="0">
                <a:pos x="4324" y="12374"/>
              </a:cxn>
              <a:cxn ang="0">
                <a:pos x="5014" y="13110"/>
              </a:cxn>
              <a:cxn ang="0">
                <a:pos x="8970" y="13616"/>
              </a:cxn>
              <a:cxn ang="0">
                <a:pos x="0" y="13616"/>
              </a:cxn>
              <a:cxn ang="0">
                <a:pos x="13156" y="5888"/>
              </a:cxn>
              <a:cxn ang="0">
                <a:pos x="13432" y="5520"/>
              </a:cxn>
              <a:cxn ang="0">
                <a:pos x="13432" y="4186"/>
              </a:cxn>
              <a:cxn ang="0">
                <a:pos x="12420" y="2944"/>
              </a:cxn>
              <a:cxn ang="0">
                <a:pos x="12052" y="2438"/>
              </a:cxn>
              <a:cxn ang="0">
                <a:pos x="12006" y="1840"/>
              </a:cxn>
              <a:cxn ang="0">
                <a:pos x="12190" y="1656"/>
              </a:cxn>
              <a:cxn ang="0">
                <a:pos x="12374" y="2760"/>
              </a:cxn>
              <a:cxn ang="0">
                <a:pos x="13340" y="1564"/>
              </a:cxn>
              <a:cxn ang="0">
                <a:pos x="12696" y="1012"/>
              </a:cxn>
              <a:cxn ang="0">
                <a:pos x="11684" y="1012"/>
              </a:cxn>
              <a:cxn ang="0">
                <a:pos x="11132" y="1334"/>
              </a:cxn>
              <a:cxn ang="0">
                <a:pos x="10948" y="1978"/>
              </a:cxn>
              <a:cxn ang="0">
                <a:pos x="11040" y="2898"/>
              </a:cxn>
              <a:cxn ang="0">
                <a:pos x="11914" y="3910"/>
              </a:cxn>
              <a:cxn ang="0">
                <a:pos x="12374" y="4646"/>
              </a:cxn>
              <a:cxn ang="0">
                <a:pos x="12282" y="5382"/>
              </a:cxn>
              <a:cxn ang="0">
                <a:pos x="12052" y="5382"/>
              </a:cxn>
              <a:cxn ang="0">
                <a:pos x="11960" y="5244"/>
              </a:cxn>
              <a:cxn ang="0">
                <a:pos x="10948" y="5244"/>
              </a:cxn>
              <a:cxn ang="0">
                <a:pos x="11132" y="5796"/>
              </a:cxn>
              <a:cxn ang="0">
                <a:pos x="11684" y="6440"/>
              </a:cxn>
            </a:cxnLst>
            <a:rect l="0" t="0" r="r" b="b"/>
            <a:pathLst>
              <a:path w="16100" h="16376">
                <a:moveTo>
                  <a:pt x="8418" y="0"/>
                </a:moveTo>
                <a:lnTo>
                  <a:pt x="16100" y="0"/>
                </a:lnTo>
                <a:lnTo>
                  <a:pt x="16100" y="7268"/>
                </a:lnTo>
                <a:lnTo>
                  <a:pt x="11362" y="7268"/>
                </a:lnTo>
                <a:lnTo>
                  <a:pt x="10396" y="8096"/>
                </a:lnTo>
                <a:lnTo>
                  <a:pt x="10856" y="8878"/>
                </a:lnTo>
                <a:lnTo>
                  <a:pt x="7866" y="9798"/>
                </a:lnTo>
                <a:lnTo>
                  <a:pt x="9752" y="8603"/>
                </a:lnTo>
                <a:lnTo>
                  <a:pt x="8878" y="8234"/>
                </a:lnTo>
                <a:lnTo>
                  <a:pt x="9752" y="7268"/>
                </a:lnTo>
                <a:lnTo>
                  <a:pt x="8418" y="7268"/>
                </a:lnTo>
                <a:lnTo>
                  <a:pt x="8418" y="0"/>
                </a:lnTo>
                <a:close/>
                <a:moveTo>
                  <a:pt x="7268" y="8188"/>
                </a:moveTo>
                <a:lnTo>
                  <a:pt x="7682" y="6348"/>
                </a:lnTo>
                <a:lnTo>
                  <a:pt x="7406" y="6394"/>
                </a:lnTo>
                <a:lnTo>
                  <a:pt x="7084" y="6394"/>
                </a:lnTo>
                <a:lnTo>
                  <a:pt x="6578" y="7038"/>
                </a:lnTo>
                <a:lnTo>
                  <a:pt x="6532" y="6302"/>
                </a:lnTo>
                <a:lnTo>
                  <a:pt x="5934" y="6072"/>
                </a:lnTo>
                <a:lnTo>
                  <a:pt x="5336" y="5842"/>
                </a:lnTo>
                <a:lnTo>
                  <a:pt x="4738" y="5566"/>
                </a:lnTo>
                <a:lnTo>
                  <a:pt x="4140" y="5382"/>
                </a:lnTo>
                <a:lnTo>
                  <a:pt x="3864" y="5337"/>
                </a:lnTo>
                <a:lnTo>
                  <a:pt x="3542" y="5337"/>
                </a:lnTo>
                <a:lnTo>
                  <a:pt x="3266" y="5337"/>
                </a:lnTo>
                <a:lnTo>
                  <a:pt x="2944" y="5428"/>
                </a:lnTo>
                <a:lnTo>
                  <a:pt x="2622" y="5566"/>
                </a:lnTo>
                <a:lnTo>
                  <a:pt x="2346" y="5750"/>
                </a:lnTo>
                <a:lnTo>
                  <a:pt x="2025" y="5980"/>
                </a:lnTo>
                <a:lnTo>
                  <a:pt x="1702" y="6348"/>
                </a:lnTo>
                <a:lnTo>
                  <a:pt x="2070" y="8142"/>
                </a:lnTo>
                <a:lnTo>
                  <a:pt x="2162" y="9016"/>
                </a:lnTo>
                <a:lnTo>
                  <a:pt x="2346" y="9844"/>
                </a:lnTo>
                <a:lnTo>
                  <a:pt x="2484" y="10350"/>
                </a:lnTo>
                <a:lnTo>
                  <a:pt x="2714" y="10810"/>
                </a:lnTo>
                <a:lnTo>
                  <a:pt x="2990" y="11270"/>
                </a:lnTo>
                <a:lnTo>
                  <a:pt x="3312" y="11638"/>
                </a:lnTo>
                <a:lnTo>
                  <a:pt x="3404" y="11730"/>
                </a:lnTo>
                <a:lnTo>
                  <a:pt x="3496" y="11730"/>
                </a:lnTo>
                <a:lnTo>
                  <a:pt x="4048" y="11822"/>
                </a:lnTo>
                <a:lnTo>
                  <a:pt x="4600" y="11822"/>
                </a:lnTo>
                <a:lnTo>
                  <a:pt x="5152" y="11822"/>
                </a:lnTo>
                <a:lnTo>
                  <a:pt x="5750" y="11730"/>
                </a:lnTo>
                <a:lnTo>
                  <a:pt x="5842" y="11730"/>
                </a:lnTo>
                <a:lnTo>
                  <a:pt x="5934" y="11638"/>
                </a:lnTo>
                <a:lnTo>
                  <a:pt x="6210" y="11270"/>
                </a:lnTo>
                <a:lnTo>
                  <a:pt x="6486" y="10856"/>
                </a:lnTo>
                <a:lnTo>
                  <a:pt x="6716" y="10396"/>
                </a:lnTo>
                <a:lnTo>
                  <a:pt x="6946" y="9890"/>
                </a:lnTo>
                <a:lnTo>
                  <a:pt x="7130" y="9062"/>
                </a:lnTo>
                <a:lnTo>
                  <a:pt x="7268" y="8188"/>
                </a:lnTo>
                <a:close/>
                <a:moveTo>
                  <a:pt x="0" y="13616"/>
                </a:moveTo>
                <a:lnTo>
                  <a:pt x="2576" y="12420"/>
                </a:lnTo>
                <a:lnTo>
                  <a:pt x="3956" y="14168"/>
                </a:lnTo>
                <a:lnTo>
                  <a:pt x="4278" y="13110"/>
                </a:lnTo>
                <a:lnTo>
                  <a:pt x="4048" y="12742"/>
                </a:lnTo>
                <a:lnTo>
                  <a:pt x="4324" y="12374"/>
                </a:lnTo>
                <a:lnTo>
                  <a:pt x="4968" y="12374"/>
                </a:lnTo>
                <a:lnTo>
                  <a:pt x="5290" y="12742"/>
                </a:lnTo>
                <a:lnTo>
                  <a:pt x="5014" y="13110"/>
                </a:lnTo>
                <a:lnTo>
                  <a:pt x="5336" y="14076"/>
                </a:lnTo>
                <a:lnTo>
                  <a:pt x="6670" y="12420"/>
                </a:lnTo>
                <a:lnTo>
                  <a:pt x="8970" y="13616"/>
                </a:lnTo>
                <a:lnTo>
                  <a:pt x="8970" y="16376"/>
                </a:lnTo>
                <a:lnTo>
                  <a:pt x="0" y="16376"/>
                </a:lnTo>
                <a:lnTo>
                  <a:pt x="0" y="13616"/>
                </a:lnTo>
                <a:close/>
                <a:moveTo>
                  <a:pt x="12696" y="6118"/>
                </a:moveTo>
                <a:lnTo>
                  <a:pt x="13064" y="5980"/>
                </a:lnTo>
                <a:lnTo>
                  <a:pt x="13156" y="5888"/>
                </a:lnTo>
                <a:lnTo>
                  <a:pt x="13294" y="5796"/>
                </a:lnTo>
                <a:lnTo>
                  <a:pt x="13386" y="5658"/>
                </a:lnTo>
                <a:lnTo>
                  <a:pt x="13432" y="5520"/>
                </a:lnTo>
                <a:lnTo>
                  <a:pt x="13478" y="5152"/>
                </a:lnTo>
                <a:lnTo>
                  <a:pt x="13478" y="4509"/>
                </a:lnTo>
                <a:lnTo>
                  <a:pt x="13432" y="4186"/>
                </a:lnTo>
                <a:lnTo>
                  <a:pt x="13294" y="3956"/>
                </a:lnTo>
                <a:lnTo>
                  <a:pt x="13018" y="3588"/>
                </a:lnTo>
                <a:lnTo>
                  <a:pt x="12420" y="2944"/>
                </a:lnTo>
                <a:lnTo>
                  <a:pt x="12236" y="2760"/>
                </a:lnTo>
                <a:lnTo>
                  <a:pt x="12098" y="2576"/>
                </a:lnTo>
                <a:lnTo>
                  <a:pt x="12052" y="2438"/>
                </a:lnTo>
                <a:lnTo>
                  <a:pt x="12006" y="2300"/>
                </a:lnTo>
                <a:lnTo>
                  <a:pt x="12006" y="1932"/>
                </a:lnTo>
                <a:lnTo>
                  <a:pt x="12006" y="1840"/>
                </a:lnTo>
                <a:lnTo>
                  <a:pt x="12052" y="1748"/>
                </a:lnTo>
                <a:lnTo>
                  <a:pt x="12098" y="1656"/>
                </a:lnTo>
                <a:lnTo>
                  <a:pt x="12190" y="1656"/>
                </a:lnTo>
                <a:lnTo>
                  <a:pt x="12328" y="1702"/>
                </a:lnTo>
                <a:lnTo>
                  <a:pt x="12374" y="1794"/>
                </a:lnTo>
                <a:lnTo>
                  <a:pt x="12374" y="2760"/>
                </a:lnTo>
                <a:lnTo>
                  <a:pt x="13386" y="2760"/>
                </a:lnTo>
                <a:lnTo>
                  <a:pt x="13386" y="1886"/>
                </a:lnTo>
                <a:lnTo>
                  <a:pt x="13340" y="1564"/>
                </a:lnTo>
                <a:lnTo>
                  <a:pt x="13202" y="1288"/>
                </a:lnTo>
                <a:lnTo>
                  <a:pt x="13018" y="1150"/>
                </a:lnTo>
                <a:lnTo>
                  <a:pt x="12696" y="1012"/>
                </a:lnTo>
                <a:lnTo>
                  <a:pt x="12696" y="644"/>
                </a:lnTo>
                <a:lnTo>
                  <a:pt x="11684" y="644"/>
                </a:lnTo>
                <a:lnTo>
                  <a:pt x="11684" y="1012"/>
                </a:lnTo>
                <a:lnTo>
                  <a:pt x="11362" y="1150"/>
                </a:lnTo>
                <a:lnTo>
                  <a:pt x="11224" y="1243"/>
                </a:lnTo>
                <a:lnTo>
                  <a:pt x="11132" y="1334"/>
                </a:lnTo>
                <a:lnTo>
                  <a:pt x="11040" y="1472"/>
                </a:lnTo>
                <a:lnTo>
                  <a:pt x="10994" y="1610"/>
                </a:lnTo>
                <a:lnTo>
                  <a:pt x="10948" y="1978"/>
                </a:lnTo>
                <a:lnTo>
                  <a:pt x="10948" y="2530"/>
                </a:lnTo>
                <a:lnTo>
                  <a:pt x="10948" y="2714"/>
                </a:lnTo>
                <a:lnTo>
                  <a:pt x="11040" y="2898"/>
                </a:lnTo>
                <a:lnTo>
                  <a:pt x="11132" y="3082"/>
                </a:lnTo>
                <a:lnTo>
                  <a:pt x="11316" y="3312"/>
                </a:lnTo>
                <a:lnTo>
                  <a:pt x="11914" y="3910"/>
                </a:lnTo>
                <a:lnTo>
                  <a:pt x="12190" y="4232"/>
                </a:lnTo>
                <a:lnTo>
                  <a:pt x="12328" y="4462"/>
                </a:lnTo>
                <a:lnTo>
                  <a:pt x="12374" y="4646"/>
                </a:lnTo>
                <a:lnTo>
                  <a:pt x="12374" y="5244"/>
                </a:lnTo>
                <a:lnTo>
                  <a:pt x="12328" y="5337"/>
                </a:lnTo>
                <a:lnTo>
                  <a:pt x="12282" y="5382"/>
                </a:lnTo>
                <a:lnTo>
                  <a:pt x="12236" y="5382"/>
                </a:lnTo>
                <a:lnTo>
                  <a:pt x="12144" y="5428"/>
                </a:lnTo>
                <a:lnTo>
                  <a:pt x="12052" y="5382"/>
                </a:lnTo>
                <a:lnTo>
                  <a:pt x="12006" y="5382"/>
                </a:lnTo>
                <a:lnTo>
                  <a:pt x="11960" y="5337"/>
                </a:lnTo>
                <a:lnTo>
                  <a:pt x="11960" y="5244"/>
                </a:lnTo>
                <a:lnTo>
                  <a:pt x="11960" y="4048"/>
                </a:lnTo>
                <a:lnTo>
                  <a:pt x="10948" y="4048"/>
                </a:lnTo>
                <a:lnTo>
                  <a:pt x="10948" y="5244"/>
                </a:lnTo>
                <a:lnTo>
                  <a:pt x="10994" y="5520"/>
                </a:lnTo>
                <a:lnTo>
                  <a:pt x="11040" y="5658"/>
                </a:lnTo>
                <a:lnTo>
                  <a:pt x="11132" y="5796"/>
                </a:lnTo>
                <a:lnTo>
                  <a:pt x="11362" y="5980"/>
                </a:lnTo>
                <a:lnTo>
                  <a:pt x="11684" y="6118"/>
                </a:lnTo>
                <a:lnTo>
                  <a:pt x="11684" y="6440"/>
                </a:lnTo>
                <a:lnTo>
                  <a:pt x="12696" y="6440"/>
                </a:lnTo>
                <a:lnTo>
                  <a:pt x="12696" y="6118"/>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Microsoft PhagsPa" pitchFamily="34" charset="0"/>
            </a:endParaRPr>
          </a:p>
        </p:txBody>
      </p:sp>
      <p:sp>
        <p:nvSpPr>
          <p:cNvPr id="230" name="Rectangle 6"/>
          <p:cNvSpPr/>
          <p:nvPr/>
        </p:nvSpPr>
        <p:spPr>
          <a:xfrm>
            <a:off x="7510046" y="3682644"/>
            <a:ext cx="953845" cy="1038738"/>
          </a:xfrm>
          <a:prstGeom prst="rect">
            <a:avLst/>
          </a:prstGeom>
        </p:spPr>
        <p:txBody>
          <a:bodyPr wrap="square" lIns="68571" tIns="34286" rIns="68571" bIns="34286">
            <a:spAutoFit/>
          </a:bodyPr>
          <a:lstStyle/>
          <a:p>
            <a:pPr marL="0" lvl="1" algn="ctr">
              <a:tabLst>
                <a:tab pos="1371360" algn="l"/>
              </a:tabLst>
            </a:pPr>
            <a:r>
              <a:rPr lang="en-US" sz="1050" b="1" dirty="0">
                <a:solidFill>
                  <a:srgbClr val="FFC000"/>
                </a:solidFill>
                <a:latin typeface="Microsoft PhagsPa" pitchFamily="34" charset="0"/>
                <a:cs typeface="Arial" pitchFamily="34" charset="0"/>
              </a:rPr>
              <a:t>Energy</a:t>
            </a:r>
          </a:p>
          <a:p>
            <a:pPr marL="0" lvl="1" algn="ctr">
              <a:tabLst>
                <a:tab pos="1371360" algn="l"/>
              </a:tabLst>
            </a:pPr>
            <a:r>
              <a:rPr lang="en-US" sz="1050" b="1" dirty="0">
                <a:solidFill>
                  <a:srgbClr val="FFC000"/>
                </a:solidFill>
                <a:latin typeface="Microsoft PhagsPa" pitchFamily="34" charset="0"/>
                <a:cs typeface="Arial" pitchFamily="34" charset="0"/>
              </a:rPr>
              <a:t>Saving </a:t>
            </a:r>
          </a:p>
          <a:p>
            <a:pPr marL="0" lvl="1" algn="ctr">
              <a:tabLst>
                <a:tab pos="1371360" algn="l"/>
              </a:tabLst>
            </a:pPr>
            <a:endParaRPr lang="en-US" sz="1050" b="1" dirty="0">
              <a:solidFill>
                <a:srgbClr val="FFC000"/>
              </a:solidFill>
              <a:latin typeface="Microsoft PhagsPa" pitchFamily="34" charset="0"/>
              <a:cs typeface="Arial" pitchFamily="34" charset="0"/>
            </a:endParaRPr>
          </a:p>
          <a:p>
            <a:pPr marL="0" lvl="1" algn="ctr">
              <a:tabLst>
                <a:tab pos="1371360" algn="l"/>
              </a:tabLst>
            </a:pPr>
            <a:r>
              <a:rPr lang="en-US" sz="1050" b="1" dirty="0">
                <a:solidFill>
                  <a:srgbClr val="FFC000"/>
                </a:solidFill>
                <a:latin typeface="Microsoft PhagsPa" pitchFamily="34" charset="0"/>
                <a:cs typeface="Arial" pitchFamily="34" charset="0"/>
              </a:rPr>
              <a:t>Target</a:t>
            </a:r>
          </a:p>
          <a:p>
            <a:pPr marL="0" lvl="1" algn="ctr">
              <a:tabLst>
                <a:tab pos="1371360" algn="l"/>
              </a:tabLst>
            </a:pPr>
            <a:r>
              <a:rPr lang="en-US" sz="1050" b="1" dirty="0">
                <a:solidFill>
                  <a:srgbClr val="FFC000"/>
                </a:solidFill>
                <a:latin typeface="Microsoft PhagsPa" pitchFamily="34" charset="0"/>
                <a:cs typeface="Arial" pitchFamily="34" charset="0"/>
              </a:rPr>
              <a:t>&amp; </a:t>
            </a:r>
          </a:p>
          <a:p>
            <a:pPr marL="0" lvl="1" algn="ctr">
              <a:tabLst>
                <a:tab pos="1371360" algn="l"/>
              </a:tabLst>
            </a:pPr>
            <a:r>
              <a:rPr lang="en-US" sz="1050" b="1" dirty="0">
                <a:solidFill>
                  <a:srgbClr val="FFC000"/>
                </a:solidFill>
                <a:latin typeface="Microsoft PhagsPa" pitchFamily="34" charset="0"/>
                <a:cs typeface="Arial" pitchFamily="34" charset="0"/>
              </a:rPr>
              <a:t>Strategy</a:t>
            </a:r>
            <a:endParaRPr lang="en-US" sz="1050" b="1" dirty="0">
              <a:solidFill>
                <a:srgbClr val="FFC000"/>
              </a:solidFill>
              <a:latin typeface="Microsoft PhagsPa" pitchFamily="34" charset="0"/>
              <a:cs typeface="Arial" pitchFamily="34" charset="0"/>
            </a:endParaRPr>
          </a:p>
        </p:txBody>
      </p:sp>
      <p:sp>
        <p:nvSpPr>
          <p:cNvPr id="231" name="Rounded Rectangle 14"/>
          <p:cNvSpPr/>
          <p:nvPr/>
        </p:nvSpPr>
        <p:spPr bwMode="white">
          <a:xfrm>
            <a:off x="3724374" y="1899168"/>
            <a:ext cx="1551939" cy="3409022"/>
          </a:xfrm>
          <a:prstGeom prst="roundRect">
            <a:avLst>
              <a:gd name="adj" fmla="val 6216"/>
            </a:avLst>
          </a:prstGeom>
          <a:noFill/>
          <a:ln>
            <a:solidFill>
              <a:schemeClr val="tx1">
                <a:lumMod val="50000"/>
                <a:lumOff val="5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68568" tIns="34284" rIns="68568" bIns="34284" numCol="1" rtlCol="0" anchor="ctr" anchorCtr="0" compatLnSpc="1">
            <a:prstTxWarp prst="textNoShape">
              <a:avLst/>
            </a:prstTxWarp>
          </a:bodyPr>
          <a:lstStyle/>
          <a:p>
            <a:pPr algn="ctr" defTabSz="685454"/>
            <a:endParaRPr lang="en-US" kern="0" dirty="0">
              <a:gradFill>
                <a:gsLst>
                  <a:gs pos="0">
                    <a:srgbClr val="FFFFFF"/>
                  </a:gs>
                  <a:gs pos="100000">
                    <a:srgbClr val="FFFFFF"/>
                  </a:gs>
                </a:gsLst>
                <a:lin ang="5400000" scaled="0"/>
              </a:gradFill>
              <a:latin typeface="+mn-lt"/>
              <a:ea typeface="华文细黑"/>
            </a:endParaRPr>
          </a:p>
        </p:txBody>
      </p:sp>
      <p:sp>
        <p:nvSpPr>
          <p:cNvPr id="232" name="Rounded Rectangle 14"/>
          <p:cNvSpPr/>
          <p:nvPr/>
        </p:nvSpPr>
        <p:spPr bwMode="white">
          <a:xfrm>
            <a:off x="1788898" y="1899168"/>
            <a:ext cx="1551939" cy="3409022"/>
          </a:xfrm>
          <a:prstGeom prst="roundRect">
            <a:avLst>
              <a:gd name="adj" fmla="val 6216"/>
            </a:avLst>
          </a:prstGeom>
          <a:noFill/>
          <a:ln>
            <a:solidFill>
              <a:schemeClr val="tx1">
                <a:lumMod val="50000"/>
                <a:lumOff val="5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68568" tIns="34284" rIns="68568" bIns="34284" numCol="1" rtlCol="0" anchor="ctr" anchorCtr="0" compatLnSpc="1">
            <a:prstTxWarp prst="textNoShape">
              <a:avLst/>
            </a:prstTxWarp>
          </a:bodyPr>
          <a:lstStyle/>
          <a:p>
            <a:pPr algn="ctr" defTabSz="685454"/>
            <a:endParaRPr lang="en-US" kern="0" dirty="0">
              <a:gradFill>
                <a:gsLst>
                  <a:gs pos="0">
                    <a:srgbClr val="FFFFFF"/>
                  </a:gs>
                  <a:gs pos="100000">
                    <a:srgbClr val="FFFFFF"/>
                  </a:gs>
                </a:gsLst>
                <a:lin ang="5400000" scaled="0"/>
              </a:gradFill>
              <a:latin typeface="+mn-lt"/>
              <a:ea typeface="华文细黑"/>
            </a:endParaRPr>
          </a:p>
        </p:txBody>
      </p:sp>
      <p:sp>
        <p:nvSpPr>
          <p:cNvPr id="234" name="Rectangle 6"/>
          <p:cNvSpPr/>
          <p:nvPr/>
        </p:nvSpPr>
        <p:spPr>
          <a:xfrm>
            <a:off x="1768474" y="1960590"/>
            <a:ext cx="1525005" cy="600156"/>
          </a:xfrm>
          <a:prstGeom prst="rect">
            <a:avLst/>
          </a:prstGeom>
        </p:spPr>
        <p:txBody>
          <a:bodyPr wrap="square" lIns="68571" tIns="34286" rIns="68571" bIns="34286">
            <a:spAutoFit/>
          </a:bodyPr>
          <a:lstStyle/>
          <a:p>
            <a:pPr marL="0" lvl="1" algn="ctr">
              <a:tabLst>
                <a:tab pos="1371360" algn="l"/>
              </a:tabLst>
            </a:pPr>
            <a:r>
              <a:rPr lang="en-US" sz="1050" b="1" dirty="0">
                <a:solidFill>
                  <a:schemeClr val="bg1"/>
                </a:solidFill>
                <a:latin typeface="Microsoft PhagsPa" pitchFamily="34" charset="0"/>
                <a:cs typeface="Arial" pitchFamily="34" charset="0"/>
              </a:rPr>
              <a:t>Optimizing </a:t>
            </a:r>
          </a:p>
          <a:p>
            <a:pPr marL="0" lvl="1" algn="ctr">
              <a:tabLst>
                <a:tab pos="1371360" algn="l"/>
              </a:tabLst>
            </a:pPr>
            <a:r>
              <a:rPr lang="en-US" sz="1350" b="1" dirty="0">
                <a:solidFill>
                  <a:srgbClr val="FFC000"/>
                </a:solidFill>
                <a:latin typeface="Microsoft PhagsPa" pitchFamily="34" charset="0"/>
                <a:cs typeface="Arial" pitchFamily="34" charset="0"/>
              </a:rPr>
              <a:t>Network </a:t>
            </a:r>
          </a:p>
          <a:p>
            <a:pPr marL="0" lvl="1" algn="ctr">
              <a:tabLst>
                <a:tab pos="1371360" algn="l"/>
              </a:tabLst>
            </a:pPr>
            <a:r>
              <a:rPr lang="en-US" sz="1050" b="1" dirty="0">
                <a:solidFill>
                  <a:schemeClr val="bg1"/>
                </a:solidFill>
                <a:latin typeface="Microsoft PhagsPa" pitchFamily="34" charset="0"/>
                <a:cs typeface="Arial" pitchFamily="34" charset="0"/>
              </a:rPr>
              <a:t>Energy Consumption</a:t>
            </a:r>
            <a:endParaRPr lang="en-US" altLang="zh-CN" sz="1050" b="1" dirty="0">
              <a:solidFill>
                <a:schemeClr val="bg1"/>
              </a:solidFill>
              <a:latin typeface="Microsoft PhagsPa" pitchFamily="34" charset="0"/>
              <a:cs typeface="Arial" pitchFamily="34" charset="0"/>
            </a:endParaRPr>
          </a:p>
        </p:txBody>
      </p:sp>
      <p:sp>
        <p:nvSpPr>
          <p:cNvPr id="235" name="Rectangle 6"/>
          <p:cNvSpPr/>
          <p:nvPr/>
        </p:nvSpPr>
        <p:spPr>
          <a:xfrm>
            <a:off x="3822511" y="1956001"/>
            <a:ext cx="1366508" cy="600156"/>
          </a:xfrm>
          <a:prstGeom prst="rect">
            <a:avLst/>
          </a:prstGeom>
        </p:spPr>
        <p:txBody>
          <a:bodyPr wrap="square" lIns="68571" tIns="34286" rIns="68571" bIns="34286">
            <a:spAutoFit/>
          </a:bodyPr>
          <a:lstStyle/>
          <a:p>
            <a:pPr marL="0" lvl="1" algn="ctr">
              <a:tabLst>
                <a:tab pos="1371360" algn="l"/>
              </a:tabLst>
            </a:pPr>
            <a:r>
              <a:rPr lang="en-US" sz="1050" b="1" dirty="0">
                <a:solidFill>
                  <a:schemeClr val="bg1"/>
                </a:solidFill>
                <a:latin typeface="Microsoft PhagsPa" pitchFamily="34" charset="0"/>
                <a:cs typeface="Arial" pitchFamily="34" charset="0"/>
              </a:rPr>
              <a:t>Maximizing</a:t>
            </a:r>
            <a:r>
              <a:rPr lang="en-US" sz="1050" b="1" dirty="0">
                <a:solidFill>
                  <a:srgbClr val="990000"/>
                </a:solidFill>
                <a:latin typeface="Microsoft PhagsPa" pitchFamily="34" charset="0"/>
                <a:cs typeface="Arial" pitchFamily="34" charset="0"/>
              </a:rPr>
              <a:t> </a:t>
            </a:r>
            <a:r>
              <a:rPr lang="en-US" sz="1350" b="1" dirty="0">
                <a:solidFill>
                  <a:srgbClr val="FFC000"/>
                </a:solidFill>
                <a:latin typeface="Microsoft PhagsPa" pitchFamily="34" charset="0"/>
                <a:cs typeface="Arial" pitchFamily="34" charset="0"/>
              </a:rPr>
              <a:t>Infrastructure</a:t>
            </a:r>
            <a:r>
              <a:rPr lang="en-US" sz="1350" b="1" dirty="0">
                <a:solidFill>
                  <a:srgbClr val="990000"/>
                </a:solidFill>
                <a:latin typeface="Microsoft PhagsPa" pitchFamily="34" charset="0"/>
                <a:cs typeface="Arial" pitchFamily="34" charset="0"/>
              </a:rPr>
              <a:t> </a:t>
            </a:r>
            <a:r>
              <a:rPr lang="en-US" sz="1050" b="1" dirty="0">
                <a:solidFill>
                  <a:schemeClr val="bg1"/>
                </a:solidFill>
                <a:latin typeface="Microsoft PhagsPa" pitchFamily="34" charset="0"/>
                <a:cs typeface="Arial" pitchFamily="34" charset="0"/>
              </a:rPr>
              <a:t>Energy Utilization</a:t>
            </a:r>
            <a:endParaRPr lang="en-US" altLang="zh-CN" sz="1050" b="1" dirty="0">
              <a:solidFill>
                <a:schemeClr val="bg1"/>
              </a:solidFill>
              <a:latin typeface="Microsoft PhagsPa" pitchFamily="34" charset="0"/>
              <a:cs typeface="Arial" pitchFamily="34" charset="0"/>
            </a:endParaRPr>
          </a:p>
        </p:txBody>
      </p:sp>
      <p:sp>
        <p:nvSpPr>
          <p:cNvPr id="236" name="加号 235"/>
          <p:cNvSpPr/>
          <p:nvPr/>
        </p:nvSpPr>
        <p:spPr bwMode="auto">
          <a:xfrm>
            <a:off x="3362605" y="2090277"/>
            <a:ext cx="323972" cy="324047"/>
          </a:xfrm>
          <a:prstGeom prst="mathPlus">
            <a:avLst/>
          </a:prstGeom>
          <a:solidFill>
            <a:schemeClr val="accent1">
              <a:lumMod val="75000"/>
            </a:schemeClr>
          </a:solidFill>
          <a:ln w="9525">
            <a:noFill/>
          </a:ln>
          <a:effectLst/>
          <a:extLst/>
        </p:spPr>
        <p:txBody>
          <a:bodyPr vert="horz" wrap="square" lIns="68574" tIns="34287" rIns="68574" bIns="34287" numCol="1" rtlCol="0" anchor="t" anchorCtr="0" compatLnSpc="1">
            <a:prstTxWarp prst="textNoShape">
              <a:avLst/>
            </a:prstTxWarp>
          </a:bodyPr>
          <a:lstStyle/>
          <a:p>
            <a:pPr>
              <a:buClr>
                <a:srgbClr val="CC9900"/>
              </a:buClr>
              <a:buFont typeface="Wingdings" pitchFamily="2" charset="2"/>
              <a:buChar char="n"/>
            </a:pPr>
            <a:endParaRPr lang="zh-CN" altLang="en-US">
              <a:solidFill>
                <a:prstClr val="black"/>
              </a:solidFill>
            </a:endParaRPr>
          </a:p>
        </p:txBody>
      </p:sp>
      <p:sp>
        <p:nvSpPr>
          <p:cNvPr id="237" name="Rectangle 6"/>
          <p:cNvSpPr/>
          <p:nvPr/>
        </p:nvSpPr>
        <p:spPr>
          <a:xfrm>
            <a:off x="3747820" y="4063260"/>
            <a:ext cx="1565864" cy="207741"/>
          </a:xfrm>
          <a:prstGeom prst="rect">
            <a:avLst/>
          </a:prstGeom>
        </p:spPr>
        <p:txBody>
          <a:bodyPr wrap="square" lIns="68571" tIns="34286" rIns="68571" bIns="34286">
            <a:spAutoFit/>
          </a:bodyPr>
          <a:lstStyle/>
          <a:p>
            <a:pPr marL="0" lvl="1" algn="ctr">
              <a:tabLst>
                <a:tab pos="1371360" algn="l"/>
              </a:tabLst>
            </a:pPr>
            <a:r>
              <a:rPr lang="en-US" sz="900" dirty="0">
                <a:solidFill>
                  <a:schemeClr val="bg1"/>
                </a:solidFill>
                <a:latin typeface="Microsoft PhagsPa" pitchFamily="34" charset="0"/>
                <a:cs typeface="Arial" pitchFamily="34" charset="0"/>
              </a:rPr>
              <a:t>Power/Cooling  System</a:t>
            </a:r>
            <a:endParaRPr lang="en-US" sz="900" dirty="0">
              <a:solidFill>
                <a:schemeClr val="bg1"/>
              </a:solidFill>
              <a:latin typeface="Microsoft PhagsPa" pitchFamily="34" charset="0"/>
              <a:cs typeface="Arial" pitchFamily="34" charset="0"/>
            </a:endParaRPr>
          </a:p>
        </p:txBody>
      </p:sp>
      <p:sp>
        <p:nvSpPr>
          <p:cNvPr id="238" name="Rectangle 6"/>
          <p:cNvSpPr/>
          <p:nvPr/>
        </p:nvSpPr>
        <p:spPr>
          <a:xfrm>
            <a:off x="3737448" y="4962778"/>
            <a:ext cx="1565864" cy="346241"/>
          </a:xfrm>
          <a:prstGeom prst="rect">
            <a:avLst/>
          </a:prstGeom>
        </p:spPr>
        <p:txBody>
          <a:bodyPr wrap="square" lIns="68571" tIns="34286" rIns="68571" bIns="34286">
            <a:spAutoFit/>
          </a:bodyPr>
          <a:lstStyle/>
          <a:p>
            <a:pPr marL="0" lvl="1" algn="ctr">
              <a:tabLst>
                <a:tab pos="1371360" algn="l"/>
              </a:tabLst>
            </a:pPr>
            <a:r>
              <a:rPr lang="en-US" sz="900" dirty="0">
                <a:solidFill>
                  <a:schemeClr val="bg1"/>
                </a:solidFill>
                <a:latin typeface="Microsoft PhagsPa" pitchFamily="34" charset="0"/>
                <a:cs typeface="Arial" pitchFamily="34" charset="0"/>
              </a:rPr>
              <a:t>Conversion/Generation/AC etc.</a:t>
            </a:r>
            <a:endParaRPr lang="en-US" sz="900" dirty="0">
              <a:solidFill>
                <a:schemeClr val="bg1"/>
              </a:solidFill>
              <a:latin typeface="Microsoft PhagsPa" pitchFamily="34" charset="0"/>
              <a:cs typeface="Arial" pitchFamily="34" charset="0"/>
            </a:endParaRPr>
          </a:p>
        </p:txBody>
      </p:sp>
      <p:sp>
        <p:nvSpPr>
          <p:cNvPr id="239" name="Rectangle 6"/>
          <p:cNvSpPr/>
          <p:nvPr/>
        </p:nvSpPr>
        <p:spPr>
          <a:xfrm>
            <a:off x="3719307" y="3118793"/>
            <a:ext cx="1565864" cy="346241"/>
          </a:xfrm>
          <a:prstGeom prst="rect">
            <a:avLst/>
          </a:prstGeom>
        </p:spPr>
        <p:txBody>
          <a:bodyPr wrap="square" lIns="68571" tIns="34286" rIns="68571" bIns="34286">
            <a:spAutoFit/>
          </a:bodyPr>
          <a:lstStyle/>
          <a:p>
            <a:pPr marL="0" lvl="1" algn="ctr">
              <a:tabLst>
                <a:tab pos="1371360" algn="l"/>
              </a:tabLst>
            </a:pPr>
            <a:r>
              <a:rPr lang="en-US" sz="900" dirty="0">
                <a:solidFill>
                  <a:schemeClr val="bg1"/>
                </a:solidFill>
                <a:latin typeface="Microsoft PhagsPa" pitchFamily="34" charset="0"/>
                <a:cs typeface="Arial" pitchFamily="34" charset="0"/>
              </a:rPr>
              <a:t>Network Energy Efficiency Management</a:t>
            </a:r>
            <a:endParaRPr lang="en-US" sz="900" dirty="0">
              <a:solidFill>
                <a:schemeClr val="bg1"/>
              </a:solidFill>
              <a:latin typeface="Microsoft PhagsPa" pitchFamily="34" charset="0"/>
              <a:cs typeface="Arial" pitchFamily="34" charset="0"/>
            </a:endParaRPr>
          </a:p>
        </p:txBody>
      </p:sp>
      <p:sp>
        <p:nvSpPr>
          <p:cNvPr id="240" name="Rectangle 6"/>
          <p:cNvSpPr/>
          <p:nvPr/>
        </p:nvSpPr>
        <p:spPr>
          <a:xfrm>
            <a:off x="1793443" y="4042200"/>
            <a:ext cx="1565864" cy="346241"/>
          </a:xfrm>
          <a:prstGeom prst="rect">
            <a:avLst/>
          </a:prstGeom>
        </p:spPr>
        <p:txBody>
          <a:bodyPr wrap="square" lIns="68571" tIns="34286" rIns="68571" bIns="34286">
            <a:spAutoFit/>
          </a:bodyPr>
          <a:lstStyle/>
          <a:p>
            <a:pPr marL="0" lvl="1" algn="ctr">
              <a:tabLst>
                <a:tab pos="1371360" algn="l"/>
              </a:tabLst>
            </a:pPr>
            <a:r>
              <a:rPr lang="en-US" sz="900" dirty="0">
                <a:solidFill>
                  <a:schemeClr val="bg1"/>
                </a:solidFill>
                <a:latin typeface="Microsoft PhagsPa" pitchFamily="34" charset="0"/>
                <a:cs typeface="Arial" pitchFamily="34" charset="0"/>
              </a:rPr>
              <a:t>Telecom Equipment</a:t>
            </a:r>
          </a:p>
          <a:p>
            <a:pPr marL="0" lvl="1" algn="ctr">
              <a:tabLst>
                <a:tab pos="1371360" algn="l"/>
              </a:tabLst>
            </a:pPr>
            <a:r>
              <a:rPr lang="en-US" sz="900" dirty="0">
                <a:solidFill>
                  <a:schemeClr val="bg1"/>
                </a:solidFill>
                <a:latin typeface="Microsoft PhagsPa" pitchFamily="34" charset="0"/>
                <a:cs typeface="Arial" pitchFamily="34" charset="0"/>
              </a:rPr>
              <a:t>(Cloud Run/Software)</a:t>
            </a:r>
            <a:endParaRPr lang="en-US" sz="900" dirty="0">
              <a:solidFill>
                <a:schemeClr val="bg1"/>
              </a:solidFill>
              <a:latin typeface="Microsoft PhagsPa" pitchFamily="34" charset="0"/>
              <a:cs typeface="Arial" pitchFamily="34" charset="0"/>
            </a:endParaRPr>
          </a:p>
        </p:txBody>
      </p:sp>
      <p:sp>
        <p:nvSpPr>
          <p:cNvPr id="241" name="Rectangle 6"/>
          <p:cNvSpPr/>
          <p:nvPr/>
        </p:nvSpPr>
        <p:spPr>
          <a:xfrm>
            <a:off x="1790847" y="4941719"/>
            <a:ext cx="1647919" cy="346241"/>
          </a:xfrm>
          <a:prstGeom prst="rect">
            <a:avLst/>
          </a:prstGeom>
        </p:spPr>
        <p:txBody>
          <a:bodyPr wrap="square" lIns="68571" tIns="34286" rIns="68571" bIns="34286">
            <a:spAutoFit/>
          </a:bodyPr>
          <a:lstStyle/>
          <a:p>
            <a:pPr marL="0" lvl="1" algn="ctr">
              <a:tabLst>
                <a:tab pos="1371360" algn="l"/>
              </a:tabLst>
            </a:pPr>
            <a:r>
              <a:rPr lang="en-US" sz="900" dirty="0">
                <a:solidFill>
                  <a:schemeClr val="bg1"/>
                </a:solidFill>
                <a:latin typeface="Microsoft PhagsPa" pitchFamily="34" charset="0"/>
                <a:cs typeface="Arial" pitchFamily="34" charset="0"/>
              </a:rPr>
              <a:t>Hardware Performance /Software Feature</a:t>
            </a:r>
            <a:endParaRPr lang="en-US" sz="900" dirty="0">
              <a:solidFill>
                <a:schemeClr val="bg1"/>
              </a:solidFill>
              <a:latin typeface="Microsoft PhagsPa" pitchFamily="34" charset="0"/>
              <a:cs typeface="Arial" pitchFamily="34" charset="0"/>
            </a:endParaRPr>
          </a:p>
        </p:txBody>
      </p:sp>
      <p:sp>
        <p:nvSpPr>
          <p:cNvPr id="242" name="Rounded Rectangle 14"/>
          <p:cNvSpPr/>
          <p:nvPr/>
        </p:nvSpPr>
        <p:spPr bwMode="white">
          <a:xfrm>
            <a:off x="5670749" y="1900872"/>
            <a:ext cx="1757659" cy="3409022"/>
          </a:xfrm>
          <a:prstGeom prst="roundRect">
            <a:avLst>
              <a:gd name="adj" fmla="val 6216"/>
            </a:avLst>
          </a:prstGeom>
          <a:noFill/>
          <a:ln>
            <a:solidFill>
              <a:schemeClr val="tx1">
                <a:lumMod val="50000"/>
                <a:lumOff val="50000"/>
              </a:schemeClr>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68568" tIns="34284" rIns="68568" bIns="34284" numCol="1" rtlCol="0" anchor="ctr" anchorCtr="0" compatLnSpc="1">
            <a:prstTxWarp prst="textNoShape">
              <a:avLst/>
            </a:prstTxWarp>
          </a:bodyPr>
          <a:lstStyle/>
          <a:p>
            <a:pPr algn="ctr" defTabSz="685454"/>
            <a:endParaRPr lang="en-US" kern="0" dirty="0">
              <a:gradFill>
                <a:gsLst>
                  <a:gs pos="0">
                    <a:srgbClr val="FFFFFF"/>
                  </a:gs>
                  <a:gs pos="100000">
                    <a:srgbClr val="FFFFFF"/>
                  </a:gs>
                </a:gsLst>
                <a:lin ang="5400000" scaled="0"/>
              </a:gradFill>
              <a:latin typeface="+mn-lt"/>
              <a:ea typeface="华文细黑"/>
            </a:endParaRPr>
          </a:p>
        </p:txBody>
      </p:sp>
      <p:sp>
        <p:nvSpPr>
          <p:cNvPr id="243" name="Rectangle 6"/>
          <p:cNvSpPr/>
          <p:nvPr/>
        </p:nvSpPr>
        <p:spPr>
          <a:xfrm>
            <a:off x="5871237" y="1957706"/>
            <a:ext cx="1366508" cy="600156"/>
          </a:xfrm>
          <a:prstGeom prst="rect">
            <a:avLst/>
          </a:prstGeom>
        </p:spPr>
        <p:txBody>
          <a:bodyPr wrap="square" lIns="68571" tIns="34286" rIns="68571" bIns="34286">
            <a:spAutoFit/>
          </a:bodyPr>
          <a:lstStyle/>
          <a:p>
            <a:pPr marL="0" lvl="1" algn="ctr">
              <a:tabLst>
                <a:tab pos="1371360" algn="l"/>
              </a:tabLst>
            </a:pPr>
            <a:r>
              <a:rPr lang="en-US" sz="1050" b="1" dirty="0">
                <a:solidFill>
                  <a:schemeClr val="bg1"/>
                </a:solidFill>
                <a:latin typeface="Microsoft PhagsPa" pitchFamily="34" charset="0"/>
                <a:cs typeface="Arial" pitchFamily="34" charset="0"/>
              </a:rPr>
              <a:t>Efficient &amp;</a:t>
            </a:r>
            <a:r>
              <a:rPr lang="en-US" sz="1050" b="1" dirty="0">
                <a:solidFill>
                  <a:srgbClr val="990000"/>
                </a:solidFill>
                <a:latin typeface="Microsoft PhagsPa" pitchFamily="34" charset="0"/>
                <a:cs typeface="Arial" pitchFamily="34" charset="0"/>
              </a:rPr>
              <a:t> </a:t>
            </a:r>
            <a:r>
              <a:rPr lang="en-US" sz="1350" b="1" dirty="0">
                <a:solidFill>
                  <a:srgbClr val="FFC000"/>
                </a:solidFill>
                <a:latin typeface="Microsoft PhagsPa" pitchFamily="34" charset="0"/>
                <a:cs typeface="Arial" pitchFamily="34" charset="0"/>
              </a:rPr>
              <a:t>Effective</a:t>
            </a:r>
            <a:r>
              <a:rPr lang="en-US" sz="1350" b="1" dirty="0">
                <a:solidFill>
                  <a:srgbClr val="F67B00"/>
                </a:solidFill>
                <a:latin typeface="Microsoft PhagsPa" pitchFamily="34" charset="0"/>
                <a:cs typeface="Arial" pitchFamily="34" charset="0"/>
              </a:rPr>
              <a:t> </a:t>
            </a:r>
            <a:r>
              <a:rPr lang="en-US" sz="1050" b="1" dirty="0">
                <a:solidFill>
                  <a:schemeClr val="bg1"/>
                </a:solidFill>
                <a:latin typeface="Microsoft PhagsPa" pitchFamily="34" charset="0"/>
                <a:cs typeface="Arial" pitchFamily="34" charset="0"/>
              </a:rPr>
              <a:t>Management</a:t>
            </a:r>
            <a:endParaRPr lang="en-US" altLang="zh-CN" sz="1050" b="1" dirty="0">
              <a:solidFill>
                <a:schemeClr val="bg1"/>
              </a:solidFill>
              <a:latin typeface="Microsoft PhagsPa" pitchFamily="34" charset="0"/>
              <a:cs typeface="Arial" pitchFamily="34" charset="0"/>
            </a:endParaRPr>
          </a:p>
        </p:txBody>
      </p:sp>
      <p:sp>
        <p:nvSpPr>
          <p:cNvPr id="244" name="加号 243"/>
          <p:cNvSpPr/>
          <p:nvPr/>
        </p:nvSpPr>
        <p:spPr bwMode="auto">
          <a:xfrm>
            <a:off x="5308980" y="2091981"/>
            <a:ext cx="323972" cy="324047"/>
          </a:xfrm>
          <a:prstGeom prst="mathPlus">
            <a:avLst/>
          </a:prstGeom>
          <a:solidFill>
            <a:schemeClr val="accent1">
              <a:lumMod val="75000"/>
            </a:schemeClr>
          </a:solidFill>
          <a:ln w="9525">
            <a:noFill/>
          </a:ln>
          <a:effectLst/>
          <a:extLst/>
        </p:spPr>
        <p:txBody>
          <a:bodyPr vert="horz" wrap="square" lIns="68574" tIns="34287" rIns="68574" bIns="34287" numCol="1" rtlCol="0" anchor="t" anchorCtr="0" compatLnSpc="1">
            <a:prstTxWarp prst="textNoShape">
              <a:avLst/>
            </a:prstTxWarp>
          </a:bodyPr>
          <a:lstStyle/>
          <a:p>
            <a:pPr>
              <a:buClr>
                <a:srgbClr val="CC9900"/>
              </a:buClr>
              <a:buFont typeface="Wingdings" pitchFamily="2" charset="2"/>
              <a:buChar char="n"/>
            </a:pPr>
            <a:endParaRPr lang="zh-CN" altLang="en-US">
              <a:solidFill>
                <a:prstClr val="black"/>
              </a:solidFill>
            </a:endParaRPr>
          </a:p>
        </p:txBody>
      </p:sp>
      <p:sp>
        <p:nvSpPr>
          <p:cNvPr id="245" name="TextBox 92"/>
          <p:cNvSpPr txBox="1"/>
          <p:nvPr/>
        </p:nvSpPr>
        <p:spPr>
          <a:xfrm rot="5400000">
            <a:off x="4661791" y="3769136"/>
            <a:ext cx="2478926" cy="323972"/>
          </a:xfrm>
          <a:prstGeom prst="rect">
            <a:avLst/>
          </a:prstGeom>
          <a:gradFill>
            <a:gsLst>
              <a:gs pos="0">
                <a:srgbClr val="008BBC">
                  <a:alpha val="49000"/>
                </a:srgbClr>
              </a:gs>
              <a:gs pos="100000">
                <a:srgbClr val="0070C0">
                  <a:alpha val="11000"/>
                </a:srgbClr>
              </a:gs>
            </a:gsLst>
            <a:lin ang="0" scaled="0"/>
          </a:grad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68574" tIns="0" rIns="68574" bIns="0" numCol="1" anchor="t" anchorCtr="0" compatLnSpc="1">
            <a:prstTxWarp prst="textNoShape">
              <a:avLst/>
            </a:prstTxWarp>
          </a:bodyPr>
          <a:lstStyle/>
          <a:p>
            <a:pPr indent="-134982">
              <a:lnSpc>
                <a:spcPts val="2100"/>
              </a:lnSpc>
              <a:defRPr/>
            </a:pPr>
            <a:r>
              <a:rPr lang="en-US" altLang="zh-CN" sz="1050" dirty="0">
                <a:solidFill>
                  <a:schemeClr val="bg1"/>
                </a:solidFill>
                <a:latin typeface="Microsoft PhagsPa" pitchFamily="34" charset="0"/>
                <a:ea typeface="微软雅黑" pitchFamily="34" charset="-122"/>
                <a:sym typeface="Arial" pitchFamily="34" charset="0"/>
              </a:rPr>
              <a:t>Data Collection &amp; Visualization</a:t>
            </a:r>
          </a:p>
        </p:txBody>
      </p:sp>
      <p:sp>
        <p:nvSpPr>
          <p:cNvPr id="246" name="TextBox 95"/>
          <p:cNvSpPr txBox="1"/>
          <p:nvPr/>
        </p:nvSpPr>
        <p:spPr>
          <a:xfrm rot="5400000">
            <a:off x="5309825" y="3769136"/>
            <a:ext cx="2478926" cy="323972"/>
          </a:xfrm>
          <a:prstGeom prst="rect">
            <a:avLst/>
          </a:prstGeom>
          <a:gradFill>
            <a:gsLst>
              <a:gs pos="0">
                <a:srgbClr val="008BBC">
                  <a:alpha val="49000"/>
                </a:srgbClr>
              </a:gs>
              <a:gs pos="100000">
                <a:srgbClr val="0070C0">
                  <a:alpha val="11000"/>
                </a:srgbClr>
              </a:gs>
            </a:gsLst>
            <a:lin ang="0" scaled="0"/>
          </a:grad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68574" tIns="0" rIns="68574" bIns="0" numCol="1" anchor="t" anchorCtr="0" compatLnSpc="1">
            <a:prstTxWarp prst="textNoShape">
              <a:avLst/>
            </a:prstTxWarp>
          </a:bodyPr>
          <a:lstStyle/>
          <a:p>
            <a:pPr indent="-134982">
              <a:lnSpc>
                <a:spcPts val="2100"/>
              </a:lnSpc>
              <a:defRPr/>
            </a:pPr>
            <a:r>
              <a:rPr lang="en-US" altLang="zh-CN" sz="1050" dirty="0">
                <a:solidFill>
                  <a:schemeClr val="bg1"/>
                </a:solidFill>
                <a:latin typeface="Microsoft PhagsPa" pitchFamily="34" charset="0"/>
                <a:ea typeface="微软雅黑" pitchFamily="34" charset="-122"/>
                <a:sym typeface="Arial" pitchFamily="34" charset="0"/>
              </a:rPr>
              <a:t>Data Analysis &amp; Easy to Access</a:t>
            </a:r>
          </a:p>
        </p:txBody>
      </p:sp>
      <p:sp>
        <p:nvSpPr>
          <p:cNvPr id="247" name="TextBox 99"/>
          <p:cNvSpPr txBox="1"/>
          <p:nvPr/>
        </p:nvSpPr>
        <p:spPr>
          <a:xfrm rot="5400000">
            <a:off x="5957859" y="3769136"/>
            <a:ext cx="2478926" cy="323972"/>
          </a:xfrm>
          <a:prstGeom prst="rect">
            <a:avLst/>
          </a:prstGeom>
          <a:gradFill>
            <a:gsLst>
              <a:gs pos="0">
                <a:srgbClr val="008BBC">
                  <a:alpha val="49000"/>
                </a:srgbClr>
              </a:gs>
              <a:gs pos="100000">
                <a:srgbClr val="0070C0">
                  <a:alpha val="11000"/>
                </a:srgbClr>
              </a:gs>
            </a:gsLst>
            <a:lin ang="0" scaled="0"/>
          </a:gradFill>
          <a:ln w="9525">
            <a:gradFill>
              <a:gsLst>
                <a:gs pos="0">
                  <a:srgbClr val="002060">
                    <a:alpha val="47000"/>
                  </a:srgbClr>
                </a:gs>
                <a:gs pos="50000">
                  <a:schemeClr val="accent1">
                    <a:tint val="44500"/>
                    <a:satMod val="160000"/>
                    <a:alpha val="37000"/>
                  </a:schemeClr>
                </a:gs>
                <a:gs pos="100000">
                  <a:srgbClr val="002060">
                    <a:alpha val="37000"/>
                  </a:srgbClr>
                </a:gs>
              </a:gsLst>
              <a:lin ang="5400000" scaled="0"/>
            </a:gradFill>
            <a:miter lim="800000"/>
            <a:headEnd/>
            <a:tailEnd/>
          </a:ln>
        </p:spPr>
        <p:txBody>
          <a:bodyPr vert="horz" wrap="square" lIns="68574" tIns="0" rIns="68574" bIns="0" numCol="1" anchor="t" anchorCtr="0" compatLnSpc="1">
            <a:prstTxWarp prst="textNoShape">
              <a:avLst/>
            </a:prstTxWarp>
          </a:bodyPr>
          <a:lstStyle/>
          <a:p>
            <a:pPr indent="-134982">
              <a:defRPr/>
            </a:pPr>
            <a:r>
              <a:rPr lang="en-US" altLang="zh-CN" sz="1050" dirty="0">
                <a:solidFill>
                  <a:schemeClr val="bg1"/>
                </a:solidFill>
                <a:latin typeface="Microsoft PhagsPa" pitchFamily="34" charset="0"/>
                <a:ea typeface="微软雅黑" pitchFamily="34" charset="-122"/>
                <a:sym typeface="Arial" pitchFamily="34" charset="0"/>
              </a:rPr>
              <a:t>Convenient Reporting Tools </a:t>
            </a:r>
          </a:p>
          <a:p>
            <a:pPr indent="-134982">
              <a:defRPr/>
            </a:pPr>
            <a:r>
              <a:rPr lang="en-US" altLang="zh-CN" sz="1050" dirty="0">
                <a:solidFill>
                  <a:schemeClr val="bg1"/>
                </a:solidFill>
                <a:latin typeface="Microsoft PhagsPa" pitchFamily="34" charset="0"/>
                <a:ea typeface="微软雅黑" pitchFamily="34" charset="-122"/>
                <a:sym typeface="Arial" pitchFamily="34" charset="0"/>
              </a:rPr>
              <a:t>&amp; Proactive Maintenance</a:t>
            </a:r>
          </a:p>
        </p:txBody>
      </p:sp>
      <p:sp>
        <p:nvSpPr>
          <p:cNvPr id="65" name="标题 1"/>
          <p:cNvSpPr txBox="1">
            <a:spLocks/>
          </p:cNvSpPr>
          <p:nvPr/>
        </p:nvSpPr>
        <p:spPr>
          <a:xfrm>
            <a:off x="323145" y="981515"/>
            <a:ext cx="7921739" cy="792115"/>
          </a:xfrm>
          <a:prstGeom prst="rect">
            <a:avLst/>
          </a:prstGeom>
        </p:spPr>
        <p:txBody>
          <a:bodyPr vert="horz" lIns="91450" tIns="45725" rIns="91450" bIns="45725" rtlCol="0" anchor="ctr">
            <a:noAutofit/>
          </a:bodyPr>
          <a:lstStyle>
            <a:lvl1pPr algn="l" defTabSz="1219444" rtl="0" eaLnBrk="1" latinLnBrk="0" hangingPunct="1">
              <a:spcBef>
                <a:spcPct val="0"/>
              </a:spcBef>
              <a:buNone/>
              <a:defRPr sz="4400" b="1" kern="1200" baseline="0">
                <a:solidFill>
                  <a:schemeClr val="bg1"/>
                </a:solidFill>
                <a:latin typeface="+mn-lt"/>
                <a:ea typeface="黑体" pitchFamily="49" charset="-122"/>
                <a:cs typeface="Arial" pitchFamily="34" charset="0"/>
              </a:defRPr>
            </a:lvl1pPr>
          </a:lstStyle>
          <a:p>
            <a:pPr fontAlgn="auto">
              <a:spcAft>
                <a:spcPts val="0"/>
              </a:spcAft>
            </a:pPr>
            <a:endParaRPr lang="en-US" altLang="zh-CN" sz="2400" dirty="0">
              <a:latin typeface="Microsoft PhagsPa" pitchFamily="34" charset="0"/>
            </a:endParaRPr>
          </a:p>
        </p:txBody>
      </p:sp>
      <p:grpSp>
        <p:nvGrpSpPr>
          <p:cNvPr id="71" name="组合 82"/>
          <p:cNvGrpSpPr/>
          <p:nvPr/>
        </p:nvGrpSpPr>
        <p:grpSpPr>
          <a:xfrm rot="10800000">
            <a:off x="8460889" y="2565773"/>
            <a:ext cx="323715" cy="1390171"/>
            <a:chOff x="1275347" y="3575221"/>
            <a:chExt cx="372979" cy="1754858"/>
          </a:xfrm>
        </p:grpSpPr>
        <p:sp>
          <p:nvSpPr>
            <p:cNvPr id="72" name="五边形 71"/>
            <p:cNvSpPr/>
            <p:nvPr/>
          </p:nvSpPr>
          <p:spPr bwMode="auto">
            <a:xfrm rot="5400000">
              <a:off x="626563" y="4308231"/>
              <a:ext cx="1670547" cy="372979"/>
            </a:xfrm>
            <a:prstGeom prst="homePlate">
              <a:avLst/>
            </a:prstGeom>
            <a:solidFill>
              <a:srgbClr val="355D8D"/>
            </a:solidFill>
            <a:ln w="9525">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a:buClr>
                  <a:srgbClr val="CC9900"/>
                </a:buClr>
                <a:buFont typeface="Wingdings" pitchFamily="2" charset="2"/>
                <a:buChar char="n"/>
              </a:pPr>
              <a:endParaRPr lang="zh-CN" altLang="en-US">
                <a:solidFill>
                  <a:schemeClr val="bg1"/>
                </a:solidFill>
              </a:endParaRPr>
            </a:p>
          </p:txBody>
        </p:sp>
        <p:sp>
          <p:nvSpPr>
            <p:cNvPr id="73" name="Rectangle 6"/>
            <p:cNvSpPr/>
            <p:nvPr/>
          </p:nvSpPr>
          <p:spPr>
            <a:xfrm rot="5400000">
              <a:off x="568924" y="4306375"/>
              <a:ext cx="1754858" cy="292549"/>
            </a:xfrm>
            <a:prstGeom prst="rect">
              <a:avLst/>
            </a:prstGeom>
          </p:spPr>
          <p:txBody>
            <a:bodyPr wrap="square" lIns="68571" tIns="34286" rIns="68571" bIns="34286">
              <a:spAutoFit/>
            </a:bodyPr>
            <a:lstStyle/>
            <a:p>
              <a:pPr marL="0" lvl="1" algn="ctr">
                <a:tabLst>
                  <a:tab pos="1371360" algn="l"/>
                </a:tabLst>
              </a:pPr>
              <a:r>
                <a:rPr lang="en-US" sz="1200" b="1" dirty="0">
                  <a:solidFill>
                    <a:schemeClr val="bg1"/>
                  </a:solidFill>
                  <a:cs typeface="Arial" pitchFamily="34" charset="0"/>
                </a:rPr>
                <a:t>Creating </a:t>
              </a:r>
              <a:r>
                <a:rPr lang="en-US" sz="1200" b="1" dirty="0">
                  <a:solidFill>
                    <a:schemeClr val="bg1"/>
                  </a:solidFill>
                  <a:cs typeface="Arial" pitchFamily="34" charset="0"/>
                </a:rPr>
                <a:t>revenue</a:t>
              </a:r>
              <a:endParaRPr lang="en-US" sz="1200" b="1" dirty="0">
                <a:solidFill>
                  <a:schemeClr val="bg1"/>
                </a:solidFill>
                <a:cs typeface="Arial" pitchFamily="34" charset="0"/>
              </a:endParaRPr>
            </a:p>
          </p:txBody>
        </p:sp>
      </p:grpSp>
      <p:grpSp>
        <p:nvGrpSpPr>
          <p:cNvPr id="74" name="组合 81"/>
          <p:cNvGrpSpPr/>
          <p:nvPr/>
        </p:nvGrpSpPr>
        <p:grpSpPr>
          <a:xfrm>
            <a:off x="8460889" y="3861805"/>
            <a:ext cx="323715" cy="1404034"/>
            <a:chOff x="1275347" y="3575221"/>
            <a:chExt cx="372979" cy="1754858"/>
          </a:xfrm>
        </p:grpSpPr>
        <p:sp>
          <p:nvSpPr>
            <p:cNvPr id="75" name="五边形 74"/>
            <p:cNvSpPr/>
            <p:nvPr/>
          </p:nvSpPr>
          <p:spPr bwMode="auto">
            <a:xfrm rot="5400000">
              <a:off x="667753" y="4265197"/>
              <a:ext cx="1588167" cy="372979"/>
            </a:xfrm>
            <a:prstGeom prst="homePlate">
              <a:avLst/>
            </a:prstGeom>
            <a:solidFill>
              <a:srgbClr val="355D8D"/>
            </a:solidFill>
            <a:ln w="9525">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a:buClr>
                  <a:srgbClr val="CC9900"/>
                </a:buClr>
                <a:buFont typeface="Wingdings" pitchFamily="2" charset="2"/>
                <a:buChar char="n"/>
              </a:pPr>
              <a:endParaRPr lang="zh-CN" altLang="en-US" sz="1500" b="1">
                <a:solidFill>
                  <a:schemeClr val="bg1"/>
                </a:solidFill>
              </a:endParaRPr>
            </a:p>
          </p:txBody>
        </p:sp>
        <p:sp>
          <p:nvSpPr>
            <p:cNvPr id="76" name="Rectangle 6"/>
            <p:cNvSpPr/>
            <p:nvPr/>
          </p:nvSpPr>
          <p:spPr>
            <a:xfrm rot="16200000">
              <a:off x="568924" y="4306375"/>
              <a:ext cx="1754858" cy="292549"/>
            </a:xfrm>
            <a:prstGeom prst="rect">
              <a:avLst/>
            </a:prstGeom>
          </p:spPr>
          <p:txBody>
            <a:bodyPr wrap="square" lIns="68571" tIns="34286" rIns="68571" bIns="34286">
              <a:spAutoFit/>
            </a:bodyPr>
            <a:lstStyle/>
            <a:p>
              <a:pPr marL="0" lvl="1" algn="ctr">
                <a:tabLst>
                  <a:tab pos="1371360" algn="l"/>
                </a:tabLst>
              </a:pPr>
              <a:r>
                <a:rPr lang="en-US" sz="1200" b="1" dirty="0">
                  <a:solidFill>
                    <a:schemeClr val="bg1"/>
                  </a:solidFill>
                  <a:cs typeface="Arial" pitchFamily="34" charset="0"/>
                </a:rPr>
                <a:t>Reducing </a:t>
              </a:r>
              <a:r>
                <a:rPr lang="en-US" sz="1200" b="1" dirty="0">
                  <a:solidFill>
                    <a:schemeClr val="bg1"/>
                  </a:solidFill>
                  <a:cs typeface="Arial" pitchFamily="34" charset="0"/>
                </a:rPr>
                <a:t>cost</a:t>
              </a:r>
              <a:endParaRPr lang="en-US" sz="1200" b="1" dirty="0">
                <a:solidFill>
                  <a:schemeClr val="bg1"/>
                </a:solidFill>
                <a:cs typeface="Arial" pitchFamily="34" charset="0"/>
              </a:endParaRPr>
            </a:p>
          </p:txBody>
        </p:sp>
      </p:grpSp>
      <p:sp>
        <p:nvSpPr>
          <p:cNvPr id="77" name="标题 1"/>
          <p:cNvSpPr txBox="1">
            <a:spLocks/>
          </p:cNvSpPr>
          <p:nvPr/>
        </p:nvSpPr>
        <p:spPr>
          <a:xfrm>
            <a:off x="360692" y="1123843"/>
            <a:ext cx="8259837" cy="696768"/>
          </a:xfrm>
          <a:prstGeom prst="rect">
            <a:avLst/>
          </a:prstGeom>
        </p:spPr>
        <p:txBody>
          <a:bodyPr vert="horz" lIns="91450" tIns="45725" rIns="91450" bIns="45725" rtlCol="0" anchor="ctr">
            <a:noAutofit/>
          </a:bodyPr>
          <a:lstStyle/>
          <a:p>
            <a:pPr fontAlgn="auto">
              <a:spcAft>
                <a:spcPts val="0"/>
              </a:spcAft>
            </a:pPr>
            <a:r>
              <a:rPr lang="en-US" altLang="zh-CN" sz="2400" b="1" dirty="0">
                <a:solidFill>
                  <a:schemeClr val="bg1"/>
                </a:solidFill>
                <a:latin typeface="+mj-lt"/>
              </a:rPr>
              <a:t>How to Save Energy for a Better Connected World?</a:t>
            </a:r>
            <a:endParaRPr lang="en-US" altLang="zh-CN" sz="2400" b="1" dirty="0">
              <a:solidFill>
                <a:schemeClr val="bg1"/>
              </a:solidFill>
              <a:latin typeface="+mj-lt"/>
            </a:endParaRPr>
          </a:p>
        </p:txBody>
      </p:sp>
    </p:spTree>
    <p:extLst>
      <p:ext uri="{BB962C8B-B14F-4D97-AF65-F5344CB8AC3E}">
        <p14:creationId xmlns:p14="http://schemas.microsoft.com/office/powerpoint/2010/main" val="166228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ctrTitle"/>
          </p:nvPr>
        </p:nvSpPr>
        <p:spPr>
          <a:xfrm>
            <a:off x="359868" y="1283654"/>
            <a:ext cx="8125360" cy="396104"/>
          </a:xfrm>
          <a:prstGeom prst="rect">
            <a:avLst/>
          </a:prstGeom>
        </p:spPr>
        <p:txBody>
          <a:bodyPr/>
          <a:lstStyle/>
          <a:p>
            <a:r>
              <a:rPr lang="en-US" altLang="zh-CN" sz="2400" dirty="0"/>
              <a:t>ICT Convergence Improves Energy Efficiency</a:t>
            </a:r>
            <a:endParaRPr lang="zh-CN" altLang="en-US" sz="2400" dirty="0">
              <a:latin typeface="+mn-lt"/>
            </a:endParaRPr>
          </a:p>
        </p:txBody>
      </p:sp>
      <p:cxnSp>
        <p:nvCxnSpPr>
          <p:cNvPr id="4" name="直接箭头连接符 329"/>
          <p:cNvCxnSpPr>
            <a:cxnSpLocks noChangeShapeType="1"/>
          </p:cNvCxnSpPr>
          <p:nvPr/>
        </p:nvCxnSpPr>
        <p:spPr bwMode="auto">
          <a:xfrm flipV="1">
            <a:off x="5631978" y="3519956"/>
            <a:ext cx="231696" cy="144528"/>
          </a:xfrm>
          <a:prstGeom prst="bentConnector3">
            <a:avLst>
              <a:gd name="adj1" fmla="val 50000"/>
            </a:avLst>
          </a:prstGeom>
          <a:noFill/>
          <a:ln w="9525" algn="ctr">
            <a:noFill/>
            <a:round/>
            <a:headEnd type="none" w="sm" len="sm"/>
            <a:tailEnd type="none" w="med" len="lg"/>
          </a:ln>
        </p:spPr>
      </p:cxnSp>
      <p:cxnSp>
        <p:nvCxnSpPr>
          <p:cNvPr id="5" name="直接箭头连接符 329"/>
          <p:cNvCxnSpPr>
            <a:cxnSpLocks noChangeShapeType="1"/>
          </p:cNvCxnSpPr>
          <p:nvPr/>
        </p:nvCxnSpPr>
        <p:spPr bwMode="auto">
          <a:xfrm flipV="1">
            <a:off x="5628429" y="2983804"/>
            <a:ext cx="230516" cy="144528"/>
          </a:xfrm>
          <a:prstGeom prst="bentConnector3">
            <a:avLst>
              <a:gd name="adj1" fmla="val 50000"/>
            </a:avLst>
          </a:prstGeom>
          <a:noFill/>
          <a:ln w="9525" algn="ctr">
            <a:noFill/>
            <a:round/>
            <a:headEnd type="none" w="sm" len="sm"/>
            <a:tailEnd type="none" w="med" len="lg"/>
          </a:ln>
        </p:spPr>
      </p:cxnSp>
      <p:cxnSp>
        <p:nvCxnSpPr>
          <p:cNvPr id="6" name="直接连接符 5"/>
          <p:cNvCxnSpPr/>
          <p:nvPr/>
        </p:nvCxnSpPr>
        <p:spPr bwMode="auto">
          <a:xfrm flipH="1">
            <a:off x="5568135" y="2985958"/>
            <a:ext cx="85113" cy="0"/>
          </a:xfrm>
          <a:prstGeom prst="line">
            <a:avLst/>
          </a:prstGeom>
          <a:noFill/>
          <a:ln w="12700" cap="flat" cmpd="sng" algn="ctr">
            <a:solidFill>
              <a:schemeClr val="bg1">
                <a:lumMod val="50000"/>
              </a:schemeClr>
            </a:solidFill>
            <a:prstDash val="solid"/>
            <a:round/>
            <a:headEnd type="none" w="med" len="med"/>
            <a:tailEnd type="none" w="med" len="med"/>
          </a:ln>
          <a:effectLst/>
        </p:spPr>
      </p:cxnSp>
      <p:grpSp>
        <p:nvGrpSpPr>
          <p:cNvPr id="7" name="组合 105"/>
          <p:cNvGrpSpPr/>
          <p:nvPr/>
        </p:nvGrpSpPr>
        <p:grpSpPr>
          <a:xfrm>
            <a:off x="4734798" y="2381682"/>
            <a:ext cx="3672089" cy="2344144"/>
            <a:chOff x="289004" y="985743"/>
            <a:chExt cx="4850504" cy="2874197"/>
          </a:xfrm>
        </p:grpSpPr>
        <p:sp>
          <p:nvSpPr>
            <p:cNvPr id="8" name="TextBox 117"/>
            <p:cNvSpPr txBox="1"/>
            <p:nvPr/>
          </p:nvSpPr>
          <p:spPr>
            <a:xfrm>
              <a:off x="289004" y="985743"/>
              <a:ext cx="1530648" cy="578767"/>
            </a:xfrm>
            <a:prstGeom prst="rect">
              <a:avLst/>
            </a:prstGeom>
            <a:noFill/>
          </p:spPr>
          <p:txBody>
            <a:bodyPr wrap="none" lIns="51417" tIns="25709" rIns="51417" bIns="25709" rtlCol="0">
              <a:noAutofit/>
            </a:bodyPr>
            <a:lstStyle/>
            <a:p>
              <a:pPr algn="ctr">
                <a:buNone/>
              </a:pPr>
              <a:r>
                <a:rPr lang="en-US" altLang="zh-CN" b="1" dirty="0" smtClean="0">
                  <a:solidFill>
                    <a:schemeClr val="bg1"/>
                  </a:solidFill>
                  <a:latin typeface="FrutigerNext LT Medium" panose="020B0603040504020204" pitchFamily="34" charset="0"/>
                  <a:ea typeface="微软雅黑" pitchFamily="34" charset="-122"/>
                </a:rPr>
                <a:t>Legacy</a:t>
              </a:r>
            </a:p>
            <a:p>
              <a:pPr algn="ctr">
                <a:buNone/>
              </a:pPr>
              <a:r>
                <a:rPr lang="en-US" altLang="zh-CN" sz="1200" dirty="0">
                  <a:solidFill>
                    <a:schemeClr val="bg1"/>
                  </a:solidFill>
                  <a:latin typeface="FrutigerNext LT Medium" panose="020B0603040504020204" pitchFamily="34" charset="0"/>
                  <a:ea typeface="微软雅黑" pitchFamily="34" charset="-122"/>
                </a:rPr>
                <a:t>(Hardware coupled)</a:t>
              </a:r>
            </a:p>
          </p:txBody>
        </p:sp>
        <p:sp>
          <p:nvSpPr>
            <p:cNvPr id="9" name="右箭头 312"/>
            <p:cNvSpPr/>
            <p:nvPr/>
          </p:nvSpPr>
          <p:spPr bwMode="auto">
            <a:xfrm>
              <a:off x="1962174" y="2452711"/>
              <a:ext cx="370505" cy="367335"/>
            </a:xfrm>
            <a:prstGeom prst="rightArrow">
              <a:avLst/>
            </a:prstGeom>
            <a:solidFill>
              <a:schemeClr val="tx1">
                <a:lumMod val="50000"/>
                <a:lumOff val="50000"/>
                <a:alpha val="40000"/>
              </a:schemeClr>
            </a:solidFill>
            <a:ln>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lIns="20243" tIns="34285" rIns="20243" bIns="34285" rtlCol="0" anchor="ctr"/>
            <a:lstStyle/>
            <a:p>
              <a:endParaRPr lang="zh-CN" altLang="en-US" sz="1200" dirty="0">
                <a:latin typeface="FrutigerNext LT Medium" panose="020B0603040504020204" pitchFamily="34" charset="0"/>
              </a:endParaRPr>
            </a:p>
          </p:txBody>
        </p:sp>
        <p:grpSp>
          <p:nvGrpSpPr>
            <p:cNvPr id="10" name="组合 145"/>
            <p:cNvGrpSpPr/>
            <p:nvPr/>
          </p:nvGrpSpPr>
          <p:grpSpPr>
            <a:xfrm>
              <a:off x="416648" y="1556266"/>
              <a:ext cx="1374704" cy="2294469"/>
              <a:chOff x="585909" y="2507151"/>
              <a:chExt cx="1839270" cy="2724788"/>
            </a:xfrm>
          </p:grpSpPr>
          <p:grpSp>
            <p:nvGrpSpPr>
              <p:cNvPr id="48" name="组合 3"/>
              <p:cNvGrpSpPr/>
              <p:nvPr/>
            </p:nvGrpSpPr>
            <p:grpSpPr>
              <a:xfrm>
                <a:off x="585909" y="2510339"/>
                <a:ext cx="1000432" cy="2721600"/>
                <a:chOff x="496598" y="2510339"/>
                <a:chExt cx="1214508" cy="2721600"/>
              </a:xfrm>
            </p:grpSpPr>
            <p:sp>
              <p:nvSpPr>
                <p:cNvPr id="58" name="圆角矩形 57"/>
                <p:cNvSpPr/>
                <p:nvPr/>
              </p:nvSpPr>
              <p:spPr bwMode="auto">
                <a:xfrm>
                  <a:off x="496598" y="2677893"/>
                  <a:ext cx="1214508" cy="552377"/>
                </a:xfrm>
                <a:prstGeom prst="roundRect">
                  <a:avLst/>
                </a:prstGeom>
                <a:noFill/>
                <a:ln w="28575">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46" tIns="34274" rIns="68546" bIns="34274" numCol="1" rtlCol="0" anchor="ctr" anchorCtr="0" compatLnSpc="1">
                  <a:prstTxWarp prst="textNoShape">
                    <a:avLst/>
                  </a:prstTxWarp>
                </a:bodyPr>
                <a:lstStyle/>
                <a:p>
                  <a:pPr algn="ctr" defTabSz="658864">
                    <a:buClr>
                      <a:srgbClr val="CC9900"/>
                    </a:buClr>
                  </a:pPr>
                  <a:r>
                    <a:rPr lang="en-US" altLang="zh-CN" sz="1200" b="1" dirty="0">
                      <a:solidFill>
                        <a:schemeClr val="bg1"/>
                      </a:solidFill>
                      <a:latin typeface="FrutigerNext LT Medium" panose="020B0603040504020204" pitchFamily="34" charset="0"/>
                      <a:cs typeface="Arial" pitchFamily="34" charset="0"/>
                    </a:rPr>
                    <a:t>IMS</a:t>
                  </a:r>
                  <a:endParaRPr lang="zh-CN" altLang="en-US" sz="1200" b="1" dirty="0">
                    <a:solidFill>
                      <a:schemeClr val="bg1"/>
                    </a:solidFill>
                    <a:latin typeface="FrutigerNext LT Medium" panose="020B0603040504020204" pitchFamily="34" charset="0"/>
                    <a:cs typeface="Arial" pitchFamily="34" charset="0"/>
                  </a:endParaRPr>
                </a:p>
              </p:txBody>
            </p:sp>
            <p:grpSp>
              <p:nvGrpSpPr>
                <p:cNvPr id="59" name="组合 266"/>
                <p:cNvGrpSpPr/>
                <p:nvPr/>
              </p:nvGrpSpPr>
              <p:grpSpPr>
                <a:xfrm rot="5400000">
                  <a:off x="719009" y="3998534"/>
                  <a:ext cx="862285" cy="925538"/>
                  <a:chOff x="805572" y="2389322"/>
                  <a:chExt cx="360363" cy="876300"/>
                </a:xfrm>
                <a:solidFill>
                  <a:srgbClr val="DADCE0"/>
                </a:solidFill>
              </p:grpSpPr>
              <p:sp>
                <p:nvSpPr>
                  <p:cNvPr id="64" name="Freeform 89"/>
                  <p:cNvSpPr>
                    <a:spLocks noEditPoints="1"/>
                  </p:cNvSpPr>
                  <p:nvPr/>
                </p:nvSpPr>
                <p:spPr bwMode="auto">
                  <a:xfrm>
                    <a:off x="865135" y="2436978"/>
                    <a:ext cx="261938" cy="487363"/>
                  </a:xfrm>
                  <a:custGeom>
                    <a:avLst/>
                    <a:gdLst>
                      <a:gd name="T0" fmla="*/ 25 w 165"/>
                      <a:gd name="T1" fmla="*/ 4 h 307"/>
                      <a:gd name="T2" fmla="*/ 42 w 165"/>
                      <a:gd name="T3" fmla="*/ 1 h 307"/>
                      <a:gd name="T4" fmla="*/ 16 w 165"/>
                      <a:gd name="T5" fmla="*/ 6 h 307"/>
                      <a:gd name="T6" fmla="*/ 14 w 165"/>
                      <a:gd name="T7" fmla="*/ 6 h 307"/>
                      <a:gd name="T8" fmla="*/ 4 w 165"/>
                      <a:gd name="T9" fmla="*/ 0 h 307"/>
                      <a:gd name="T10" fmla="*/ 56 w 165"/>
                      <a:gd name="T11" fmla="*/ 4 h 307"/>
                      <a:gd name="T12" fmla="*/ 52 w 165"/>
                      <a:gd name="T13" fmla="*/ 6 h 307"/>
                      <a:gd name="T14" fmla="*/ 131 w 165"/>
                      <a:gd name="T15" fmla="*/ 0 h 307"/>
                      <a:gd name="T16" fmla="*/ 52 w 165"/>
                      <a:gd name="T17" fmla="*/ 57 h 307"/>
                      <a:gd name="T18" fmla="*/ 50 w 165"/>
                      <a:gd name="T19" fmla="*/ 56 h 307"/>
                      <a:gd name="T20" fmla="*/ 40 w 165"/>
                      <a:gd name="T21" fmla="*/ 50 h 307"/>
                      <a:gd name="T22" fmla="*/ 18 w 165"/>
                      <a:gd name="T23" fmla="*/ 53 h 307"/>
                      <a:gd name="T24" fmla="*/ 16 w 165"/>
                      <a:gd name="T25" fmla="*/ 57 h 307"/>
                      <a:gd name="T26" fmla="*/ 25 w 165"/>
                      <a:gd name="T27" fmla="*/ 53 h 307"/>
                      <a:gd name="T28" fmla="*/ 165 w 165"/>
                      <a:gd name="T29" fmla="*/ 53 h 307"/>
                      <a:gd name="T30" fmla="*/ 129 w 165"/>
                      <a:gd name="T31" fmla="*/ 56 h 307"/>
                      <a:gd name="T32" fmla="*/ 4 w 165"/>
                      <a:gd name="T33" fmla="*/ 50 h 307"/>
                      <a:gd name="T34" fmla="*/ 164 w 165"/>
                      <a:gd name="T35" fmla="*/ 105 h 307"/>
                      <a:gd name="T36" fmla="*/ 128 w 165"/>
                      <a:gd name="T37" fmla="*/ 103 h 307"/>
                      <a:gd name="T38" fmla="*/ 18 w 165"/>
                      <a:gd name="T39" fmla="*/ 101 h 307"/>
                      <a:gd name="T40" fmla="*/ 27 w 165"/>
                      <a:gd name="T41" fmla="*/ 107 h 307"/>
                      <a:gd name="T42" fmla="*/ 26 w 165"/>
                      <a:gd name="T43" fmla="*/ 105 h 307"/>
                      <a:gd name="T44" fmla="*/ 4 w 165"/>
                      <a:gd name="T45" fmla="*/ 100 h 307"/>
                      <a:gd name="T46" fmla="*/ 43 w 165"/>
                      <a:gd name="T47" fmla="*/ 103 h 307"/>
                      <a:gd name="T48" fmla="*/ 40 w 165"/>
                      <a:gd name="T49" fmla="*/ 107 h 307"/>
                      <a:gd name="T50" fmla="*/ 49 w 165"/>
                      <a:gd name="T51" fmla="*/ 103 h 307"/>
                      <a:gd name="T52" fmla="*/ 18 w 165"/>
                      <a:gd name="T53" fmla="*/ 151 h 307"/>
                      <a:gd name="T54" fmla="*/ 52 w 165"/>
                      <a:gd name="T55" fmla="*/ 156 h 307"/>
                      <a:gd name="T56" fmla="*/ 50 w 165"/>
                      <a:gd name="T57" fmla="*/ 155 h 307"/>
                      <a:gd name="T58" fmla="*/ 27 w 165"/>
                      <a:gd name="T59" fmla="*/ 151 h 307"/>
                      <a:gd name="T60" fmla="*/ 164 w 165"/>
                      <a:gd name="T61" fmla="*/ 155 h 307"/>
                      <a:gd name="T62" fmla="*/ 128 w 165"/>
                      <a:gd name="T63" fmla="*/ 153 h 307"/>
                      <a:gd name="T64" fmla="*/ 42 w 165"/>
                      <a:gd name="T65" fmla="*/ 151 h 307"/>
                      <a:gd name="T66" fmla="*/ 4 w 165"/>
                      <a:gd name="T67" fmla="*/ 156 h 307"/>
                      <a:gd name="T68" fmla="*/ 1 w 165"/>
                      <a:gd name="T69" fmla="*/ 155 h 307"/>
                      <a:gd name="T70" fmla="*/ 16 w 165"/>
                      <a:gd name="T71" fmla="*/ 200 h 307"/>
                      <a:gd name="T72" fmla="*/ 7 w 165"/>
                      <a:gd name="T73" fmla="*/ 204 h 307"/>
                      <a:gd name="T74" fmla="*/ 4 w 165"/>
                      <a:gd name="T75" fmla="*/ 206 h 307"/>
                      <a:gd name="T76" fmla="*/ 131 w 165"/>
                      <a:gd name="T77" fmla="*/ 200 h 307"/>
                      <a:gd name="T78" fmla="*/ 27 w 165"/>
                      <a:gd name="T79" fmla="*/ 206 h 307"/>
                      <a:gd name="T80" fmla="*/ 26 w 165"/>
                      <a:gd name="T81" fmla="*/ 205 h 307"/>
                      <a:gd name="T82" fmla="*/ 52 w 165"/>
                      <a:gd name="T83" fmla="*/ 200 h 307"/>
                      <a:gd name="T84" fmla="*/ 43 w 165"/>
                      <a:gd name="T85" fmla="*/ 204 h 307"/>
                      <a:gd name="T86" fmla="*/ 40 w 165"/>
                      <a:gd name="T87" fmla="*/ 206 h 307"/>
                      <a:gd name="T88" fmla="*/ 163 w 165"/>
                      <a:gd name="T89" fmla="*/ 256 h 307"/>
                      <a:gd name="T90" fmla="*/ 41 w 165"/>
                      <a:gd name="T91" fmla="*/ 250 h 307"/>
                      <a:gd name="T92" fmla="*/ 43 w 165"/>
                      <a:gd name="T93" fmla="*/ 251 h 307"/>
                      <a:gd name="T94" fmla="*/ 52 w 165"/>
                      <a:gd name="T95" fmla="*/ 256 h 307"/>
                      <a:gd name="T96" fmla="*/ 1 w 165"/>
                      <a:gd name="T97" fmla="*/ 254 h 307"/>
                      <a:gd name="T98" fmla="*/ 4 w 165"/>
                      <a:gd name="T99" fmla="*/ 250 h 307"/>
                      <a:gd name="T100" fmla="*/ 32 w 165"/>
                      <a:gd name="T101" fmla="*/ 254 h 307"/>
                      <a:gd name="T102" fmla="*/ 14 w 165"/>
                      <a:gd name="T103" fmla="*/ 256 h 307"/>
                      <a:gd name="T104" fmla="*/ 131 w 165"/>
                      <a:gd name="T105" fmla="*/ 301 h 307"/>
                      <a:gd name="T106" fmla="*/ 165 w 165"/>
                      <a:gd name="T107" fmla="*/ 306 h 307"/>
                      <a:gd name="T108" fmla="*/ 13 w 165"/>
                      <a:gd name="T109" fmla="*/ 303 h 307"/>
                      <a:gd name="T110" fmla="*/ 16 w 165"/>
                      <a:gd name="T111" fmla="*/ 300 h 307"/>
                      <a:gd name="T112" fmla="*/ 56 w 165"/>
                      <a:gd name="T113" fmla="*/ 303 h 307"/>
                      <a:gd name="T114" fmla="*/ 1 w 165"/>
                      <a:gd name="T115" fmla="*/ 306 h 307"/>
                      <a:gd name="T116" fmla="*/ 41 w 165"/>
                      <a:gd name="T117" fmla="*/ 300 h 307"/>
                      <a:gd name="T118" fmla="*/ 43 w 165"/>
                      <a:gd name="T119" fmla="*/ 301 h 307"/>
                      <a:gd name="T120" fmla="*/ 28 w 165"/>
                      <a:gd name="T12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5" h="307">
                        <a:moveTo>
                          <a:pt x="27" y="6"/>
                        </a:moveTo>
                        <a:lnTo>
                          <a:pt x="27" y="6"/>
                        </a:lnTo>
                        <a:lnTo>
                          <a:pt x="30" y="6"/>
                        </a:lnTo>
                        <a:lnTo>
                          <a:pt x="31" y="4"/>
                        </a:lnTo>
                        <a:lnTo>
                          <a:pt x="31" y="4"/>
                        </a:lnTo>
                        <a:lnTo>
                          <a:pt x="30" y="1"/>
                        </a:lnTo>
                        <a:lnTo>
                          <a:pt x="27" y="0"/>
                        </a:lnTo>
                        <a:lnTo>
                          <a:pt x="27" y="0"/>
                        </a:lnTo>
                        <a:lnTo>
                          <a:pt x="26" y="1"/>
                        </a:lnTo>
                        <a:lnTo>
                          <a:pt x="25" y="4"/>
                        </a:lnTo>
                        <a:lnTo>
                          <a:pt x="25" y="4"/>
                        </a:lnTo>
                        <a:lnTo>
                          <a:pt x="26" y="6"/>
                        </a:lnTo>
                        <a:lnTo>
                          <a:pt x="27" y="6"/>
                        </a:lnTo>
                        <a:lnTo>
                          <a:pt x="27" y="6"/>
                        </a:lnTo>
                        <a:close/>
                        <a:moveTo>
                          <a:pt x="40" y="6"/>
                        </a:moveTo>
                        <a:lnTo>
                          <a:pt x="40" y="6"/>
                        </a:lnTo>
                        <a:lnTo>
                          <a:pt x="42" y="6"/>
                        </a:lnTo>
                        <a:lnTo>
                          <a:pt x="43" y="4"/>
                        </a:lnTo>
                        <a:lnTo>
                          <a:pt x="43" y="4"/>
                        </a:lnTo>
                        <a:lnTo>
                          <a:pt x="42" y="1"/>
                        </a:lnTo>
                        <a:lnTo>
                          <a:pt x="40" y="0"/>
                        </a:lnTo>
                        <a:lnTo>
                          <a:pt x="40" y="0"/>
                        </a:lnTo>
                        <a:lnTo>
                          <a:pt x="37" y="1"/>
                        </a:lnTo>
                        <a:lnTo>
                          <a:pt x="37" y="4"/>
                        </a:lnTo>
                        <a:lnTo>
                          <a:pt x="37" y="4"/>
                        </a:lnTo>
                        <a:lnTo>
                          <a:pt x="37" y="6"/>
                        </a:lnTo>
                        <a:lnTo>
                          <a:pt x="40" y="6"/>
                        </a:lnTo>
                        <a:lnTo>
                          <a:pt x="40" y="6"/>
                        </a:lnTo>
                        <a:close/>
                        <a:moveTo>
                          <a:pt x="16" y="6"/>
                        </a:moveTo>
                        <a:lnTo>
                          <a:pt x="16" y="6"/>
                        </a:lnTo>
                        <a:lnTo>
                          <a:pt x="18" y="6"/>
                        </a:lnTo>
                        <a:lnTo>
                          <a:pt x="18" y="4"/>
                        </a:lnTo>
                        <a:lnTo>
                          <a:pt x="18" y="4"/>
                        </a:lnTo>
                        <a:lnTo>
                          <a:pt x="18" y="1"/>
                        </a:lnTo>
                        <a:lnTo>
                          <a:pt x="16" y="0"/>
                        </a:lnTo>
                        <a:lnTo>
                          <a:pt x="16" y="0"/>
                        </a:lnTo>
                        <a:lnTo>
                          <a:pt x="14" y="1"/>
                        </a:lnTo>
                        <a:lnTo>
                          <a:pt x="13" y="4"/>
                        </a:lnTo>
                        <a:lnTo>
                          <a:pt x="13" y="4"/>
                        </a:lnTo>
                        <a:lnTo>
                          <a:pt x="14" y="6"/>
                        </a:lnTo>
                        <a:lnTo>
                          <a:pt x="16" y="6"/>
                        </a:lnTo>
                        <a:lnTo>
                          <a:pt x="16" y="6"/>
                        </a:lnTo>
                        <a:close/>
                        <a:moveTo>
                          <a:pt x="4" y="6"/>
                        </a:moveTo>
                        <a:lnTo>
                          <a:pt x="4" y="6"/>
                        </a:lnTo>
                        <a:lnTo>
                          <a:pt x="6" y="6"/>
                        </a:lnTo>
                        <a:lnTo>
                          <a:pt x="7" y="4"/>
                        </a:lnTo>
                        <a:lnTo>
                          <a:pt x="7" y="4"/>
                        </a:lnTo>
                        <a:lnTo>
                          <a:pt x="6" y="1"/>
                        </a:lnTo>
                        <a:lnTo>
                          <a:pt x="4" y="0"/>
                        </a:lnTo>
                        <a:lnTo>
                          <a:pt x="4" y="0"/>
                        </a:lnTo>
                        <a:lnTo>
                          <a:pt x="1" y="1"/>
                        </a:lnTo>
                        <a:lnTo>
                          <a:pt x="0" y="4"/>
                        </a:lnTo>
                        <a:lnTo>
                          <a:pt x="0" y="4"/>
                        </a:lnTo>
                        <a:lnTo>
                          <a:pt x="1" y="6"/>
                        </a:lnTo>
                        <a:lnTo>
                          <a:pt x="4" y="6"/>
                        </a:lnTo>
                        <a:lnTo>
                          <a:pt x="4" y="6"/>
                        </a:lnTo>
                        <a:close/>
                        <a:moveTo>
                          <a:pt x="52" y="6"/>
                        </a:moveTo>
                        <a:lnTo>
                          <a:pt x="52" y="6"/>
                        </a:lnTo>
                        <a:lnTo>
                          <a:pt x="54" y="6"/>
                        </a:lnTo>
                        <a:lnTo>
                          <a:pt x="56" y="4"/>
                        </a:lnTo>
                        <a:lnTo>
                          <a:pt x="56" y="4"/>
                        </a:lnTo>
                        <a:lnTo>
                          <a:pt x="54" y="1"/>
                        </a:lnTo>
                        <a:lnTo>
                          <a:pt x="52" y="0"/>
                        </a:lnTo>
                        <a:lnTo>
                          <a:pt x="52" y="0"/>
                        </a:lnTo>
                        <a:lnTo>
                          <a:pt x="50" y="1"/>
                        </a:lnTo>
                        <a:lnTo>
                          <a:pt x="49" y="4"/>
                        </a:lnTo>
                        <a:lnTo>
                          <a:pt x="49" y="4"/>
                        </a:lnTo>
                        <a:lnTo>
                          <a:pt x="50" y="6"/>
                        </a:lnTo>
                        <a:lnTo>
                          <a:pt x="52" y="6"/>
                        </a:lnTo>
                        <a:lnTo>
                          <a:pt x="52" y="6"/>
                        </a:lnTo>
                        <a:close/>
                        <a:moveTo>
                          <a:pt x="131" y="6"/>
                        </a:moveTo>
                        <a:lnTo>
                          <a:pt x="163" y="6"/>
                        </a:lnTo>
                        <a:lnTo>
                          <a:pt x="163" y="6"/>
                        </a:lnTo>
                        <a:lnTo>
                          <a:pt x="164" y="5"/>
                        </a:lnTo>
                        <a:lnTo>
                          <a:pt x="165" y="4"/>
                        </a:lnTo>
                        <a:lnTo>
                          <a:pt x="165" y="4"/>
                        </a:lnTo>
                        <a:lnTo>
                          <a:pt x="165" y="4"/>
                        </a:lnTo>
                        <a:lnTo>
                          <a:pt x="164" y="1"/>
                        </a:lnTo>
                        <a:lnTo>
                          <a:pt x="163" y="0"/>
                        </a:lnTo>
                        <a:lnTo>
                          <a:pt x="131" y="0"/>
                        </a:lnTo>
                        <a:lnTo>
                          <a:pt x="131" y="0"/>
                        </a:lnTo>
                        <a:lnTo>
                          <a:pt x="129" y="1"/>
                        </a:lnTo>
                        <a:lnTo>
                          <a:pt x="128" y="4"/>
                        </a:lnTo>
                        <a:lnTo>
                          <a:pt x="128" y="4"/>
                        </a:lnTo>
                        <a:lnTo>
                          <a:pt x="128" y="4"/>
                        </a:lnTo>
                        <a:lnTo>
                          <a:pt x="129" y="5"/>
                        </a:lnTo>
                        <a:lnTo>
                          <a:pt x="131" y="6"/>
                        </a:lnTo>
                        <a:lnTo>
                          <a:pt x="131" y="6"/>
                        </a:lnTo>
                        <a:close/>
                        <a:moveTo>
                          <a:pt x="52" y="57"/>
                        </a:moveTo>
                        <a:lnTo>
                          <a:pt x="52" y="57"/>
                        </a:lnTo>
                        <a:lnTo>
                          <a:pt x="54" y="56"/>
                        </a:lnTo>
                        <a:lnTo>
                          <a:pt x="56" y="53"/>
                        </a:lnTo>
                        <a:lnTo>
                          <a:pt x="56" y="53"/>
                        </a:lnTo>
                        <a:lnTo>
                          <a:pt x="54" y="51"/>
                        </a:lnTo>
                        <a:lnTo>
                          <a:pt x="52" y="50"/>
                        </a:lnTo>
                        <a:lnTo>
                          <a:pt x="52" y="50"/>
                        </a:lnTo>
                        <a:lnTo>
                          <a:pt x="50" y="51"/>
                        </a:lnTo>
                        <a:lnTo>
                          <a:pt x="49" y="53"/>
                        </a:lnTo>
                        <a:lnTo>
                          <a:pt x="49" y="53"/>
                        </a:lnTo>
                        <a:lnTo>
                          <a:pt x="50" y="56"/>
                        </a:lnTo>
                        <a:lnTo>
                          <a:pt x="52" y="57"/>
                        </a:lnTo>
                        <a:lnTo>
                          <a:pt x="52" y="57"/>
                        </a:lnTo>
                        <a:close/>
                        <a:moveTo>
                          <a:pt x="40" y="57"/>
                        </a:moveTo>
                        <a:lnTo>
                          <a:pt x="40" y="57"/>
                        </a:lnTo>
                        <a:lnTo>
                          <a:pt x="42" y="56"/>
                        </a:lnTo>
                        <a:lnTo>
                          <a:pt x="43" y="53"/>
                        </a:lnTo>
                        <a:lnTo>
                          <a:pt x="43" y="53"/>
                        </a:lnTo>
                        <a:lnTo>
                          <a:pt x="42" y="51"/>
                        </a:lnTo>
                        <a:lnTo>
                          <a:pt x="40" y="50"/>
                        </a:lnTo>
                        <a:lnTo>
                          <a:pt x="40" y="50"/>
                        </a:lnTo>
                        <a:lnTo>
                          <a:pt x="37" y="51"/>
                        </a:lnTo>
                        <a:lnTo>
                          <a:pt x="37" y="53"/>
                        </a:lnTo>
                        <a:lnTo>
                          <a:pt x="37" y="53"/>
                        </a:lnTo>
                        <a:lnTo>
                          <a:pt x="37" y="56"/>
                        </a:lnTo>
                        <a:lnTo>
                          <a:pt x="40" y="57"/>
                        </a:lnTo>
                        <a:lnTo>
                          <a:pt x="40" y="57"/>
                        </a:lnTo>
                        <a:close/>
                        <a:moveTo>
                          <a:pt x="16" y="57"/>
                        </a:moveTo>
                        <a:lnTo>
                          <a:pt x="16" y="57"/>
                        </a:lnTo>
                        <a:lnTo>
                          <a:pt x="18" y="56"/>
                        </a:lnTo>
                        <a:lnTo>
                          <a:pt x="18" y="53"/>
                        </a:lnTo>
                        <a:lnTo>
                          <a:pt x="18" y="53"/>
                        </a:lnTo>
                        <a:lnTo>
                          <a:pt x="18" y="51"/>
                        </a:lnTo>
                        <a:lnTo>
                          <a:pt x="16" y="50"/>
                        </a:lnTo>
                        <a:lnTo>
                          <a:pt x="16" y="50"/>
                        </a:lnTo>
                        <a:lnTo>
                          <a:pt x="14" y="51"/>
                        </a:lnTo>
                        <a:lnTo>
                          <a:pt x="13" y="53"/>
                        </a:lnTo>
                        <a:lnTo>
                          <a:pt x="13" y="53"/>
                        </a:lnTo>
                        <a:lnTo>
                          <a:pt x="14" y="56"/>
                        </a:lnTo>
                        <a:lnTo>
                          <a:pt x="16" y="57"/>
                        </a:lnTo>
                        <a:lnTo>
                          <a:pt x="16" y="57"/>
                        </a:lnTo>
                        <a:close/>
                        <a:moveTo>
                          <a:pt x="27" y="57"/>
                        </a:moveTo>
                        <a:lnTo>
                          <a:pt x="27" y="57"/>
                        </a:lnTo>
                        <a:lnTo>
                          <a:pt x="30" y="56"/>
                        </a:lnTo>
                        <a:lnTo>
                          <a:pt x="31" y="53"/>
                        </a:lnTo>
                        <a:lnTo>
                          <a:pt x="31" y="53"/>
                        </a:lnTo>
                        <a:lnTo>
                          <a:pt x="30" y="51"/>
                        </a:lnTo>
                        <a:lnTo>
                          <a:pt x="27" y="50"/>
                        </a:lnTo>
                        <a:lnTo>
                          <a:pt x="27" y="50"/>
                        </a:lnTo>
                        <a:lnTo>
                          <a:pt x="26" y="51"/>
                        </a:lnTo>
                        <a:lnTo>
                          <a:pt x="25" y="53"/>
                        </a:lnTo>
                        <a:lnTo>
                          <a:pt x="25" y="53"/>
                        </a:lnTo>
                        <a:lnTo>
                          <a:pt x="26" y="56"/>
                        </a:lnTo>
                        <a:lnTo>
                          <a:pt x="27" y="57"/>
                        </a:lnTo>
                        <a:lnTo>
                          <a:pt x="27" y="57"/>
                        </a:lnTo>
                        <a:close/>
                        <a:moveTo>
                          <a:pt x="131" y="56"/>
                        </a:moveTo>
                        <a:lnTo>
                          <a:pt x="163" y="56"/>
                        </a:lnTo>
                        <a:lnTo>
                          <a:pt x="163" y="56"/>
                        </a:lnTo>
                        <a:lnTo>
                          <a:pt x="164" y="56"/>
                        </a:lnTo>
                        <a:lnTo>
                          <a:pt x="165" y="53"/>
                        </a:lnTo>
                        <a:lnTo>
                          <a:pt x="165" y="53"/>
                        </a:lnTo>
                        <a:lnTo>
                          <a:pt x="165" y="53"/>
                        </a:lnTo>
                        <a:lnTo>
                          <a:pt x="164" y="51"/>
                        </a:lnTo>
                        <a:lnTo>
                          <a:pt x="163" y="51"/>
                        </a:lnTo>
                        <a:lnTo>
                          <a:pt x="131" y="51"/>
                        </a:lnTo>
                        <a:lnTo>
                          <a:pt x="131" y="51"/>
                        </a:lnTo>
                        <a:lnTo>
                          <a:pt x="129" y="51"/>
                        </a:lnTo>
                        <a:lnTo>
                          <a:pt x="128" y="53"/>
                        </a:lnTo>
                        <a:lnTo>
                          <a:pt x="128" y="53"/>
                        </a:lnTo>
                        <a:lnTo>
                          <a:pt x="128" y="53"/>
                        </a:lnTo>
                        <a:lnTo>
                          <a:pt x="129" y="56"/>
                        </a:lnTo>
                        <a:lnTo>
                          <a:pt x="131" y="56"/>
                        </a:lnTo>
                        <a:lnTo>
                          <a:pt x="131" y="56"/>
                        </a:lnTo>
                        <a:close/>
                        <a:moveTo>
                          <a:pt x="4" y="57"/>
                        </a:moveTo>
                        <a:lnTo>
                          <a:pt x="4" y="57"/>
                        </a:lnTo>
                        <a:lnTo>
                          <a:pt x="6" y="56"/>
                        </a:lnTo>
                        <a:lnTo>
                          <a:pt x="7" y="53"/>
                        </a:lnTo>
                        <a:lnTo>
                          <a:pt x="7" y="53"/>
                        </a:lnTo>
                        <a:lnTo>
                          <a:pt x="6" y="51"/>
                        </a:lnTo>
                        <a:lnTo>
                          <a:pt x="4" y="50"/>
                        </a:lnTo>
                        <a:lnTo>
                          <a:pt x="4" y="50"/>
                        </a:lnTo>
                        <a:lnTo>
                          <a:pt x="1" y="51"/>
                        </a:lnTo>
                        <a:lnTo>
                          <a:pt x="0" y="53"/>
                        </a:lnTo>
                        <a:lnTo>
                          <a:pt x="0" y="53"/>
                        </a:lnTo>
                        <a:lnTo>
                          <a:pt x="1" y="56"/>
                        </a:lnTo>
                        <a:lnTo>
                          <a:pt x="4" y="57"/>
                        </a:lnTo>
                        <a:lnTo>
                          <a:pt x="4" y="57"/>
                        </a:lnTo>
                        <a:close/>
                        <a:moveTo>
                          <a:pt x="131" y="105"/>
                        </a:moveTo>
                        <a:lnTo>
                          <a:pt x="163" y="105"/>
                        </a:lnTo>
                        <a:lnTo>
                          <a:pt x="163" y="105"/>
                        </a:lnTo>
                        <a:lnTo>
                          <a:pt x="164" y="105"/>
                        </a:lnTo>
                        <a:lnTo>
                          <a:pt x="165" y="103"/>
                        </a:lnTo>
                        <a:lnTo>
                          <a:pt x="165" y="103"/>
                        </a:lnTo>
                        <a:lnTo>
                          <a:pt x="165" y="103"/>
                        </a:lnTo>
                        <a:lnTo>
                          <a:pt x="164" y="101"/>
                        </a:lnTo>
                        <a:lnTo>
                          <a:pt x="163" y="101"/>
                        </a:lnTo>
                        <a:lnTo>
                          <a:pt x="131" y="101"/>
                        </a:lnTo>
                        <a:lnTo>
                          <a:pt x="131" y="101"/>
                        </a:lnTo>
                        <a:lnTo>
                          <a:pt x="129" y="101"/>
                        </a:lnTo>
                        <a:lnTo>
                          <a:pt x="128" y="103"/>
                        </a:lnTo>
                        <a:lnTo>
                          <a:pt x="128" y="103"/>
                        </a:lnTo>
                        <a:lnTo>
                          <a:pt x="128" y="103"/>
                        </a:lnTo>
                        <a:lnTo>
                          <a:pt x="129" y="105"/>
                        </a:lnTo>
                        <a:lnTo>
                          <a:pt x="131" y="105"/>
                        </a:lnTo>
                        <a:lnTo>
                          <a:pt x="131" y="105"/>
                        </a:lnTo>
                        <a:close/>
                        <a:moveTo>
                          <a:pt x="16" y="107"/>
                        </a:moveTo>
                        <a:lnTo>
                          <a:pt x="16" y="107"/>
                        </a:lnTo>
                        <a:lnTo>
                          <a:pt x="18" y="105"/>
                        </a:lnTo>
                        <a:lnTo>
                          <a:pt x="18" y="103"/>
                        </a:lnTo>
                        <a:lnTo>
                          <a:pt x="18" y="103"/>
                        </a:lnTo>
                        <a:lnTo>
                          <a:pt x="18" y="101"/>
                        </a:lnTo>
                        <a:lnTo>
                          <a:pt x="16" y="100"/>
                        </a:lnTo>
                        <a:lnTo>
                          <a:pt x="16" y="100"/>
                        </a:lnTo>
                        <a:lnTo>
                          <a:pt x="14" y="101"/>
                        </a:lnTo>
                        <a:lnTo>
                          <a:pt x="13" y="103"/>
                        </a:lnTo>
                        <a:lnTo>
                          <a:pt x="13" y="103"/>
                        </a:lnTo>
                        <a:lnTo>
                          <a:pt x="14" y="105"/>
                        </a:lnTo>
                        <a:lnTo>
                          <a:pt x="16" y="107"/>
                        </a:lnTo>
                        <a:lnTo>
                          <a:pt x="16" y="107"/>
                        </a:lnTo>
                        <a:close/>
                        <a:moveTo>
                          <a:pt x="27" y="107"/>
                        </a:moveTo>
                        <a:lnTo>
                          <a:pt x="27" y="107"/>
                        </a:lnTo>
                        <a:lnTo>
                          <a:pt x="30" y="105"/>
                        </a:lnTo>
                        <a:lnTo>
                          <a:pt x="31" y="103"/>
                        </a:lnTo>
                        <a:lnTo>
                          <a:pt x="31" y="103"/>
                        </a:lnTo>
                        <a:lnTo>
                          <a:pt x="30" y="101"/>
                        </a:lnTo>
                        <a:lnTo>
                          <a:pt x="27" y="100"/>
                        </a:lnTo>
                        <a:lnTo>
                          <a:pt x="27" y="100"/>
                        </a:lnTo>
                        <a:lnTo>
                          <a:pt x="26" y="101"/>
                        </a:lnTo>
                        <a:lnTo>
                          <a:pt x="25" y="103"/>
                        </a:lnTo>
                        <a:lnTo>
                          <a:pt x="25" y="103"/>
                        </a:lnTo>
                        <a:lnTo>
                          <a:pt x="26" y="105"/>
                        </a:lnTo>
                        <a:lnTo>
                          <a:pt x="27" y="107"/>
                        </a:lnTo>
                        <a:lnTo>
                          <a:pt x="27" y="107"/>
                        </a:lnTo>
                        <a:close/>
                        <a:moveTo>
                          <a:pt x="4" y="107"/>
                        </a:moveTo>
                        <a:lnTo>
                          <a:pt x="4" y="107"/>
                        </a:lnTo>
                        <a:lnTo>
                          <a:pt x="6" y="105"/>
                        </a:lnTo>
                        <a:lnTo>
                          <a:pt x="7" y="103"/>
                        </a:lnTo>
                        <a:lnTo>
                          <a:pt x="7" y="103"/>
                        </a:lnTo>
                        <a:lnTo>
                          <a:pt x="6" y="101"/>
                        </a:lnTo>
                        <a:lnTo>
                          <a:pt x="4" y="100"/>
                        </a:lnTo>
                        <a:lnTo>
                          <a:pt x="4" y="100"/>
                        </a:lnTo>
                        <a:lnTo>
                          <a:pt x="1" y="101"/>
                        </a:lnTo>
                        <a:lnTo>
                          <a:pt x="0" y="103"/>
                        </a:lnTo>
                        <a:lnTo>
                          <a:pt x="0" y="103"/>
                        </a:lnTo>
                        <a:lnTo>
                          <a:pt x="1" y="105"/>
                        </a:lnTo>
                        <a:lnTo>
                          <a:pt x="4" y="107"/>
                        </a:lnTo>
                        <a:lnTo>
                          <a:pt x="4" y="107"/>
                        </a:lnTo>
                        <a:close/>
                        <a:moveTo>
                          <a:pt x="40" y="107"/>
                        </a:moveTo>
                        <a:lnTo>
                          <a:pt x="40" y="107"/>
                        </a:lnTo>
                        <a:lnTo>
                          <a:pt x="42" y="105"/>
                        </a:lnTo>
                        <a:lnTo>
                          <a:pt x="43" y="103"/>
                        </a:lnTo>
                        <a:lnTo>
                          <a:pt x="43" y="103"/>
                        </a:lnTo>
                        <a:lnTo>
                          <a:pt x="42" y="101"/>
                        </a:lnTo>
                        <a:lnTo>
                          <a:pt x="40" y="100"/>
                        </a:lnTo>
                        <a:lnTo>
                          <a:pt x="40" y="100"/>
                        </a:lnTo>
                        <a:lnTo>
                          <a:pt x="37" y="101"/>
                        </a:lnTo>
                        <a:lnTo>
                          <a:pt x="37" y="103"/>
                        </a:lnTo>
                        <a:lnTo>
                          <a:pt x="37" y="103"/>
                        </a:lnTo>
                        <a:lnTo>
                          <a:pt x="37" y="105"/>
                        </a:lnTo>
                        <a:lnTo>
                          <a:pt x="40" y="107"/>
                        </a:lnTo>
                        <a:lnTo>
                          <a:pt x="40" y="107"/>
                        </a:lnTo>
                        <a:close/>
                        <a:moveTo>
                          <a:pt x="52" y="107"/>
                        </a:moveTo>
                        <a:lnTo>
                          <a:pt x="52" y="107"/>
                        </a:lnTo>
                        <a:lnTo>
                          <a:pt x="54" y="105"/>
                        </a:lnTo>
                        <a:lnTo>
                          <a:pt x="56" y="103"/>
                        </a:lnTo>
                        <a:lnTo>
                          <a:pt x="56" y="103"/>
                        </a:lnTo>
                        <a:lnTo>
                          <a:pt x="54" y="101"/>
                        </a:lnTo>
                        <a:lnTo>
                          <a:pt x="52" y="100"/>
                        </a:lnTo>
                        <a:lnTo>
                          <a:pt x="52" y="100"/>
                        </a:lnTo>
                        <a:lnTo>
                          <a:pt x="50" y="101"/>
                        </a:lnTo>
                        <a:lnTo>
                          <a:pt x="49" y="103"/>
                        </a:lnTo>
                        <a:lnTo>
                          <a:pt x="49" y="103"/>
                        </a:lnTo>
                        <a:lnTo>
                          <a:pt x="50" y="105"/>
                        </a:lnTo>
                        <a:lnTo>
                          <a:pt x="52" y="107"/>
                        </a:lnTo>
                        <a:lnTo>
                          <a:pt x="52" y="107"/>
                        </a:lnTo>
                        <a:close/>
                        <a:moveTo>
                          <a:pt x="16" y="156"/>
                        </a:moveTo>
                        <a:lnTo>
                          <a:pt x="16" y="156"/>
                        </a:lnTo>
                        <a:lnTo>
                          <a:pt x="18" y="155"/>
                        </a:lnTo>
                        <a:lnTo>
                          <a:pt x="18" y="153"/>
                        </a:lnTo>
                        <a:lnTo>
                          <a:pt x="18" y="153"/>
                        </a:lnTo>
                        <a:lnTo>
                          <a:pt x="18" y="151"/>
                        </a:lnTo>
                        <a:lnTo>
                          <a:pt x="16" y="151"/>
                        </a:lnTo>
                        <a:lnTo>
                          <a:pt x="16" y="151"/>
                        </a:lnTo>
                        <a:lnTo>
                          <a:pt x="14" y="151"/>
                        </a:lnTo>
                        <a:lnTo>
                          <a:pt x="13" y="153"/>
                        </a:lnTo>
                        <a:lnTo>
                          <a:pt x="13" y="153"/>
                        </a:lnTo>
                        <a:lnTo>
                          <a:pt x="14" y="155"/>
                        </a:lnTo>
                        <a:lnTo>
                          <a:pt x="16" y="156"/>
                        </a:lnTo>
                        <a:lnTo>
                          <a:pt x="16" y="156"/>
                        </a:lnTo>
                        <a:close/>
                        <a:moveTo>
                          <a:pt x="52" y="156"/>
                        </a:moveTo>
                        <a:lnTo>
                          <a:pt x="52" y="156"/>
                        </a:lnTo>
                        <a:lnTo>
                          <a:pt x="54" y="155"/>
                        </a:lnTo>
                        <a:lnTo>
                          <a:pt x="56" y="153"/>
                        </a:lnTo>
                        <a:lnTo>
                          <a:pt x="56" y="153"/>
                        </a:lnTo>
                        <a:lnTo>
                          <a:pt x="54" y="151"/>
                        </a:lnTo>
                        <a:lnTo>
                          <a:pt x="52" y="151"/>
                        </a:lnTo>
                        <a:lnTo>
                          <a:pt x="52" y="151"/>
                        </a:lnTo>
                        <a:lnTo>
                          <a:pt x="50" y="151"/>
                        </a:lnTo>
                        <a:lnTo>
                          <a:pt x="49" y="153"/>
                        </a:lnTo>
                        <a:lnTo>
                          <a:pt x="49" y="153"/>
                        </a:lnTo>
                        <a:lnTo>
                          <a:pt x="50" y="155"/>
                        </a:lnTo>
                        <a:lnTo>
                          <a:pt x="52" y="156"/>
                        </a:lnTo>
                        <a:lnTo>
                          <a:pt x="52" y="156"/>
                        </a:lnTo>
                        <a:close/>
                        <a:moveTo>
                          <a:pt x="27" y="156"/>
                        </a:moveTo>
                        <a:lnTo>
                          <a:pt x="27" y="156"/>
                        </a:lnTo>
                        <a:lnTo>
                          <a:pt x="30" y="155"/>
                        </a:lnTo>
                        <a:lnTo>
                          <a:pt x="31" y="153"/>
                        </a:lnTo>
                        <a:lnTo>
                          <a:pt x="31" y="153"/>
                        </a:lnTo>
                        <a:lnTo>
                          <a:pt x="30" y="151"/>
                        </a:lnTo>
                        <a:lnTo>
                          <a:pt x="27" y="151"/>
                        </a:lnTo>
                        <a:lnTo>
                          <a:pt x="27" y="151"/>
                        </a:lnTo>
                        <a:lnTo>
                          <a:pt x="26" y="151"/>
                        </a:lnTo>
                        <a:lnTo>
                          <a:pt x="25" y="153"/>
                        </a:lnTo>
                        <a:lnTo>
                          <a:pt x="25" y="153"/>
                        </a:lnTo>
                        <a:lnTo>
                          <a:pt x="26" y="155"/>
                        </a:lnTo>
                        <a:lnTo>
                          <a:pt x="27" y="156"/>
                        </a:lnTo>
                        <a:lnTo>
                          <a:pt x="27" y="156"/>
                        </a:lnTo>
                        <a:close/>
                        <a:moveTo>
                          <a:pt x="131" y="156"/>
                        </a:moveTo>
                        <a:lnTo>
                          <a:pt x="163" y="156"/>
                        </a:lnTo>
                        <a:lnTo>
                          <a:pt x="163" y="156"/>
                        </a:lnTo>
                        <a:lnTo>
                          <a:pt x="164" y="155"/>
                        </a:lnTo>
                        <a:lnTo>
                          <a:pt x="165" y="153"/>
                        </a:lnTo>
                        <a:lnTo>
                          <a:pt x="165" y="153"/>
                        </a:lnTo>
                        <a:lnTo>
                          <a:pt x="165" y="153"/>
                        </a:lnTo>
                        <a:lnTo>
                          <a:pt x="164" y="152"/>
                        </a:lnTo>
                        <a:lnTo>
                          <a:pt x="163" y="151"/>
                        </a:lnTo>
                        <a:lnTo>
                          <a:pt x="131" y="151"/>
                        </a:lnTo>
                        <a:lnTo>
                          <a:pt x="131" y="151"/>
                        </a:lnTo>
                        <a:lnTo>
                          <a:pt x="129" y="152"/>
                        </a:lnTo>
                        <a:lnTo>
                          <a:pt x="128" y="153"/>
                        </a:lnTo>
                        <a:lnTo>
                          <a:pt x="128" y="153"/>
                        </a:lnTo>
                        <a:lnTo>
                          <a:pt x="128" y="153"/>
                        </a:lnTo>
                        <a:lnTo>
                          <a:pt x="129" y="155"/>
                        </a:lnTo>
                        <a:lnTo>
                          <a:pt x="131" y="156"/>
                        </a:lnTo>
                        <a:lnTo>
                          <a:pt x="131" y="156"/>
                        </a:lnTo>
                        <a:close/>
                        <a:moveTo>
                          <a:pt x="40" y="156"/>
                        </a:moveTo>
                        <a:lnTo>
                          <a:pt x="40" y="156"/>
                        </a:lnTo>
                        <a:lnTo>
                          <a:pt x="42" y="155"/>
                        </a:lnTo>
                        <a:lnTo>
                          <a:pt x="43" y="153"/>
                        </a:lnTo>
                        <a:lnTo>
                          <a:pt x="43" y="153"/>
                        </a:lnTo>
                        <a:lnTo>
                          <a:pt x="42" y="151"/>
                        </a:lnTo>
                        <a:lnTo>
                          <a:pt x="40" y="151"/>
                        </a:lnTo>
                        <a:lnTo>
                          <a:pt x="40" y="151"/>
                        </a:lnTo>
                        <a:lnTo>
                          <a:pt x="37" y="151"/>
                        </a:lnTo>
                        <a:lnTo>
                          <a:pt x="37" y="153"/>
                        </a:lnTo>
                        <a:lnTo>
                          <a:pt x="37" y="153"/>
                        </a:lnTo>
                        <a:lnTo>
                          <a:pt x="37" y="155"/>
                        </a:lnTo>
                        <a:lnTo>
                          <a:pt x="40" y="156"/>
                        </a:lnTo>
                        <a:lnTo>
                          <a:pt x="40" y="156"/>
                        </a:lnTo>
                        <a:close/>
                        <a:moveTo>
                          <a:pt x="4" y="156"/>
                        </a:moveTo>
                        <a:lnTo>
                          <a:pt x="4" y="156"/>
                        </a:lnTo>
                        <a:lnTo>
                          <a:pt x="6" y="155"/>
                        </a:lnTo>
                        <a:lnTo>
                          <a:pt x="7" y="153"/>
                        </a:lnTo>
                        <a:lnTo>
                          <a:pt x="7" y="153"/>
                        </a:lnTo>
                        <a:lnTo>
                          <a:pt x="6" y="151"/>
                        </a:lnTo>
                        <a:lnTo>
                          <a:pt x="4" y="151"/>
                        </a:lnTo>
                        <a:lnTo>
                          <a:pt x="4" y="151"/>
                        </a:lnTo>
                        <a:lnTo>
                          <a:pt x="1" y="151"/>
                        </a:lnTo>
                        <a:lnTo>
                          <a:pt x="0" y="153"/>
                        </a:lnTo>
                        <a:lnTo>
                          <a:pt x="0" y="153"/>
                        </a:lnTo>
                        <a:lnTo>
                          <a:pt x="1" y="155"/>
                        </a:lnTo>
                        <a:lnTo>
                          <a:pt x="4" y="156"/>
                        </a:lnTo>
                        <a:lnTo>
                          <a:pt x="4" y="156"/>
                        </a:lnTo>
                        <a:close/>
                        <a:moveTo>
                          <a:pt x="16" y="206"/>
                        </a:moveTo>
                        <a:lnTo>
                          <a:pt x="16" y="206"/>
                        </a:lnTo>
                        <a:lnTo>
                          <a:pt x="18" y="205"/>
                        </a:lnTo>
                        <a:lnTo>
                          <a:pt x="18" y="204"/>
                        </a:lnTo>
                        <a:lnTo>
                          <a:pt x="18" y="204"/>
                        </a:lnTo>
                        <a:lnTo>
                          <a:pt x="18" y="202"/>
                        </a:lnTo>
                        <a:lnTo>
                          <a:pt x="16" y="200"/>
                        </a:lnTo>
                        <a:lnTo>
                          <a:pt x="16" y="200"/>
                        </a:lnTo>
                        <a:lnTo>
                          <a:pt x="14" y="202"/>
                        </a:lnTo>
                        <a:lnTo>
                          <a:pt x="13" y="204"/>
                        </a:lnTo>
                        <a:lnTo>
                          <a:pt x="13" y="204"/>
                        </a:lnTo>
                        <a:lnTo>
                          <a:pt x="14" y="205"/>
                        </a:lnTo>
                        <a:lnTo>
                          <a:pt x="16" y="206"/>
                        </a:lnTo>
                        <a:lnTo>
                          <a:pt x="16" y="206"/>
                        </a:lnTo>
                        <a:close/>
                        <a:moveTo>
                          <a:pt x="4" y="206"/>
                        </a:moveTo>
                        <a:lnTo>
                          <a:pt x="4" y="206"/>
                        </a:lnTo>
                        <a:lnTo>
                          <a:pt x="6" y="205"/>
                        </a:lnTo>
                        <a:lnTo>
                          <a:pt x="7" y="204"/>
                        </a:lnTo>
                        <a:lnTo>
                          <a:pt x="7" y="204"/>
                        </a:lnTo>
                        <a:lnTo>
                          <a:pt x="6" y="202"/>
                        </a:lnTo>
                        <a:lnTo>
                          <a:pt x="4" y="200"/>
                        </a:lnTo>
                        <a:lnTo>
                          <a:pt x="4" y="200"/>
                        </a:lnTo>
                        <a:lnTo>
                          <a:pt x="1" y="202"/>
                        </a:lnTo>
                        <a:lnTo>
                          <a:pt x="0" y="204"/>
                        </a:lnTo>
                        <a:lnTo>
                          <a:pt x="0" y="204"/>
                        </a:lnTo>
                        <a:lnTo>
                          <a:pt x="1" y="205"/>
                        </a:lnTo>
                        <a:lnTo>
                          <a:pt x="4" y="206"/>
                        </a:lnTo>
                        <a:lnTo>
                          <a:pt x="4" y="206"/>
                        </a:lnTo>
                        <a:close/>
                        <a:moveTo>
                          <a:pt x="131" y="206"/>
                        </a:moveTo>
                        <a:lnTo>
                          <a:pt x="163" y="206"/>
                        </a:lnTo>
                        <a:lnTo>
                          <a:pt x="163" y="206"/>
                        </a:lnTo>
                        <a:lnTo>
                          <a:pt x="164" y="205"/>
                        </a:lnTo>
                        <a:lnTo>
                          <a:pt x="165" y="204"/>
                        </a:lnTo>
                        <a:lnTo>
                          <a:pt x="165" y="204"/>
                        </a:lnTo>
                        <a:lnTo>
                          <a:pt x="165" y="204"/>
                        </a:lnTo>
                        <a:lnTo>
                          <a:pt x="164" y="202"/>
                        </a:lnTo>
                        <a:lnTo>
                          <a:pt x="163" y="200"/>
                        </a:lnTo>
                        <a:lnTo>
                          <a:pt x="131" y="200"/>
                        </a:lnTo>
                        <a:lnTo>
                          <a:pt x="131" y="200"/>
                        </a:lnTo>
                        <a:lnTo>
                          <a:pt x="129" y="202"/>
                        </a:lnTo>
                        <a:lnTo>
                          <a:pt x="128" y="204"/>
                        </a:lnTo>
                        <a:lnTo>
                          <a:pt x="128" y="204"/>
                        </a:lnTo>
                        <a:lnTo>
                          <a:pt x="128" y="204"/>
                        </a:lnTo>
                        <a:lnTo>
                          <a:pt x="129" y="205"/>
                        </a:lnTo>
                        <a:lnTo>
                          <a:pt x="131" y="206"/>
                        </a:lnTo>
                        <a:lnTo>
                          <a:pt x="131" y="206"/>
                        </a:lnTo>
                        <a:close/>
                        <a:moveTo>
                          <a:pt x="27" y="206"/>
                        </a:moveTo>
                        <a:lnTo>
                          <a:pt x="27" y="206"/>
                        </a:lnTo>
                        <a:lnTo>
                          <a:pt x="30" y="205"/>
                        </a:lnTo>
                        <a:lnTo>
                          <a:pt x="31" y="204"/>
                        </a:lnTo>
                        <a:lnTo>
                          <a:pt x="31" y="204"/>
                        </a:lnTo>
                        <a:lnTo>
                          <a:pt x="30" y="202"/>
                        </a:lnTo>
                        <a:lnTo>
                          <a:pt x="27" y="200"/>
                        </a:lnTo>
                        <a:lnTo>
                          <a:pt x="27" y="200"/>
                        </a:lnTo>
                        <a:lnTo>
                          <a:pt x="26" y="202"/>
                        </a:lnTo>
                        <a:lnTo>
                          <a:pt x="25" y="204"/>
                        </a:lnTo>
                        <a:lnTo>
                          <a:pt x="25" y="204"/>
                        </a:lnTo>
                        <a:lnTo>
                          <a:pt x="26" y="205"/>
                        </a:lnTo>
                        <a:lnTo>
                          <a:pt x="27" y="206"/>
                        </a:lnTo>
                        <a:lnTo>
                          <a:pt x="27" y="206"/>
                        </a:lnTo>
                        <a:close/>
                        <a:moveTo>
                          <a:pt x="52" y="206"/>
                        </a:moveTo>
                        <a:lnTo>
                          <a:pt x="52" y="206"/>
                        </a:lnTo>
                        <a:lnTo>
                          <a:pt x="54" y="205"/>
                        </a:lnTo>
                        <a:lnTo>
                          <a:pt x="56" y="204"/>
                        </a:lnTo>
                        <a:lnTo>
                          <a:pt x="56" y="204"/>
                        </a:lnTo>
                        <a:lnTo>
                          <a:pt x="54" y="202"/>
                        </a:lnTo>
                        <a:lnTo>
                          <a:pt x="52" y="200"/>
                        </a:lnTo>
                        <a:lnTo>
                          <a:pt x="52" y="200"/>
                        </a:lnTo>
                        <a:lnTo>
                          <a:pt x="50" y="202"/>
                        </a:lnTo>
                        <a:lnTo>
                          <a:pt x="49" y="204"/>
                        </a:lnTo>
                        <a:lnTo>
                          <a:pt x="49" y="204"/>
                        </a:lnTo>
                        <a:lnTo>
                          <a:pt x="50" y="205"/>
                        </a:lnTo>
                        <a:lnTo>
                          <a:pt x="52" y="206"/>
                        </a:lnTo>
                        <a:lnTo>
                          <a:pt x="52" y="206"/>
                        </a:lnTo>
                        <a:close/>
                        <a:moveTo>
                          <a:pt x="40" y="206"/>
                        </a:moveTo>
                        <a:lnTo>
                          <a:pt x="40" y="206"/>
                        </a:lnTo>
                        <a:lnTo>
                          <a:pt x="42" y="205"/>
                        </a:lnTo>
                        <a:lnTo>
                          <a:pt x="43" y="204"/>
                        </a:lnTo>
                        <a:lnTo>
                          <a:pt x="43" y="204"/>
                        </a:lnTo>
                        <a:lnTo>
                          <a:pt x="42" y="202"/>
                        </a:lnTo>
                        <a:lnTo>
                          <a:pt x="40" y="200"/>
                        </a:lnTo>
                        <a:lnTo>
                          <a:pt x="40" y="200"/>
                        </a:lnTo>
                        <a:lnTo>
                          <a:pt x="37" y="202"/>
                        </a:lnTo>
                        <a:lnTo>
                          <a:pt x="37" y="204"/>
                        </a:lnTo>
                        <a:lnTo>
                          <a:pt x="37" y="204"/>
                        </a:lnTo>
                        <a:lnTo>
                          <a:pt x="37" y="205"/>
                        </a:lnTo>
                        <a:lnTo>
                          <a:pt x="40" y="206"/>
                        </a:lnTo>
                        <a:lnTo>
                          <a:pt x="40" y="206"/>
                        </a:lnTo>
                        <a:close/>
                        <a:moveTo>
                          <a:pt x="163" y="250"/>
                        </a:moveTo>
                        <a:lnTo>
                          <a:pt x="131" y="250"/>
                        </a:lnTo>
                        <a:lnTo>
                          <a:pt x="131" y="250"/>
                        </a:lnTo>
                        <a:lnTo>
                          <a:pt x="129" y="251"/>
                        </a:lnTo>
                        <a:lnTo>
                          <a:pt x="129" y="254"/>
                        </a:lnTo>
                        <a:lnTo>
                          <a:pt x="129" y="254"/>
                        </a:lnTo>
                        <a:lnTo>
                          <a:pt x="129" y="254"/>
                        </a:lnTo>
                        <a:lnTo>
                          <a:pt x="129" y="255"/>
                        </a:lnTo>
                        <a:lnTo>
                          <a:pt x="131" y="256"/>
                        </a:lnTo>
                        <a:lnTo>
                          <a:pt x="163" y="256"/>
                        </a:lnTo>
                        <a:lnTo>
                          <a:pt x="163" y="256"/>
                        </a:lnTo>
                        <a:lnTo>
                          <a:pt x="165" y="255"/>
                        </a:lnTo>
                        <a:lnTo>
                          <a:pt x="165" y="254"/>
                        </a:lnTo>
                        <a:lnTo>
                          <a:pt x="165" y="254"/>
                        </a:lnTo>
                        <a:lnTo>
                          <a:pt x="165" y="254"/>
                        </a:lnTo>
                        <a:lnTo>
                          <a:pt x="165" y="251"/>
                        </a:lnTo>
                        <a:lnTo>
                          <a:pt x="163" y="250"/>
                        </a:lnTo>
                        <a:lnTo>
                          <a:pt x="163" y="250"/>
                        </a:lnTo>
                        <a:close/>
                        <a:moveTo>
                          <a:pt x="41" y="250"/>
                        </a:moveTo>
                        <a:lnTo>
                          <a:pt x="41" y="250"/>
                        </a:lnTo>
                        <a:lnTo>
                          <a:pt x="39" y="251"/>
                        </a:lnTo>
                        <a:lnTo>
                          <a:pt x="37" y="254"/>
                        </a:lnTo>
                        <a:lnTo>
                          <a:pt x="37" y="254"/>
                        </a:lnTo>
                        <a:lnTo>
                          <a:pt x="39" y="256"/>
                        </a:lnTo>
                        <a:lnTo>
                          <a:pt x="41" y="256"/>
                        </a:lnTo>
                        <a:lnTo>
                          <a:pt x="41" y="256"/>
                        </a:lnTo>
                        <a:lnTo>
                          <a:pt x="43" y="256"/>
                        </a:lnTo>
                        <a:lnTo>
                          <a:pt x="43" y="254"/>
                        </a:lnTo>
                        <a:lnTo>
                          <a:pt x="43" y="254"/>
                        </a:lnTo>
                        <a:lnTo>
                          <a:pt x="43" y="251"/>
                        </a:lnTo>
                        <a:lnTo>
                          <a:pt x="41" y="250"/>
                        </a:lnTo>
                        <a:lnTo>
                          <a:pt x="41" y="250"/>
                        </a:lnTo>
                        <a:close/>
                        <a:moveTo>
                          <a:pt x="52" y="250"/>
                        </a:moveTo>
                        <a:lnTo>
                          <a:pt x="52" y="250"/>
                        </a:lnTo>
                        <a:lnTo>
                          <a:pt x="51" y="251"/>
                        </a:lnTo>
                        <a:lnTo>
                          <a:pt x="50" y="254"/>
                        </a:lnTo>
                        <a:lnTo>
                          <a:pt x="50" y="254"/>
                        </a:lnTo>
                        <a:lnTo>
                          <a:pt x="51" y="256"/>
                        </a:lnTo>
                        <a:lnTo>
                          <a:pt x="52" y="256"/>
                        </a:lnTo>
                        <a:lnTo>
                          <a:pt x="52" y="256"/>
                        </a:lnTo>
                        <a:lnTo>
                          <a:pt x="54" y="256"/>
                        </a:lnTo>
                        <a:lnTo>
                          <a:pt x="56" y="254"/>
                        </a:lnTo>
                        <a:lnTo>
                          <a:pt x="56" y="254"/>
                        </a:lnTo>
                        <a:lnTo>
                          <a:pt x="54" y="251"/>
                        </a:lnTo>
                        <a:lnTo>
                          <a:pt x="52" y="250"/>
                        </a:lnTo>
                        <a:lnTo>
                          <a:pt x="52" y="250"/>
                        </a:lnTo>
                        <a:close/>
                        <a:moveTo>
                          <a:pt x="4" y="250"/>
                        </a:moveTo>
                        <a:lnTo>
                          <a:pt x="4" y="250"/>
                        </a:lnTo>
                        <a:lnTo>
                          <a:pt x="1" y="251"/>
                        </a:lnTo>
                        <a:lnTo>
                          <a:pt x="1" y="254"/>
                        </a:lnTo>
                        <a:lnTo>
                          <a:pt x="1" y="254"/>
                        </a:lnTo>
                        <a:lnTo>
                          <a:pt x="1" y="256"/>
                        </a:lnTo>
                        <a:lnTo>
                          <a:pt x="4" y="256"/>
                        </a:lnTo>
                        <a:lnTo>
                          <a:pt x="4" y="256"/>
                        </a:lnTo>
                        <a:lnTo>
                          <a:pt x="6" y="256"/>
                        </a:lnTo>
                        <a:lnTo>
                          <a:pt x="7" y="254"/>
                        </a:lnTo>
                        <a:lnTo>
                          <a:pt x="7" y="254"/>
                        </a:lnTo>
                        <a:lnTo>
                          <a:pt x="6" y="251"/>
                        </a:lnTo>
                        <a:lnTo>
                          <a:pt x="4" y="250"/>
                        </a:lnTo>
                        <a:lnTo>
                          <a:pt x="4" y="250"/>
                        </a:lnTo>
                        <a:close/>
                        <a:moveTo>
                          <a:pt x="28" y="250"/>
                        </a:moveTo>
                        <a:lnTo>
                          <a:pt x="28" y="250"/>
                        </a:lnTo>
                        <a:lnTo>
                          <a:pt x="26" y="251"/>
                        </a:lnTo>
                        <a:lnTo>
                          <a:pt x="25" y="254"/>
                        </a:lnTo>
                        <a:lnTo>
                          <a:pt x="25" y="254"/>
                        </a:lnTo>
                        <a:lnTo>
                          <a:pt x="26" y="256"/>
                        </a:lnTo>
                        <a:lnTo>
                          <a:pt x="28" y="256"/>
                        </a:lnTo>
                        <a:lnTo>
                          <a:pt x="28" y="256"/>
                        </a:lnTo>
                        <a:lnTo>
                          <a:pt x="31" y="256"/>
                        </a:lnTo>
                        <a:lnTo>
                          <a:pt x="32" y="254"/>
                        </a:lnTo>
                        <a:lnTo>
                          <a:pt x="32" y="254"/>
                        </a:lnTo>
                        <a:lnTo>
                          <a:pt x="31" y="251"/>
                        </a:lnTo>
                        <a:lnTo>
                          <a:pt x="28" y="250"/>
                        </a:lnTo>
                        <a:lnTo>
                          <a:pt x="28" y="250"/>
                        </a:lnTo>
                        <a:close/>
                        <a:moveTo>
                          <a:pt x="16" y="250"/>
                        </a:moveTo>
                        <a:lnTo>
                          <a:pt x="16" y="250"/>
                        </a:lnTo>
                        <a:lnTo>
                          <a:pt x="14" y="251"/>
                        </a:lnTo>
                        <a:lnTo>
                          <a:pt x="13" y="254"/>
                        </a:lnTo>
                        <a:lnTo>
                          <a:pt x="13" y="254"/>
                        </a:lnTo>
                        <a:lnTo>
                          <a:pt x="14" y="256"/>
                        </a:lnTo>
                        <a:lnTo>
                          <a:pt x="16" y="256"/>
                        </a:lnTo>
                        <a:lnTo>
                          <a:pt x="16" y="256"/>
                        </a:lnTo>
                        <a:lnTo>
                          <a:pt x="18" y="256"/>
                        </a:lnTo>
                        <a:lnTo>
                          <a:pt x="19" y="254"/>
                        </a:lnTo>
                        <a:lnTo>
                          <a:pt x="19" y="254"/>
                        </a:lnTo>
                        <a:lnTo>
                          <a:pt x="18" y="251"/>
                        </a:lnTo>
                        <a:lnTo>
                          <a:pt x="16" y="250"/>
                        </a:lnTo>
                        <a:lnTo>
                          <a:pt x="16" y="250"/>
                        </a:lnTo>
                        <a:close/>
                        <a:moveTo>
                          <a:pt x="163" y="301"/>
                        </a:moveTo>
                        <a:lnTo>
                          <a:pt x="131" y="301"/>
                        </a:lnTo>
                        <a:lnTo>
                          <a:pt x="131" y="301"/>
                        </a:lnTo>
                        <a:lnTo>
                          <a:pt x="129" y="301"/>
                        </a:lnTo>
                        <a:lnTo>
                          <a:pt x="129" y="303"/>
                        </a:lnTo>
                        <a:lnTo>
                          <a:pt x="129" y="303"/>
                        </a:lnTo>
                        <a:lnTo>
                          <a:pt x="129" y="303"/>
                        </a:lnTo>
                        <a:lnTo>
                          <a:pt x="129" y="306"/>
                        </a:lnTo>
                        <a:lnTo>
                          <a:pt x="131" y="306"/>
                        </a:lnTo>
                        <a:lnTo>
                          <a:pt x="163" y="306"/>
                        </a:lnTo>
                        <a:lnTo>
                          <a:pt x="163" y="306"/>
                        </a:lnTo>
                        <a:lnTo>
                          <a:pt x="165" y="306"/>
                        </a:lnTo>
                        <a:lnTo>
                          <a:pt x="165" y="303"/>
                        </a:lnTo>
                        <a:lnTo>
                          <a:pt x="165" y="303"/>
                        </a:lnTo>
                        <a:lnTo>
                          <a:pt x="165" y="303"/>
                        </a:lnTo>
                        <a:lnTo>
                          <a:pt x="165" y="301"/>
                        </a:lnTo>
                        <a:lnTo>
                          <a:pt x="163" y="301"/>
                        </a:lnTo>
                        <a:lnTo>
                          <a:pt x="163" y="301"/>
                        </a:lnTo>
                        <a:close/>
                        <a:moveTo>
                          <a:pt x="16" y="300"/>
                        </a:moveTo>
                        <a:lnTo>
                          <a:pt x="16" y="300"/>
                        </a:lnTo>
                        <a:lnTo>
                          <a:pt x="14" y="301"/>
                        </a:lnTo>
                        <a:lnTo>
                          <a:pt x="13" y="303"/>
                        </a:lnTo>
                        <a:lnTo>
                          <a:pt x="13" y="303"/>
                        </a:lnTo>
                        <a:lnTo>
                          <a:pt x="14" y="306"/>
                        </a:lnTo>
                        <a:lnTo>
                          <a:pt x="16" y="307"/>
                        </a:lnTo>
                        <a:lnTo>
                          <a:pt x="16" y="307"/>
                        </a:lnTo>
                        <a:lnTo>
                          <a:pt x="18" y="306"/>
                        </a:lnTo>
                        <a:lnTo>
                          <a:pt x="19" y="303"/>
                        </a:lnTo>
                        <a:lnTo>
                          <a:pt x="19" y="303"/>
                        </a:lnTo>
                        <a:lnTo>
                          <a:pt x="18" y="301"/>
                        </a:lnTo>
                        <a:lnTo>
                          <a:pt x="16" y="300"/>
                        </a:lnTo>
                        <a:lnTo>
                          <a:pt x="16" y="300"/>
                        </a:lnTo>
                        <a:close/>
                        <a:moveTo>
                          <a:pt x="52" y="300"/>
                        </a:moveTo>
                        <a:lnTo>
                          <a:pt x="52" y="300"/>
                        </a:lnTo>
                        <a:lnTo>
                          <a:pt x="51" y="301"/>
                        </a:lnTo>
                        <a:lnTo>
                          <a:pt x="50" y="303"/>
                        </a:lnTo>
                        <a:lnTo>
                          <a:pt x="50" y="303"/>
                        </a:lnTo>
                        <a:lnTo>
                          <a:pt x="51" y="306"/>
                        </a:lnTo>
                        <a:lnTo>
                          <a:pt x="52" y="307"/>
                        </a:lnTo>
                        <a:lnTo>
                          <a:pt x="52" y="307"/>
                        </a:lnTo>
                        <a:lnTo>
                          <a:pt x="54" y="306"/>
                        </a:lnTo>
                        <a:lnTo>
                          <a:pt x="56" y="303"/>
                        </a:lnTo>
                        <a:lnTo>
                          <a:pt x="56" y="303"/>
                        </a:lnTo>
                        <a:lnTo>
                          <a:pt x="54" y="301"/>
                        </a:lnTo>
                        <a:lnTo>
                          <a:pt x="52" y="300"/>
                        </a:lnTo>
                        <a:lnTo>
                          <a:pt x="52" y="300"/>
                        </a:lnTo>
                        <a:close/>
                        <a:moveTo>
                          <a:pt x="4" y="300"/>
                        </a:moveTo>
                        <a:lnTo>
                          <a:pt x="4" y="300"/>
                        </a:lnTo>
                        <a:lnTo>
                          <a:pt x="1" y="301"/>
                        </a:lnTo>
                        <a:lnTo>
                          <a:pt x="1" y="303"/>
                        </a:lnTo>
                        <a:lnTo>
                          <a:pt x="1" y="303"/>
                        </a:lnTo>
                        <a:lnTo>
                          <a:pt x="1" y="306"/>
                        </a:lnTo>
                        <a:lnTo>
                          <a:pt x="4" y="307"/>
                        </a:lnTo>
                        <a:lnTo>
                          <a:pt x="4" y="307"/>
                        </a:lnTo>
                        <a:lnTo>
                          <a:pt x="6" y="306"/>
                        </a:lnTo>
                        <a:lnTo>
                          <a:pt x="7" y="303"/>
                        </a:lnTo>
                        <a:lnTo>
                          <a:pt x="7" y="303"/>
                        </a:lnTo>
                        <a:lnTo>
                          <a:pt x="6" y="301"/>
                        </a:lnTo>
                        <a:lnTo>
                          <a:pt x="4" y="300"/>
                        </a:lnTo>
                        <a:lnTo>
                          <a:pt x="4" y="300"/>
                        </a:lnTo>
                        <a:close/>
                        <a:moveTo>
                          <a:pt x="41" y="300"/>
                        </a:moveTo>
                        <a:lnTo>
                          <a:pt x="41" y="300"/>
                        </a:lnTo>
                        <a:lnTo>
                          <a:pt x="39" y="301"/>
                        </a:lnTo>
                        <a:lnTo>
                          <a:pt x="37" y="303"/>
                        </a:lnTo>
                        <a:lnTo>
                          <a:pt x="37" y="303"/>
                        </a:lnTo>
                        <a:lnTo>
                          <a:pt x="39" y="306"/>
                        </a:lnTo>
                        <a:lnTo>
                          <a:pt x="41" y="307"/>
                        </a:lnTo>
                        <a:lnTo>
                          <a:pt x="41" y="307"/>
                        </a:lnTo>
                        <a:lnTo>
                          <a:pt x="43" y="306"/>
                        </a:lnTo>
                        <a:lnTo>
                          <a:pt x="43" y="303"/>
                        </a:lnTo>
                        <a:lnTo>
                          <a:pt x="43" y="303"/>
                        </a:lnTo>
                        <a:lnTo>
                          <a:pt x="43" y="301"/>
                        </a:lnTo>
                        <a:lnTo>
                          <a:pt x="41" y="300"/>
                        </a:lnTo>
                        <a:lnTo>
                          <a:pt x="41" y="300"/>
                        </a:lnTo>
                        <a:close/>
                        <a:moveTo>
                          <a:pt x="28" y="300"/>
                        </a:moveTo>
                        <a:lnTo>
                          <a:pt x="28" y="300"/>
                        </a:lnTo>
                        <a:lnTo>
                          <a:pt x="26" y="301"/>
                        </a:lnTo>
                        <a:lnTo>
                          <a:pt x="25" y="303"/>
                        </a:lnTo>
                        <a:lnTo>
                          <a:pt x="25" y="303"/>
                        </a:lnTo>
                        <a:lnTo>
                          <a:pt x="26" y="306"/>
                        </a:lnTo>
                        <a:lnTo>
                          <a:pt x="28" y="307"/>
                        </a:lnTo>
                        <a:lnTo>
                          <a:pt x="28" y="307"/>
                        </a:lnTo>
                        <a:lnTo>
                          <a:pt x="31" y="306"/>
                        </a:lnTo>
                        <a:lnTo>
                          <a:pt x="32" y="303"/>
                        </a:lnTo>
                        <a:lnTo>
                          <a:pt x="32" y="303"/>
                        </a:lnTo>
                        <a:lnTo>
                          <a:pt x="31" y="301"/>
                        </a:lnTo>
                        <a:lnTo>
                          <a:pt x="28" y="300"/>
                        </a:lnTo>
                        <a:lnTo>
                          <a:pt x="28"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8" rIns="68556" bIns="34278" numCol="1" anchor="t" anchorCtr="0" compatLnSpc="1">
                    <a:prstTxWarp prst="textNoShape">
                      <a:avLst/>
                    </a:prstTxWarp>
                  </a:bodyPr>
                  <a:lstStyle/>
                  <a:p>
                    <a:pPr defTabSz="658864">
                      <a:buClr>
                        <a:srgbClr val="CC9900"/>
                      </a:buClr>
                      <a:buFont typeface="Wingdings" pitchFamily="2" charset="2"/>
                      <a:buChar char="n"/>
                    </a:pPr>
                    <a:endParaRPr lang="zh-CN" altLang="en-US" sz="750" b="1" dirty="0">
                      <a:solidFill>
                        <a:prstClr val="white"/>
                      </a:solidFill>
                      <a:latin typeface="FrutigerNext LT Medium" panose="020B0603040504020204" pitchFamily="34" charset="0"/>
                      <a:cs typeface="Arial" pitchFamily="34" charset="0"/>
                    </a:endParaRPr>
                  </a:p>
                </p:txBody>
              </p:sp>
              <p:sp>
                <p:nvSpPr>
                  <p:cNvPr id="65" name="Freeform 90"/>
                  <p:cNvSpPr>
                    <a:spLocks noEditPoints="1"/>
                  </p:cNvSpPr>
                  <p:nvPr/>
                </p:nvSpPr>
                <p:spPr bwMode="auto">
                  <a:xfrm>
                    <a:off x="805572" y="2389322"/>
                    <a:ext cx="360363" cy="876300"/>
                  </a:xfrm>
                  <a:custGeom>
                    <a:avLst/>
                    <a:gdLst>
                      <a:gd name="T0" fmla="*/ 226 w 227"/>
                      <a:gd name="T1" fmla="*/ 2 h 552"/>
                      <a:gd name="T2" fmla="*/ 225 w 227"/>
                      <a:gd name="T3" fmla="*/ 1 h 552"/>
                      <a:gd name="T4" fmla="*/ 3 w 227"/>
                      <a:gd name="T5" fmla="*/ 0 h 552"/>
                      <a:gd name="T6" fmla="*/ 1 w 227"/>
                      <a:gd name="T7" fmla="*/ 1 h 552"/>
                      <a:gd name="T8" fmla="*/ 0 w 227"/>
                      <a:gd name="T9" fmla="*/ 3 h 552"/>
                      <a:gd name="T10" fmla="*/ 0 w 227"/>
                      <a:gd name="T11" fmla="*/ 549 h 552"/>
                      <a:gd name="T12" fmla="*/ 1 w 227"/>
                      <a:gd name="T13" fmla="*/ 551 h 552"/>
                      <a:gd name="T14" fmla="*/ 3 w 227"/>
                      <a:gd name="T15" fmla="*/ 552 h 552"/>
                      <a:gd name="T16" fmla="*/ 224 w 227"/>
                      <a:gd name="T17" fmla="*/ 552 h 552"/>
                      <a:gd name="T18" fmla="*/ 226 w 227"/>
                      <a:gd name="T19" fmla="*/ 551 h 552"/>
                      <a:gd name="T20" fmla="*/ 227 w 227"/>
                      <a:gd name="T21" fmla="*/ 549 h 552"/>
                      <a:gd name="T22" fmla="*/ 23 w 227"/>
                      <a:gd name="T23" fmla="*/ 528 h 552"/>
                      <a:gd name="T24" fmla="*/ 203 w 227"/>
                      <a:gd name="T25" fmla="*/ 520 h 552"/>
                      <a:gd name="T26" fmla="*/ 203 w 227"/>
                      <a:gd name="T27" fmla="*/ 528 h 552"/>
                      <a:gd name="T28" fmla="*/ 20 w 227"/>
                      <a:gd name="T29" fmla="*/ 507 h 552"/>
                      <a:gd name="T30" fmla="*/ 206 w 227"/>
                      <a:gd name="T31" fmla="*/ 503 h 552"/>
                      <a:gd name="T32" fmla="*/ 203 w 227"/>
                      <a:gd name="T33" fmla="*/ 493 h 552"/>
                      <a:gd name="T34" fmla="*/ 21 w 227"/>
                      <a:gd name="T35" fmla="*/ 485 h 552"/>
                      <a:gd name="T36" fmla="*/ 207 w 227"/>
                      <a:gd name="T37" fmla="*/ 489 h 552"/>
                      <a:gd name="T38" fmla="*/ 92 w 227"/>
                      <a:gd name="T39" fmla="*/ 429 h 552"/>
                      <a:gd name="T40" fmla="*/ 109 w 227"/>
                      <a:gd name="T41" fmla="*/ 413 h 552"/>
                      <a:gd name="T42" fmla="*/ 127 w 227"/>
                      <a:gd name="T43" fmla="*/ 418 h 552"/>
                      <a:gd name="T44" fmla="*/ 134 w 227"/>
                      <a:gd name="T45" fmla="*/ 437 h 552"/>
                      <a:gd name="T46" fmla="*/ 117 w 227"/>
                      <a:gd name="T47" fmla="*/ 454 h 552"/>
                      <a:gd name="T48" fmla="*/ 98 w 227"/>
                      <a:gd name="T49" fmla="*/ 448 h 552"/>
                      <a:gd name="T50" fmla="*/ 210 w 227"/>
                      <a:gd name="T51" fmla="*/ 361 h 552"/>
                      <a:gd name="T52" fmla="*/ 23 w 227"/>
                      <a:gd name="T53" fmla="*/ 368 h 552"/>
                      <a:gd name="T54" fmla="*/ 17 w 227"/>
                      <a:gd name="T55" fmla="*/ 336 h 552"/>
                      <a:gd name="T56" fmla="*/ 203 w 227"/>
                      <a:gd name="T57" fmla="*/ 329 h 552"/>
                      <a:gd name="T58" fmla="*/ 210 w 227"/>
                      <a:gd name="T59" fmla="*/ 361 h 552"/>
                      <a:gd name="T60" fmla="*/ 203 w 227"/>
                      <a:gd name="T61" fmla="*/ 317 h 552"/>
                      <a:gd name="T62" fmla="*/ 17 w 227"/>
                      <a:gd name="T63" fmla="*/ 311 h 552"/>
                      <a:gd name="T64" fmla="*/ 23 w 227"/>
                      <a:gd name="T65" fmla="*/ 279 h 552"/>
                      <a:gd name="T66" fmla="*/ 210 w 227"/>
                      <a:gd name="T67" fmla="*/ 286 h 552"/>
                      <a:gd name="T68" fmla="*/ 206 w 227"/>
                      <a:gd name="T69" fmla="*/ 267 h 552"/>
                      <a:gd name="T70" fmla="*/ 17 w 227"/>
                      <a:gd name="T71" fmla="*/ 263 h 552"/>
                      <a:gd name="T72" fmla="*/ 20 w 227"/>
                      <a:gd name="T73" fmla="*/ 229 h 552"/>
                      <a:gd name="T74" fmla="*/ 209 w 227"/>
                      <a:gd name="T75" fmla="*/ 233 h 552"/>
                      <a:gd name="T76" fmla="*/ 208 w 227"/>
                      <a:gd name="T77" fmla="*/ 215 h 552"/>
                      <a:gd name="T78" fmla="*/ 19 w 227"/>
                      <a:gd name="T79" fmla="*/ 215 h 552"/>
                      <a:gd name="T80" fmla="*/ 19 w 227"/>
                      <a:gd name="T81" fmla="*/ 181 h 552"/>
                      <a:gd name="T82" fmla="*/ 208 w 227"/>
                      <a:gd name="T83" fmla="*/ 181 h 552"/>
                      <a:gd name="T84" fmla="*/ 209 w 227"/>
                      <a:gd name="T85" fmla="*/ 163 h 552"/>
                      <a:gd name="T86" fmla="*/ 20 w 227"/>
                      <a:gd name="T87" fmla="*/ 166 h 552"/>
                      <a:gd name="T88" fmla="*/ 17 w 227"/>
                      <a:gd name="T89" fmla="*/ 133 h 552"/>
                      <a:gd name="T90" fmla="*/ 206 w 227"/>
                      <a:gd name="T91" fmla="*/ 130 h 552"/>
                      <a:gd name="T92" fmla="*/ 210 w 227"/>
                      <a:gd name="T93" fmla="*/ 111 h 552"/>
                      <a:gd name="T94" fmla="*/ 23 w 227"/>
                      <a:gd name="T95" fmla="*/ 116 h 552"/>
                      <a:gd name="T96" fmla="*/ 17 w 227"/>
                      <a:gd name="T97" fmla="*/ 86 h 552"/>
                      <a:gd name="T98" fmla="*/ 203 w 227"/>
                      <a:gd name="T99" fmla="*/ 79 h 552"/>
                      <a:gd name="T100" fmla="*/ 210 w 227"/>
                      <a:gd name="T101" fmla="*/ 61 h 552"/>
                      <a:gd name="T102" fmla="*/ 23 w 227"/>
                      <a:gd name="T103" fmla="*/ 66 h 552"/>
                      <a:gd name="T104" fmla="*/ 17 w 227"/>
                      <a:gd name="T105" fmla="*/ 36 h 552"/>
                      <a:gd name="T106" fmla="*/ 203 w 227"/>
                      <a:gd name="T107" fmla="*/ 29 h 552"/>
                      <a:gd name="T108" fmla="*/ 210 w 227"/>
                      <a:gd name="T109" fmla="*/ 61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7" h="552">
                        <a:moveTo>
                          <a:pt x="227" y="4"/>
                        </a:moveTo>
                        <a:lnTo>
                          <a:pt x="227" y="4"/>
                        </a:lnTo>
                        <a:lnTo>
                          <a:pt x="227" y="3"/>
                        </a:lnTo>
                        <a:lnTo>
                          <a:pt x="227" y="3"/>
                        </a:lnTo>
                        <a:lnTo>
                          <a:pt x="227" y="3"/>
                        </a:lnTo>
                        <a:lnTo>
                          <a:pt x="226" y="2"/>
                        </a:lnTo>
                        <a:lnTo>
                          <a:pt x="226" y="2"/>
                        </a:lnTo>
                        <a:lnTo>
                          <a:pt x="226" y="2"/>
                        </a:lnTo>
                        <a:lnTo>
                          <a:pt x="226" y="1"/>
                        </a:lnTo>
                        <a:lnTo>
                          <a:pt x="225" y="1"/>
                        </a:lnTo>
                        <a:lnTo>
                          <a:pt x="225" y="1"/>
                        </a:lnTo>
                        <a:lnTo>
                          <a:pt x="225" y="1"/>
                        </a:lnTo>
                        <a:lnTo>
                          <a:pt x="224" y="1"/>
                        </a:lnTo>
                        <a:lnTo>
                          <a:pt x="224" y="0"/>
                        </a:lnTo>
                        <a:lnTo>
                          <a:pt x="223" y="0"/>
                        </a:lnTo>
                        <a:lnTo>
                          <a:pt x="223" y="0"/>
                        </a:lnTo>
                        <a:lnTo>
                          <a:pt x="4" y="0"/>
                        </a:lnTo>
                        <a:lnTo>
                          <a:pt x="3" y="0"/>
                        </a:lnTo>
                        <a:lnTo>
                          <a:pt x="3" y="0"/>
                        </a:lnTo>
                        <a:lnTo>
                          <a:pt x="3" y="1"/>
                        </a:lnTo>
                        <a:lnTo>
                          <a:pt x="2" y="1"/>
                        </a:lnTo>
                        <a:lnTo>
                          <a:pt x="2" y="1"/>
                        </a:lnTo>
                        <a:lnTo>
                          <a:pt x="1" y="1"/>
                        </a:lnTo>
                        <a:lnTo>
                          <a:pt x="1" y="1"/>
                        </a:lnTo>
                        <a:lnTo>
                          <a:pt x="1" y="2"/>
                        </a:lnTo>
                        <a:lnTo>
                          <a:pt x="1" y="2"/>
                        </a:lnTo>
                        <a:lnTo>
                          <a:pt x="0" y="2"/>
                        </a:lnTo>
                        <a:lnTo>
                          <a:pt x="0" y="3"/>
                        </a:lnTo>
                        <a:lnTo>
                          <a:pt x="0" y="3"/>
                        </a:lnTo>
                        <a:lnTo>
                          <a:pt x="0" y="3"/>
                        </a:lnTo>
                        <a:lnTo>
                          <a:pt x="0" y="4"/>
                        </a:lnTo>
                        <a:lnTo>
                          <a:pt x="0" y="4"/>
                        </a:lnTo>
                        <a:lnTo>
                          <a:pt x="0" y="5"/>
                        </a:lnTo>
                        <a:lnTo>
                          <a:pt x="0" y="547"/>
                        </a:lnTo>
                        <a:lnTo>
                          <a:pt x="0" y="549"/>
                        </a:lnTo>
                        <a:lnTo>
                          <a:pt x="0" y="549"/>
                        </a:lnTo>
                        <a:lnTo>
                          <a:pt x="0" y="550"/>
                        </a:lnTo>
                        <a:lnTo>
                          <a:pt x="0" y="550"/>
                        </a:lnTo>
                        <a:lnTo>
                          <a:pt x="0" y="550"/>
                        </a:lnTo>
                        <a:lnTo>
                          <a:pt x="0" y="551"/>
                        </a:lnTo>
                        <a:lnTo>
                          <a:pt x="1" y="551"/>
                        </a:lnTo>
                        <a:lnTo>
                          <a:pt x="1" y="551"/>
                        </a:lnTo>
                        <a:lnTo>
                          <a:pt x="1" y="552"/>
                        </a:lnTo>
                        <a:lnTo>
                          <a:pt x="1" y="552"/>
                        </a:lnTo>
                        <a:lnTo>
                          <a:pt x="2" y="552"/>
                        </a:lnTo>
                        <a:lnTo>
                          <a:pt x="2" y="552"/>
                        </a:lnTo>
                        <a:lnTo>
                          <a:pt x="3" y="552"/>
                        </a:lnTo>
                        <a:lnTo>
                          <a:pt x="3" y="552"/>
                        </a:lnTo>
                        <a:lnTo>
                          <a:pt x="3" y="552"/>
                        </a:lnTo>
                        <a:lnTo>
                          <a:pt x="4" y="552"/>
                        </a:lnTo>
                        <a:lnTo>
                          <a:pt x="223" y="552"/>
                        </a:lnTo>
                        <a:lnTo>
                          <a:pt x="223" y="552"/>
                        </a:lnTo>
                        <a:lnTo>
                          <a:pt x="224" y="552"/>
                        </a:lnTo>
                        <a:lnTo>
                          <a:pt x="224" y="552"/>
                        </a:lnTo>
                        <a:lnTo>
                          <a:pt x="225" y="552"/>
                        </a:lnTo>
                        <a:lnTo>
                          <a:pt x="225" y="552"/>
                        </a:lnTo>
                        <a:lnTo>
                          <a:pt x="225" y="552"/>
                        </a:lnTo>
                        <a:lnTo>
                          <a:pt x="226" y="552"/>
                        </a:lnTo>
                        <a:lnTo>
                          <a:pt x="226" y="551"/>
                        </a:lnTo>
                        <a:lnTo>
                          <a:pt x="226" y="551"/>
                        </a:lnTo>
                        <a:lnTo>
                          <a:pt x="226" y="551"/>
                        </a:lnTo>
                        <a:lnTo>
                          <a:pt x="227" y="550"/>
                        </a:lnTo>
                        <a:lnTo>
                          <a:pt x="227" y="550"/>
                        </a:lnTo>
                        <a:lnTo>
                          <a:pt x="227" y="550"/>
                        </a:lnTo>
                        <a:lnTo>
                          <a:pt x="227" y="549"/>
                        </a:lnTo>
                        <a:lnTo>
                          <a:pt x="227" y="549"/>
                        </a:lnTo>
                        <a:lnTo>
                          <a:pt x="227" y="547"/>
                        </a:lnTo>
                        <a:lnTo>
                          <a:pt x="227" y="5"/>
                        </a:lnTo>
                        <a:lnTo>
                          <a:pt x="227" y="4"/>
                        </a:lnTo>
                        <a:close/>
                        <a:moveTo>
                          <a:pt x="203" y="528"/>
                        </a:moveTo>
                        <a:lnTo>
                          <a:pt x="23" y="528"/>
                        </a:lnTo>
                        <a:lnTo>
                          <a:pt x="23" y="528"/>
                        </a:lnTo>
                        <a:lnTo>
                          <a:pt x="21" y="527"/>
                        </a:lnTo>
                        <a:lnTo>
                          <a:pt x="20" y="525"/>
                        </a:lnTo>
                        <a:lnTo>
                          <a:pt x="20" y="525"/>
                        </a:lnTo>
                        <a:lnTo>
                          <a:pt x="21" y="521"/>
                        </a:lnTo>
                        <a:lnTo>
                          <a:pt x="23" y="520"/>
                        </a:lnTo>
                        <a:lnTo>
                          <a:pt x="203" y="520"/>
                        </a:lnTo>
                        <a:lnTo>
                          <a:pt x="203" y="520"/>
                        </a:lnTo>
                        <a:lnTo>
                          <a:pt x="206" y="521"/>
                        </a:lnTo>
                        <a:lnTo>
                          <a:pt x="207" y="525"/>
                        </a:lnTo>
                        <a:lnTo>
                          <a:pt x="207" y="525"/>
                        </a:lnTo>
                        <a:lnTo>
                          <a:pt x="206" y="527"/>
                        </a:lnTo>
                        <a:lnTo>
                          <a:pt x="203" y="528"/>
                        </a:lnTo>
                        <a:lnTo>
                          <a:pt x="203" y="528"/>
                        </a:lnTo>
                        <a:close/>
                        <a:moveTo>
                          <a:pt x="203" y="511"/>
                        </a:moveTo>
                        <a:lnTo>
                          <a:pt x="23" y="511"/>
                        </a:lnTo>
                        <a:lnTo>
                          <a:pt x="23" y="511"/>
                        </a:lnTo>
                        <a:lnTo>
                          <a:pt x="21" y="509"/>
                        </a:lnTo>
                        <a:lnTo>
                          <a:pt x="20" y="507"/>
                        </a:lnTo>
                        <a:lnTo>
                          <a:pt x="20" y="507"/>
                        </a:lnTo>
                        <a:lnTo>
                          <a:pt x="21" y="503"/>
                        </a:lnTo>
                        <a:lnTo>
                          <a:pt x="23" y="502"/>
                        </a:lnTo>
                        <a:lnTo>
                          <a:pt x="203" y="502"/>
                        </a:lnTo>
                        <a:lnTo>
                          <a:pt x="203" y="502"/>
                        </a:lnTo>
                        <a:lnTo>
                          <a:pt x="206" y="503"/>
                        </a:lnTo>
                        <a:lnTo>
                          <a:pt x="207" y="507"/>
                        </a:lnTo>
                        <a:lnTo>
                          <a:pt x="207" y="507"/>
                        </a:lnTo>
                        <a:lnTo>
                          <a:pt x="206" y="509"/>
                        </a:lnTo>
                        <a:lnTo>
                          <a:pt x="203" y="511"/>
                        </a:lnTo>
                        <a:lnTo>
                          <a:pt x="203" y="511"/>
                        </a:lnTo>
                        <a:close/>
                        <a:moveTo>
                          <a:pt x="203" y="493"/>
                        </a:moveTo>
                        <a:lnTo>
                          <a:pt x="23" y="493"/>
                        </a:lnTo>
                        <a:lnTo>
                          <a:pt x="23" y="493"/>
                        </a:lnTo>
                        <a:lnTo>
                          <a:pt x="21" y="492"/>
                        </a:lnTo>
                        <a:lnTo>
                          <a:pt x="20" y="489"/>
                        </a:lnTo>
                        <a:lnTo>
                          <a:pt x="20" y="489"/>
                        </a:lnTo>
                        <a:lnTo>
                          <a:pt x="21" y="485"/>
                        </a:lnTo>
                        <a:lnTo>
                          <a:pt x="23" y="484"/>
                        </a:lnTo>
                        <a:lnTo>
                          <a:pt x="203" y="484"/>
                        </a:lnTo>
                        <a:lnTo>
                          <a:pt x="203" y="484"/>
                        </a:lnTo>
                        <a:lnTo>
                          <a:pt x="206" y="485"/>
                        </a:lnTo>
                        <a:lnTo>
                          <a:pt x="207" y="489"/>
                        </a:lnTo>
                        <a:lnTo>
                          <a:pt x="207" y="489"/>
                        </a:lnTo>
                        <a:lnTo>
                          <a:pt x="206" y="492"/>
                        </a:lnTo>
                        <a:lnTo>
                          <a:pt x="203" y="493"/>
                        </a:lnTo>
                        <a:lnTo>
                          <a:pt x="203" y="493"/>
                        </a:lnTo>
                        <a:close/>
                        <a:moveTo>
                          <a:pt x="92" y="433"/>
                        </a:moveTo>
                        <a:lnTo>
                          <a:pt x="92" y="433"/>
                        </a:lnTo>
                        <a:lnTo>
                          <a:pt x="92" y="429"/>
                        </a:lnTo>
                        <a:lnTo>
                          <a:pt x="94" y="425"/>
                        </a:lnTo>
                        <a:lnTo>
                          <a:pt x="96" y="421"/>
                        </a:lnTo>
                        <a:lnTo>
                          <a:pt x="98" y="418"/>
                        </a:lnTo>
                        <a:lnTo>
                          <a:pt x="101" y="415"/>
                        </a:lnTo>
                        <a:lnTo>
                          <a:pt x="105" y="414"/>
                        </a:lnTo>
                        <a:lnTo>
                          <a:pt x="109" y="413"/>
                        </a:lnTo>
                        <a:lnTo>
                          <a:pt x="113" y="412"/>
                        </a:lnTo>
                        <a:lnTo>
                          <a:pt x="113" y="412"/>
                        </a:lnTo>
                        <a:lnTo>
                          <a:pt x="117" y="413"/>
                        </a:lnTo>
                        <a:lnTo>
                          <a:pt x="122" y="414"/>
                        </a:lnTo>
                        <a:lnTo>
                          <a:pt x="125" y="415"/>
                        </a:lnTo>
                        <a:lnTo>
                          <a:pt x="127" y="418"/>
                        </a:lnTo>
                        <a:lnTo>
                          <a:pt x="131" y="421"/>
                        </a:lnTo>
                        <a:lnTo>
                          <a:pt x="132" y="425"/>
                        </a:lnTo>
                        <a:lnTo>
                          <a:pt x="134" y="429"/>
                        </a:lnTo>
                        <a:lnTo>
                          <a:pt x="134" y="433"/>
                        </a:lnTo>
                        <a:lnTo>
                          <a:pt x="134" y="433"/>
                        </a:lnTo>
                        <a:lnTo>
                          <a:pt x="134" y="437"/>
                        </a:lnTo>
                        <a:lnTo>
                          <a:pt x="132" y="441"/>
                        </a:lnTo>
                        <a:lnTo>
                          <a:pt x="131" y="444"/>
                        </a:lnTo>
                        <a:lnTo>
                          <a:pt x="127" y="448"/>
                        </a:lnTo>
                        <a:lnTo>
                          <a:pt x="125" y="450"/>
                        </a:lnTo>
                        <a:lnTo>
                          <a:pt x="122" y="452"/>
                        </a:lnTo>
                        <a:lnTo>
                          <a:pt x="117" y="454"/>
                        </a:lnTo>
                        <a:lnTo>
                          <a:pt x="113" y="454"/>
                        </a:lnTo>
                        <a:lnTo>
                          <a:pt x="113" y="454"/>
                        </a:lnTo>
                        <a:lnTo>
                          <a:pt x="109" y="454"/>
                        </a:lnTo>
                        <a:lnTo>
                          <a:pt x="105" y="452"/>
                        </a:lnTo>
                        <a:lnTo>
                          <a:pt x="101" y="450"/>
                        </a:lnTo>
                        <a:lnTo>
                          <a:pt x="98" y="448"/>
                        </a:lnTo>
                        <a:lnTo>
                          <a:pt x="96" y="444"/>
                        </a:lnTo>
                        <a:lnTo>
                          <a:pt x="94" y="441"/>
                        </a:lnTo>
                        <a:lnTo>
                          <a:pt x="92" y="437"/>
                        </a:lnTo>
                        <a:lnTo>
                          <a:pt x="92" y="433"/>
                        </a:lnTo>
                        <a:lnTo>
                          <a:pt x="92" y="433"/>
                        </a:lnTo>
                        <a:close/>
                        <a:moveTo>
                          <a:pt x="210" y="361"/>
                        </a:moveTo>
                        <a:lnTo>
                          <a:pt x="210" y="361"/>
                        </a:lnTo>
                        <a:lnTo>
                          <a:pt x="209" y="363"/>
                        </a:lnTo>
                        <a:lnTo>
                          <a:pt x="208" y="365"/>
                        </a:lnTo>
                        <a:lnTo>
                          <a:pt x="206" y="366"/>
                        </a:lnTo>
                        <a:lnTo>
                          <a:pt x="203" y="368"/>
                        </a:lnTo>
                        <a:lnTo>
                          <a:pt x="23" y="368"/>
                        </a:lnTo>
                        <a:lnTo>
                          <a:pt x="23" y="368"/>
                        </a:lnTo>
                        <a:lnTo>
                          <a:pt x="20" y="366"/>
                        </a:lnTo>
                        <a:lnTo>
                          <a:pt x="19" y="365"/>
                        </a:lnTo>
                        <a:lnTo>
                          <a:pt x="17" y="363"/>
                        </a:lnTo>
                        <a:lnTo>
                          <a:pt x="17" y="361"/>
                        </a:lnTo>
                        <a:lnTo>
                          <a:pt x="17" y="336"/>
                        </a:lnTo>
                        <a:lnTo>
                          <a:pt x="17" y="336"/>
                        </a:lnTo>
                        <a:lnTo>
                          <a:pt x="17" y="334"/>
                        </a:lnTo>
                        <a:lnTo>
                          <a:pt x="19" y="331"/>
                        </a:lnTo>
                        <a:lnTo>
                          <a:pt x="20" y="330"/>
                        </a:lnTo>
                        <a:lnTo>
                          <a:pt x="23" y="329"/>
                        </a:lnTo>
                        <a:lnTo>
                          <a:pt x="203" y="329"/>
                        </a:lnTo>
                        <a:lnTo>
                          <a:pt x="203" y="329"/>
                        </a:lnTo>
                        <a:lnTo>
                          <a:pt x="206" y="330"/>
                        </a:lnTo>
                        <a:lnTo>
                          <a:pt x="208" y="331"/>
                        </a:lnTo>
                        <a:lnTo>
                          <a:pt x="209" y="334"/>
                        </a:lnTo>
                        <a:lnTo>
                          <a:pt x="210" y="336"/>
                        </a:lnTo>
                        <a:lnTo>
                          <a:pt x="210" y="361"/>
                        </a:lnTo>
                        <a:close/>
                        <a:moveTo>
                          <a:pt x="210" y="311"/>
                        </a:moveTo>
                        <a:lnTo>
                          <a:pt x="210" y="311"/>
                        </a:lnTo>
                        <a:lnTo>
                          <a:pt x="209" y="313"/>
                        </a:lnTo>
                        <a:lnTo>
                          <a:pt x="208" y="315"/>
                        </a:lnTo>
                        <a:lnTo>
                          <a:pt x="206" y="317"/>
                        </a:lnTo>
                        <a:lnTo>
                          <a:pt x="203" y="317"/>
                        </a:lnTo>
                        <a:lnTo>
                          <a:pt x="23" y="317"/>
                        </a:lnTo>
                        <a:lnTo>
                          <a:pt x="23" y="317"/>
                        </a:lnTo>
                        <a:lnTo>
                          <a:pt x="20" y="317"/>
                        </a:lnTo>
                        <a:lnTo>
                          <a:pt x="19" y="315"/>
                        </a:lnTo>
                        <a:lnTo>
                          <a:pt x="17" y="313"/>
                        </a:lnTo>
                        <a:lnTo>
                          <a:pt x="17" y="311"/>
                        </a:lnTo>
                        <a:lnTo>
                          <a:pt x="17" y="286"/>
                        </a:lnTo>
                        <a:lnTo>
                          <a:pt x="17" y="286"/>
                        </a:lnTo>
                        <a:lnTo>
                          <a:pt x="17" y="284"/>
                        </a:lnTo>
                        <a:lnTo>
                          <a:pt x="19" y="282"/>
                        </a:lnTo>
                        <a:lnTo>
                          <a:pt x="20" y="280"/>
                        </a:lnTo>
                        <a:lnTo>
                          <a:pt x="23" y="279"/>
                        </a:lnTo>
                        <a:lnTo>
                          <a:pt x="203" y="279"/>
                        </a:lnTo>
                        <a:lnTo>
                          <a:pt x="203" y="279"/>
                        </a:lnTo>
                        <a:lnTo>
                          <a:pt x="206" y="280"/>
                        </a:lnTo>
                        <a:lnTo>
                          <a:pt x="208" y="282"/>
                        </a:lnTo>
                        <a:lnTo>
                          <a:pt x="209" y="284"/>
                        </a:lnTo>
                        <a:lnTo>
                          <a:pt x="210" y="286"/>
                        </a:lnTo>
                        <a:lnTo>
                          <a:pt x="210" y="311"/>
                        </a:lnTo>
                        <a:close/>
                        <a:moveTo>
                          <a:pt x="210" y="260"/>
                        </a:moveTo>
                        <a:lnTo>
                          <a:pt x="210" y="260"/>
                        </a:lnTo>
                        <a:lnTo>
                          <a:pt x="209" y="263"/>
                        </a:lnTo>
                        <a:lnTo>
                          <a:pt x="208" y="265"/>
                        </a:lnTo>
                        <a:lnTo>
                          <a:pt x="206" y="267"/>
                        </a:lnTo>
                        <a:lnTo>
                          <a:pt x="203" y="267"/>
                        </a:lnTo>
                        <a:lnTo>
                          <a:pt x="23" y="267"/>
                        </a:lnTo>
                        <a:lnTo>
                          <a:pt x="23" y="267"/>
                        </a:lnTo>
                        <a:lnTo>
                          <a:pt x="20" y="267"/>
                        </a:lnTo>
                        <a:lnTo>
                          <a:pt x="19" y="265"/>
                        </a:lnTo>
                        <a:lnTo>
                          <a:pt x="17" y="263"/>
                        </a:lnTo>
                        <a:lnTo>
                          <a:pt x="17" y="260"/>
                        </a:lnTo>
                        <a:lnTo>
                          <a:pt x="17" y="236"/>
                        </a:lnTo>
                        <a:lnTo>
                          <a:pt x="17" y="236"/>
                        </a:lnTo>
                        <a:lnTo>
                          <a:pt x="17" y="233"/>
                        </a:lnTo>
                        <a:lnTo>
                          <a:pt x="19" y="232"/>
                        </a:lnTo>
                        <a:lnTo>
                          <a:pt x="20" y="229"/>
                        </a:lnTo>
                        <a:lnTo>
                          <a:pt x="23" y="229"/>
                        </a:lnTo>
                        <a:lnTo>
                          <a:pt x="203" y="229"/>
                        </a:lnTo>
                        <a:lnTo>
                          <a:pt x="203" y="229"/>
                        </a:lnTo>
                        <a:lnTo>
                          <a:pt x="206" y="229"/>
                        </a:lnTo>
                        <a:lnTo>
                          <a:pt x="208" y="232"/>
                        </a:lnTo>
                        <a:lnTo>
                          <a:pt x="209" y="233"/>
                        </a:lnTo>
                        <a:lnTo>
                          <a:pt x="210" y="236"/>
                        </a:lnTo>
                        <a:lnTo>
                          <a:pt x="210" y="260"/>
                        </a:lnTo>
                        <a:close/>
                        <a:moveTo>
                          <a:pt x="210" y="210"/>
                        </a:moveTo>
                        <a:lnTo>
                          <a:pt x="210" y="210"/>
                        </a:lnTo>
                        <a:lnTo>
                          <a:pt x="209" y="212"/>
                        </a:lnTo>
                        <a:lnTo>
                          <a:pt x="208" y="215"/>
                        </a:lnTo>
                        <a:lnTo>
                          <a:pt x="206" y="216"/>
                        </a:lnTo>
                        <a:lnTo>
                          <a:pt x="203" y="217"/>
                        </a:lnTo>
                        <a:lnTo>
                          <a:pt x="23" y="217"/>
                        </a:lnTo>
                        <a:lnTo>
                          <a:pt x="23" y="217"/>
                        </a:lnTo>
                        <a:lnTo>
                          <a:pt x="20" y="216"/>
                        </a:lnTo>
                        <a:lnTo>
                          <a:pt x="19" y="215"/>
                        </a:lnTo>
                        <a:lnTo>
                          <a:pt x="17" y="212"/>
                        </a:lnTo>
                        <a:lnTo>
                          <a:pt x="17" y="210"/>
                        </a:lnTo>
                        <a:lnTo>
                          <a:pt x="17" y="185"/>
                        </a:lnTo>
                        <a:lnTo>
                          <a:pt x="17" y="185"/>
                        </a:lnTo>
                        <a:lnTo>
                          <a:pt x="17" y="183"/>
                        </a:lnTo>
                        <a:lnTo>
                          <a:pt x="19" y="181"/>
                        </a:lnTo>
                        <a:lnTo>
                          <a:pt x="20" y="180"/>
                        </a:lnTo>
                        <a:lnTo>
                          <a:pt x="23" y="180"/>
                        </a:lnTo>
                        <a:lnTo>
                          <a:pt x="203" y="180"/>
                        </a:lnTo>
                        <a:lnTo>
                          <a:pt x="203" y="180"/>
                        </a:lnTo>
                        <a:lnTo>
                          <a:pt x="206" y="180"/>
                        </a:lnTo>
                        <a:lnTo>
                          <a:pt x="208" y="181"/>
                        </a:lnTo>
                        <a:lnTo>
                          <a:pt x="209" y="183"/>
                        </a:lnTo>
                        <a:lnTo>
                          <a:pt x="210" y="185"/>
                        </a:lnTo>
                        <a:lnTo>
                          <a:pt x="210" y="210"/>
                        </a:lnTo>
                        <a:close/>
                        <a:moveTo>
                          <a:pt x="210" y="160"/>
                        </a:moveTo>
                        <a:lnTo>
                          <a:pt x="210" y="160"/>
                        </a:lnTo>
                        <a:lnTo>
                          <a:pt x="209" y="163"/>
                        </a:lnTo>
                        <a:lnTo>
                          <a:pt x="208" y="165"/>
                        </a:lnTo>
                        <a:lnTo>
                          <a:pt x="206" y="166"/>
                        </a:lnTo>
                        <a:lnTo>
                          <a:pt x="203" y="167"/>
                        </a:lnTo>
                        <a:lnTo>
                          <a:pt x="23" y="167"/>
                        </a:lnTo>
                        <a:lnTo>
                          <a:pt x="23" y="167"/>
                        </a:lnTo>
                        <a:lnTo>
                          <a:pt x="20" y="166"/>
                        </a:lnTo>
                        <a:lnTo>
                          <a:pt x="19" y="165"/>
                        </a:lnTo>
                        <a:lnTo>
                          <a:pt x="17" y="163"/>
                        </a:lnTo>
                        <a:lnTo>
                          <a:pt x="17" y="160"/>
                        </a:lnTo>
                        <a:lnTo>
                          <a:pt x="17" y="136"/>
                        </a:lnTo>
                        <a:lnTo>
                          <a:pt x="17" y="136"/>
                        </a:lnTo>
                        <a:lnTo>
                          <a:pt x="17" y="133"/>
                        </a:lnTo>
                        <a:lnTo>
                          <a:pt x="19" y="131"/>
                        </a:lnTo>
                        <a:lnTo>
                          <a:pt x="20" y="130"/>
                        </a:lnTo>
                        <a:lnTo>
                          <a:pt x="23" y="130"/>
                        </a:lnTo>
                        <a:lnTo>
                          <a:pt x="203" y="130"/>
                        </a:lnTo>
                        <a:lnTo>
                          <a:pt x="203" y="130"/>
                        </a:lnTo>
                        <a:lnTo>
                          <a:pt x="206" y="130"/>
                        </a:lnTo>
                        <a:lnTo>
                          <a:pt x="208" y="131"/>
                        </a:lnTo>
                        <a:lnTo>
                          <a:pt x="209" y="133"/>
                        </a:lnTo>
                        <a:lnTo>
                          <a:pt x="210" y="136"/>
                        </a:lnTo>
                        <a:lnTo>
                          <a:pt x="210" y="160"/>
                        </a:lnTo>
                        <a:close/>
                        <a:moveTo>
                          <a:pt x="210" y="111"/>
                        </a:moveTo>
                        <a:lnTo>
                          <a:pt x="210" y="111"/>
                        </a:lnTo>
                        <a:lnTo>
                          <a:pt x="209" y="113"/>
                        </a:lnTo>
                        <a:lnTo>
                          <a:pt x="208" y="115"/>
                        </a:lnTo>
                        <a:lnTo>
                          <a:pt x="206" y="116"/>
                        </a:lnTo>
                        <a:lnTo>
                          <a:pt x="203" y="116"/>
                        </a:lnTo>
                        <a:lnTo>
                          <a:pt x="23" y="116"/>
                        </a:lnTo>
                        <a:lnTo>
                          <a:pt x="23" y="116"/>
                        </a:lnTo>
                        <a:lnTo>
                          <a:pt x="20" y="116"/>
                        </a:lnTo>
                        <a:lnTo>
                          <a:pt x="19" y="115"/>
                        </a:lnTo>
                        <a:lnTo>
                          <a:pt x="17" y="113"/>
                        </a:lnTo>
                        <a:lnTo>
                          <a:pt x="17" y="111"/>
                        </a:lnTo>
                        <a:lnTo>
                          <a:pt x="17" y="86"/>
                        </a:lnTo>
                        <a:lnTo>
                          <a:pt x="17" y="86"/>
                        </a:lnTo>
                        <a:lnTo>
                          <a:pt x="17" y="83"/>
                        </a:lnTo>
                        <a:lnTo>
                          <a:pt x="19" y="81"/>
                        </a:lnTo>
                        <a:lnTo>
                          <a:pt x="20" y="80"/>
                        </a:lnTo>
                        <a:lnTo>
                          <a:pt x="23" y="79"/>
                        </a:lnTo>
                        <a:lnTo>
                          <a:pt x="203" y="79"/>
                        </a:lnTo>
                        <a:lnTo>
                          <a:pt x="203" y="79"/>
                        </a:lnTo>
                        <a:lnTo>
                          <a:pt x="206" y="80"/>
                        </a:lnTo>
                        <a:lnTo>
                          <a:pt x="208" y="81"/>
                        </a:lnTo>
                        <a:lnTo>
                          <a:pt x="209" y="83"/>
                        </a:lnTo>
                        <a:lnTo>
                          <a:pt x="210" y="86"/>
                        </a:lnTo>
                        <a:lnTo>
                          <a:pt x="210" y="111"/>
                        </a:lnTo>
                        <a:close/>
                        <a:moveTo>
                          <a:pt x="210" y="61"/>
                        </a:moveTo>
                        <a:lnTo>
                          <a:pt x="210" y="61"/>
                        </a:lnTo>
                        <a:lnTo>
                          <a:pt x="209" y="63"/>
                        </a:lnTo>
                        <a:lnTo>
                          <a:pt x="208" y="65"/>
                        </a:lnTo>
                        <a:lnTo>
                          <a:pt x="206" y="66"/>
                        </a:lnTo>
                        <a:lnTo>
                          <a:pt x="203" y="66"/>
                        </a:lnTo>
                        <a:lnTo>
                          <a:pt x="23" y="66"/>
                        </a:lnTo>
                        <a:lnTo>
                          <a:pt x="23" y="66"/>
                        </a:lnTo>
                        <a:lnTo>
                          <a:pt x="20" y="66"/>
                        </a:lnTo>
                        <a:lnTo>
                          <a:pt x="19" y="65"/>
                        </a:lnTo>
                        <a:lnTo>
                          <a:pt x="17" y="63"/>
                        </a:lnTo>
                        <a:lnTo>
                          <a:pt x="17" y="61"/>
                        </a:lnTo>
                        <a:lnTo>
                          <a:pt x="17" y="36"/>
                        </a:lnTo>
                        <a:lnTo>
                          <a:pt x="17" y="36"/>
                        </a:lnTo>
                        <a:lnTo>
                          <a:pt x="17" y="34"/>
                        </a:lnTo>
                        <a:lnTo>
                          <a:pt x="19" y="31"/>
                        </a:lnTo>
                        <a:lnTo>
                          <a:pt x="20" y="30"/>
                        </a:lnTo>
                        <a:lnTo>
                          <a:pt x="23" y="29"/>
                        </a:lnTo>
                        <a:lnTo>
                          <a:pt x="203" y="29"/>
                        </a:lnTo>
                        <a:lnTo>
                          <a:pt x="203" y="29"/>
                        </a:lnTo>
                        <a:lnTo>
                          <a:pt x="206" y="30"/>
                        </a:lnTo>
                        <a:lnTo>
                          <a:pt x="208" y="31"/>
                        </a:lnTo>
                        <a:lnTo>
                          <a:pt x="209" y="34"/>
                        </a:lnTo>
                        <a:lnTo>
                          <a:pt x="210" y="36"/>
                        </a:lnTo>
                        <a:lnTo>
                          <a:pt x="21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8" rIns="68556" bIns="34278" numCol="1" anchor="t" anchorCtr="0" compatLnSpc="1">
                    <a:prstTxWarp prst="textNoShape">
                      <a:avLst/>
                    </a:prstTxWarp>
                  </a:bodyPr>
                  <a:lstStyle/>
                  <a:p>
                    <a:pPr defTabSz="658864">
                      <a:buClr>
                        <a:srgbClr val="CC9900"/>
                      </a:buClr>
                      <a:buFont typeface="Wingdings" pitchFamily="2" charset="2"/>
                      <a:buChar char="n"/>
                    </a:pPr>
                    <a:endParaRPr lang="zh-CN" altLang="en-US" sz="750" b="1" dirty="0">
                      <a:solidFill>
                        <a:prstClr val="white"/>
                      </a:solidFill>
                      <a:latin typeface="FrutigerNext LT Medium" panose="020B0603040504020204" pitchFamily="34" charset="0"/>
                      <a:cs typeface="Arial" pitchFamily="34" charset="0"/>
                    </a:endParaRPr>
                  </a:p>
                </p:txBody>
              </p:sp>
            </p:grpSp>
            <p:pic>
              <p:nvPicPr>
                <p:cNvPr id="60" name="Picture 3" descr="C:\Users\l55998.CHINA\Desktop\imagesCAN41YDM.jpg"/>
                <p:cNvPicPr>
                  <a:picLocks noChangeAspect="1" noChangeArrowheads="1"/>
                </p:cNvPicPr>
                <p:nvPr/>
              </p:nvPicPr>
              <p:blipFill>
                <a:blip r:embed="rId3" cstate="screen">
                  <a:duotone>
                    <a:schemeClr val="bg2">
                      <a:shade val="45000"/>
                      <a:satMod val="135000"/>
                    </a:schemeClr>
                    <a:prstClr val="white"/>
                  </a:duotone>
                </a:blip>
                <a:srcRect/>
                <a:stretch>
                  <a:fillRect/>
                </a:stretch>
              </p:blipFill>
              <p:spPr bwMode="auto">
                <a:xfrm>
                  <a:off x="761340" y="3465669"/>
                  <a:ext cx="440213" cy="405470"/>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61" name="Freeform 131"/>
                <p:cNvSpPr>
                  <a:spLocks noEditPoints="1"/>
                </p:cNvSpPr>
                <p:nvPr/>
              </p:nvSpPr>
              <p:spPr bwMode="auto">
                <a:xfrm>
                  <a:off x="1138591" y="3483268"/>
                  <a:ext cx="386956" cy="366418"/>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pPr>
                    <a:buClrTx/>
                    <a:buFontTx/>
                    <a:buNone/>
                  </a:pPr>
                  <a:endParaRPr lang="zh-CN" altLang="en-US" dirty="0">
                    <a:solidFill>
                      <a:srgbClr val="000000"/>
                    </a:solidFill>
                    <a:latin typeface="FrutigerNext LT Medium" panose="020B0603040504020204" pitchFamily="34" charset="0"/>
                    <a:ea typeface="微软雅黑" pitchFamily="34" charset="-122"/>
                    <a:cs typeface="Arial" pitchFamily="34" charset="0"/>
                  </a:endParaRPr>
                </a:p>
              </p:txBody>
            </p:sp>
            <p:pic>
              <p:nvPicPr>
                <p:cNvPr id="62" name="图片 61" descr="locked.png"/>
                <p:cNvPicPr>
                  <a:picLocks noChangeAspect="1"/>
                </p:cNvPicPr>
                <p:nvPr/>
              </p:nvPicPr>
              <p:blipFill>
                <a:blip r:embed="rId4" cstate="screen">
                  <a:duotone>
                    <a:schemeClr val="bg2">
                      <a:shade val="45000"/>
                      <a:satMod val="135000"/>
                    </a:schemeClr>
                    <a:prstClr val="white"/>
                  </a:duotone>
                </a:blip>
                <a:stretch>
                  <a:fillRect/>
                </a:stretch>
              </p:blipFill>
              <p:spPr>
                <a:xfrm>
                  <a:off x="985019" y="3789834"/>
                  <a:ext cx="343819" cy="337485"/>
                </a:xfrm>
                <a:prstGeom prst="rect">
                  <a:avLst/>
                </a:prstGeom>
              </p:spPr>
            </p:pic>
            <p:sp>
              <p:nvSpPr>
                <p:cNvPr id="63" name="圆角矩形 36"/>
                <p:cNvSpPr/>
                <p:nvPr/>
              </p:nvSpPr>
              <p:spPr bwMode="auto">
                <a:xfrm>
                  <a:off x="624979" y="2510339"/>
                  <a:ext cx="1044001" cy="2721600"/>
                </a:xfrm>
                <a:prstGeom prst="roundRect">
                  <a:avLst>
                    <a:gd name="adj" fmla="val 6839"/>
                  </a:avLst>
                </a:prstGeom>
                <a:noFill/>
                <a:ln w="12700">
                  <a:solidFill>
                    <a:srgbClr val="F2F2F2"/>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FrutigerNext LT Medium" panose="020B0603040504020204" pitchFamily="34" charset="0"/>
                  </a:endParaRPr>
                </a:p>
              </p:txBody>
            </p:sp>
          </p:grpSp>
          <p:grpSp>
            <p:nvGrpSpPr>
              <p:cNvPr id="49" name="组合 2"/>
              <p:cNvGrpSpPr/>
              <p:nvPr/>
            </p:nvGrpSpPr>
            <p:grpSpPr>
              <a:xfrm>
                <a:off x="1433233" y="2507151"/>
                <a:ext cx="991946" cy="2721600"/>
                <a:chOff x="1581012" y="2507151"/>
                <a:chExt cx="1204207" cy="2721600"/>
              </a:xfrm>
            </p:grpSpPr>
            <p:sp>
              <p:nvSpPr>
                <p:cNvPr id="50" name="圆角矩形 49"/>
                <p:cNvSpPr/>
                <p:nvPr/>
              </p:nvSpPr>
              <p:spPr bwMode="auto">
                <a:xfrm>
                  <a:off x="1581012" y="2670319"/>
                  <a:ext cx="1204207" cy="552377"/>
                </a:xfrm>
                <a:prstGeom prst="roundRect">
                  <a:avLst/>
                </a:prstGeom>
                <a:noFill/>
                <a:ln w="28575">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46" tIns="34274" rIns="68546" bIns="34274" numCol="1" rtlCol="0" anchor="ctr" anchorCtr="0" compatLnSpc="1">
                  <a:prstTxWarp prst="textNoShape">
                    <a:avLst/>
                  </a:prstTxWarp>
                </a:bodyPr>
                <a:lstStyle/>
                <a:p>
                  <a:pPr algn="ctr" defTabSz="658864">
                    <a:buClr>
                      <a:srgbClr val="CC9900"/>
                    </a:buClr>
                  </a:pPr>
                  <a:r>
                    <a:rPr lang="en-US" altLang="zh-CN" sz="1200" b="1" dirty="0">
                      <a:solidFill>
                        <a:schemeClr val="bg1"/>
                      </a:solidFill>
                      <a:latin typeface="FrutigerNext LT Medium" panose="020B0603040504020204" pitchFamily="34" charset="0"/>
                      <a:cs typeface="Arial" pitchFamily="34" charset="0"/>
                    </a:rPr>
                    <a:t>EPC</a:t>
                  </a:r>
                  <a:endParaRPr lang="zh-CN" altLang="en-US" sz="1200" b="1" dirty="0">
                    <a:solidFill>
                      <a:schemeClr val="bg1"/>
                    </a:solidFill>
                    <a:latin typeface="FrutigerNext LT Medium" panose="020B0603040504020204" pitchFamily="34" charset="0"/>
                    <a:cs typeface="Arial" pitchFamily="34" charset="0"/>
                  </a:endParaRPr>
                </a:p>
              </p:txBody>
            </p:sp>
            <p:grpSp>
              <p:nvGrpSpPr>
                <p:cNvPr id="51" name="组合 266"/>
                <p:cNvGrpSpPr/>
                <p:nvPr/>
              </p:nvGrpSpPr>
              <p:grpSpPr>
                <a:xfrm rot="5400000">
                  <a:off x="1820814" y="3998534"/>
                  <a:ext cx="862285" cy="925538"/>
                  <a:chOff x="805572" y="2389322"/>
                  <a:chExt cx="360363" cy="876300"/>
                </a:xfrm>
              </p:grpSpPr>
              <p:sp>
                <p:nvSpPr>
                  <p:cNvPr id="56" name="Freeform 89"/>
                  <p:cNvSpPr>
                    <a:spLocks noEditPoints="1"/>
                  </p:cNvSpPr>
                  <p:nvPr/>
                </p:nvSpPr>
                <p:spPr bwMode="auto">
                  <a:xfrm>
                    <a:off x="865135" y="2436978"/>
                    <a:ext cx="261938" cy="487363"/>
                  </a:xfrm>
                  <a:custGeom>
                    <a:avLst/>
                    <a:gdLst>
                      <a:gd name="T0" fmla="*/ 25 w 165"/>
                      <a:gd name="T1" fmla="*/ 4 h 307"/>
                      <a:gd name="T2" fmla="*/ 42 w 165"/>
                      <a:gd name="T3" fmla="*/ 1 h 307"/>
                      <a:gd name="T4" fmla="*/ 16 w 165"/>
                      <a:gd name="T5" fmla="*/ 6 h 307"/>
                      <a:gd name="T6" fmla="*/ 14 w 165"/>
                      <a:gd name="T7" fmla="*/ 6 h 307"/>
                      <a:gd name="T8" fmla="*/ 4 w 165"/>
                      <a:gd name="T9" fmla="*/ 0 h 307"/>
                      <a:gd name="T10" fmla="*/ 56 w 165"/>
                      <a:gd name="T11" fmla="*/ 4 h 307"/>
                      <a:gd name="T12" fmla="*/ 52 w 165"/>
                      <a:gd name="T13" fmla="*/ 6 h 307"/>
                      <a:gd name="T14" fmla="*/ 131 w 165"/>
                      <a:gd name="T15" fmla="*/ 0 h 307"/>
                      <a:gd name="T16" fmla="*/ 52 w 165"/>
                      <a:gd name="T17" fmla="*/ 57 h 307"/>
                      <a:gd name="T18" fmla="*/ 50 w 165"/>
                      <a:gd name="T19" fmla="*/ 56 h 307"/>
                      <a:gd name="T20" fmla="*/ 40 w 165"/>
                      <a:gd name="T21" fmla="*/ 50 h 307"/>
                      <a:gd name="T22" fmla="*/ 18 w 165"/>
                      <a:gd name="T23" fmla="*/ 53 h 307"/>
                      <a:gd name="T24" fmla="*/ 16 w 165"/>
                      <a:gd name="T25" fmla="*/ 57 h 307"/>
                      <a:gd name="T26" fmla="*/ 25 w 165"/>
                      <a:gd name="T27" fmla="*/ 53 h 307"/>
                      <a:gd name="T28" fmla="*/ 165 w 165"/>
                      <a:gd name="T29" fmla="*/ 53 h 307"/>
                      <a:gd name="T30" fmla="*/ 129 w 165"/>
                      <a:gd name="T31" fmla="*/ 56 h 307"/>
                      <a:gd name="T32" fmla="*/ 4 w 165"/>
                      <a:gd name="T33" fmla="*/ 50 h 307"/>
                      <a:gd name="T34" fmla="*/ 164 w 165"/>
                      <a:gd name="T35" fmla="*/ 105 h 307"/>
                      <a:gd name="T36" fmla="*/ 128 w 165"/>
                      <a:gd name="T37" fmla="*/ 103 h 307"/>
                      <a:gd name="T38" fmla="*/ 18 w 165"/>
                      <a:gd name="T39" fmla="*/ 101 h 307"/>
                      <a:gd name="T40" fmla="*/ 27 w 165"/>
                      <a:gd name="T41" fmla="*/ 107 h 307"/>
                      <a:gd name="T42" fmla="*/ 26 w 165"/>
                      <a:gd name="T43" fmla="*/ 105 h 307"/>
                      <a:gd name="T44" fmla="*/ 4 w 165"/>
                      <a:gd name="T45" fmla="*/ 100 h 307"/>
                      <a:gd name="T46" fmla="*/ 43 w 165"/>
                      <a:gd name="T47" fmla="*/ 103 h 307"/>
                      <a:gd name="T48" fmla="*/ 40 w 165"/>
                      <a:gd name="T49" fmla="*/ 107 h 307"/>
                      <a:gd name="T50" fmla="*/ 49 w 165"/>
                      <a:gd name="T51" fmla="*/ 103 h 307"/>
                      <a:gd name="T52" fmla="*/ 18 w 165"/>
                      <a:gd name="T53" fmla="*/ 151 h 307"/>
                      <a:gd name="T54" fmla="*/ 52 w 165"/>
                      <a:gd name="T55" fmla="*/ 156 h 307"/>
                      <a:gd name="T56" fmla="*/ 50 w 165"/>
                      <a:gd name="T57" fmla="*/ 155 h 307"/>
                      <a:gd name="T58" fmla="*/ 27 w 165"/>
                      <a:gd name="T59" fmla="*/ 151 h 307"/>
                      <a:gd name="T60" fmla="*/ 164 w 165"/>
                      <a:gd name="T61" fmla="*/ 155 h 307"/>
                      <a:gd name="T62" fmla="*/ 128 w 165"/>
                      <a:gd name="T63" fmla="*/ 153 h 307"/>
                      <a:gd name="T64" fmla="*/ 42 w 165"/>
                      <a:gd name="T65" fmla="*/ 151 h 307"/>
                      <a:gd name="T66" fmla="*/ 4 w 165"/>
                      <a:gd name="T67" fmla="*/ 156 h 307"/>
                      <a:gd name="T68" fmla="*/ 1 w 165"/>
                      <a:gd name="T69" fmla="*/ 155 h 307"/>
                      <a:gd name="T70" fmla="*/ 16 w 165"/>
                      <a:gd name="T71" fmla="*/ 200 h 307"/>
                      <a:gd name="T72" fmla="*/ 7 w 165"/>
                      <a:gd name="T73" fmla="*/ 204 h 307"/>
                      <a:gd name="T74" fmla="*/ 4 w 165"/>
                      <a:gd name="T75" fmla="*/ 206 h 307"/>
                      <a:gd name="T76" fmla="*/ 131 w 165"/>
                      <a:gd name="T77" fmla="*/ 200 h 307"/>
                      <a:gd name="T78" fmla="*/ 27 w 165"/>
                      <a:gd name="T79" fmla="*/ 206 h 307"/>
                      <a:gd name="T80" fmla="*/ 26 w 165"/>
                      <a:gd name="T81" fmla="*/ 205 h 307"/>
                      <a:gd name="T82" fmla="*/ 52 w 165"/>
                      <a:gd name="T83" fmla="*/ 200 h 307"/>
                      <a:gd name="T84" fmla="*/ 43 w 165"/>
                      <a:gd name="T85" fmla="*/ 204 h 307"/>
                      <a:gd name="T86" fmla="*/ 40 w 165"/>
                      <a:gd name="T87" fmla="*/ 206 h 307"/>
                      <a:gd name="T88" fmla="*/ 163 w 165"/>
                      <a:gd name="T89" fmla="*/ 256 h 307"/>
                      <a:gd name="T90" fmla="*/ 41 w 165"/>
                      <a:gd name="T91" fmla="*/ 250 h 307"/>
                      <a:gd name="T92" fmla="*/ 43 w 165"/>
                      <a:gd name="T93" fmla="*/ 251 h 307"/>
                      <a:gd name="T94" fmla="*/ 52 w 165"/>
                      <a:gd name="T95" fmla="*/ 256 h 307"/>
                      <a:gd name="T96" fmla="*/ 1 w 165"/>
                      <a:gd name="T97" fmla="*/ 254 h 307"/>
                      <a:gd name="T98" fmla="*/ 4 w 165"/>
                      <a:gd name="T99" fmla="*/ 250 h 307"/>
                      <a:gd name="T100" fmla="*/ 32 w 165"/>
                      <a:gd name="T101" fmla="*/ 254 h 307"/>
                      <a:gd name="T102" fmla="*/ 14 w 165"/>
                      <a:gd name="T103" fmla="*/ 256 h 307"/>
                      <a:gd name="T104" fmla="*/ 131 w 165"/>
                      <a:gd name="T105" fmla="*/ 301 h 307"/>
                      <a:gd name="T106" fmla="*/ 165 w 165"/>
                      <a:gd name="T107" fmla="*/ 306 h 307"/>
                      <a:gd name="T108" fmla="*/ 13 w 165"/>
                      <a:gd name="T109" fmla="*/ 303 h 307"/>
                      <a:gd name="T110" fmla="*/ 16 w 165"/>
                      <a:gd name="T111" fmla="*/ 300 h 307"/>
                      <a:gd name="T112" fmla="*/ 56 w 165"/>
                      <a:gd name="T113" fmla="*/ 303 h 307"/>
                      <a:gd name="T114" fmla="*/ 1 w 165"/>
                      <a:gd name="T115" fmla="*/ 306 h 307"/>
                      <a:gd name="T116" fmla="*/ 41 w 165"/>
                      <a:gd name="T117" fmla="*/ 300 h 307"/>
                      <a:gd name="T118" fmla="*/ 43 w 165"/>
                      <a:gd name="T119" fmla="*/ 301 h 307"/>
                      <a:gd name="T120" fmla="*/ 28 w 165"/>
                      <a:gd name="T121" fmla="*/ 3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5" h="307">
                        <a:moveTo>
                          <a:pt x="27" y="6"/>
                        </a:moveTo>
                        <a:lnTo>
                          <a:pt x="27" y="6"/>
                        </a:lnTo>
                        <a:lnTo>
                          <a:pt x="30" y="6"/>
                        </a:lnTo>
                        <a:lnTo>
                          <a:pt x="31" y="4"/>
                        </a:lnTo>
                        <a:lnTo>
                          <a:pt x="31" y="4"/>
                        </a:lnTo>
                        <a:lnTo>
                          <a:pt x="30" y="1"/>
                        </a:lnTo>
                        <a:lnTo>
                          <a:pt x="27" y="0"/>
                        </a:lnTo>
                        <a:lnTo>
                          <a:pt x="27" y="0"/>
                        </a:lnTo>
                        <a:lnTo>
                          <a:pt x="26" y="1"/>
                        </a:lnTo>
                        <a:lnTo>
                          <a:pt x="25" y="4"/>
                        </a:lnTo>
                        <a:lnTo>
                          <a:pt x="25" y="4"/>
                        </a:lnTo>
                        <a:lnTo>
                          <a:pt x="26" y="6"/>
                        </a:lnTo>
                        <a:lnTo>
                          <a:pt x="27" y="6"/>
                        </a:lnTo>
                        <a:lnTo>
                          <a:pt x="27" y="6"/>
                        </a:lnTo>
                        <a:close/>
                        <a:moveTo>
                          <a:pt x="40" y="6"/>
                        </a:moveTo>
                        <a:lnTo>
                          <a:pt x="40" y="6"/>
                        </a:lnTo>
                        <a:lnTo>
                          <a:pt x="42" y="6"/>
                        </a:lnTo>
                        <a:lnTo>
                          <a:pt x="43" y="4"/>
                        </a:lnTo>
                        <a:lnTo>
                          <a:pt x="43" y="4"/>
                        </a:lnTo>
                        <a:lnTo>
                          <a:pt x="42" y="1"/>
                        </a:lnTo>
                        <a:lnTo>
                          <a:pt x="40" y="0"/>
                        </a:lnTo>
                        <a:lnTo>
                          <a:pt x="40" y="0"/>
                        </a:lnTo>
                        <a:lnTo>
                          <a:pt x="37" y="1"/>
                        </a:lnTo>
                        <a:lnTo>
                          <a:pt x="37" y="4"/>
                        </a:lnTo>
                        <a:lnTo>
                          <a:pt x="37" y="4"/>
                        </a:lnTo>
                        <a:lnTo>
                          <a:pt x="37" y="6"/>
                        </a:lnTo>
                        <a:lnTo>
                          <a:pt x="40" y="6"/>
                        </a:lnTo>
                        <a:lnTo>
                          <a:pt x="40" y="6"/>
                        </a:lnTo>
                        <a:close/>
                        <a:moveTo>
                          <a:pt x="16" y="6"/>
                        </a:moveTo>
                        <a:lnTo>
                          <a:pt x="16" y="6"/>
                        </a:lnTo>
                        <a:lnTo>
                          <a:pt x="18" y="6"/>
                        </a:lnTo>
                        <a:lnTo>
                          <a:pt x="18" y="4"/>
                        </a:lnTo>
                        <a:lnTo>
                          <a:pt x="18" y="4"/>
                        </a:lnTo>
                        <a:lnTo>
                          <a:pt x="18" y="1"/>
                        </a:lnTo>
                        <a:lnTo>
                          <a:pt x="16" y="0"/>
                        </a:lnTo>
                        <a:lnTo>
                          <a:pt x="16" y="0"/>
                        </a:lnTo>
                        <a:lnTo>
                          <a:pt x="14" y="1"/>
                        </a:lnTo>
                        <a:lnTo>
                          <a:pt x="13" y="4"/>
                        </a:lnTo>
                        <a:lnTo>
                          <a:pt x="13" y="4"/>
                        </a:lnTo>
                        <a:lnTo>
                          <a:pt x="14" y="6"/>
                        </a:lnTo>
                        <a:lnTo>
                          <a:pt x="16" y="6"/>
                        </a:lnTo>
                        <a:lnTo>
                          <a:pt x="16" y="6"/>
                        </a:lnTo>
                        <a:close/>
                        <a:moveTo>
                          <a:pt x="4" y="6"/>
                        </a:moveTo>
                        <a:lnTo>
                          <a:pt x="4" y="6"/>
                        </a:lnTo>
                        <a:lnTo>
                          <a:pt x="6" y="6"/>
                        </a:lnTo>
                        <a:lnTo>
                          <a:pt x="7" y="4"/>
                        </a:lnTo>
                        <a:lnTo>
                          <a:pt x="7" y="4"/>
                        </a:lnTo>
                        <a:lnTo>
                          <a:pt x="6" y="1"/>
                        </a:lnTo>
                        <a:lnTo>
                          <a:pt x="4" y="0"/>
                        </a:lnTo>
                        <a:lnTo>
                          <a:pt x="4" y="0"/>
                        </a:lnTo>
                        <a:lnTo>
                          <a:pt x="1" y="1"/>
                        </a:lnTo>
                        <a:lnTo>
                          <a:pt x="0" y="4"/>
                        </a:lnTo>
                        <a:lnTo>
                          <a:pt x="0" y="4"/>
                        </a:lnTo>
                        <a:lnTo>
                          <a:pt x="1" y="6"/>
                        </a:lnTo>
                        <a:lnTo>
                          <a:pt x="4" y="6"/>
                        </a:lnTo>
                        <a:lnTo>
                          <a:pt x="4" y="6"/>
                        </a:lnTo>
                        <a:close/>
                        <a:moveTo>
                          <a:pt x="52" y="6"/>
                        </a:moveTo>
                        <a:lnTo>
                          <a:pt x="52" y="6"/>
                        </a:lnTo>
                        <a:lnTo>
                          <a:pt x="54" y="6"/>
                        </a:lnTo>
                        <a:lnTo>
                          <a:pt x="56" y="4"/>
                        </a:lnTo>
                        <a:lnTo>
                          <a:pt x="56" y="4"/>
                        </a:lnTo>
                        <a:lnTo>
                          <a:pt x="54" y="1"/>
                        </a:lnTo>
                        <a:lnTo>
                          <a:pt x="52" y="0"/>
                        </a:lnTo>
                        <a:lnTo>
                          <a:pt x="52" y="0"/>
                        </a:lnTo>
                        <a:lnTo>
                          <a:pt x="50" y="1"/>
                        </a:lnTo>
                        <a:lnTo>
                          <a:pt x="49" y="4"/>
                        </a:lnTo>
                        <a:lnTo>
                          <a:pt x="49" y="4"/>
                        </a:lnTo>
                        <a:lnTo>
                          <a:pt x="50" y="6"/>
                        </a:lnTo>
                        <a:lnTo>
                          <a:pt x="52" y="6"/>
                        </a:lnTo>
                        <a:lnTo>
                          <a:pt x="52" y="6"/>
                        </a:lnTo>
                        <a:close/>
                        <a:moveTo>
                          <a:pt x="131" y="6"/>
                        </a:moveTo>
                        <a:lnTo>
                          <a:pt x="163" y="6"/>
                        </a:lnTo>
                        <a:lnTo>
                          <a:pt x="163" y="6"/>
                        </a:lnTo>
                        <a:lnTo>
                          <a:pt x="164" y="5"/>
                        </a:lnTo>
                        <a:lnTo>
                          <a:pt x="165" y="4"/>
                        </a:lnTo>
                        <a:lnTo>
                          <a:pt x="165" y="4"/>
                        </a:lnTo>
                        <a:lnTo>
                          <a:pt x="165" y="4"/>
                        </a:lnTo>
                        <a:lnTo>
                          <a:pt x="164" y="1"/>
                        </a:lnTo>
                        <a:lnTo>
                          <a:pt x="163" y="0"/>
                        </a:lnTo>
                        <a:lnTo>
                          <a:pt x="131" y="0"/>
                        </a:lnTo>
                        <a:lnTo>
                          <a:pt x="131" y="0"/>
                        </a:lnTo>
                        <a:lnTo>
                          <a:pt x="129" y="1"/>
                        </a:lnTo>
                        <a:lnTo>
                          <a:pt x="128" y="4"/>
                        </a:lnTo>
                        <a:lnTo>
                          <a:pt x="128" y="4"/>
                        </a:lnTo>
                        <a:lnTo>
                          <a:pt x="128" y="4"/>
                        </a:lnTo>
                        <a:lnTo>
                          <a:pt x="129" y="5"/>
                        </a:lnTo>
                        <a:lnTo>
                          <a:pt x="131" y="6"/>
                        </a:lnTo>
                        <a:lnTo>
                          <a:pt x="131" y="6"/>
                        </a:lnTo>
                        <a:close/>
                        <a:moveTo>
                          <a:pt x="52" y="57"/>
                        </a:moveTo>
                        <a:lnTo>
                          <a:pt x="52" y="57"/>
                        </a:lnTo>
                        <a:lnTo>
                          <a:pt x="54" y="56"/>
                        </a:lnTo>
                        <a:lnTo>
                          <a:pt x="56" y="53"/>
                        </a:lnTo>
                        <a:lnTo>
                          <a:pt x="56" y="53"/>
                        </a:lnTo>
                        <a:lnTo>
                          <a:pt x="54" y="51"/>
                        </a:lnTo>
                        <a:lnTo>
                          <a:pt x="52" y="50"/>
                        </a:lnTo>
                        <a:lnTo>
                          <a:pt x="52" y="50"/>
                        </a:lnTo>
                        <a:lnTo>
                          <a:pt x="50" y="51"/>
                        </a:lnTo>
                        <a:lnTo>
                          <a:pt x="49" y="53"/>
                        </a:lnTo>
                        <a:lnTo>
                          <a:pt x="49" y="53"/>
                        </a:lnTo>
                        <a:lnTo>
                          <a:pt x="50" y="56"/>
                        </a:lnTo>
                        <a:lnTo>
                          <a:pt x="52" y="57"/>
                        </a:lnTo>
                        <a:lnTo>
                          <a:pt x="52" y="57"/>
                        </a:lnTo>
                        <a:close/>
                        <a:moveTo>
                          <a:pt x="40" y="57"/>
                        </a:moveTo>
                        <a:lnTo>
                          <a:pt x="40" y="57"/>
                        </a:lnTo>
                        <a:lnTo>
                          <a:pt x="42" y="56"/>
                        </a:lnTo>
                        <a:lnTo>
                          <a:pt x="43" y="53"/>
                        </a:lnTo>
                        <a:lnTo>
                          <a:pt x="43" y="53"/>
                        </a:lnTo>
                        <a:lnTo>
                          <a:pt x="42" y="51"/>
                        </a:lnTo>
                        <a:lnTo>
                          <a:pt x="40" y="50"/>
                        </a:lnTo>
                        <a:lnTo>
                          <a:pt x="40" y="50"/>
                        </a:lnTo>
                        <a:lnTo>
                          <a:pt x="37" y="51"/>
                        </a:lnTo>
                        <a:lnTo>
                          <a:pt x="37" y="53"/>
                        </a:lnTo>
                        <a:lnTo>
                          <a:pt x="37" y="53"/>
                        </a:lnTo>
                        <a:lnTo>
                          <a:pt x="37" y="56"/>
                        </a:lnTo>
                        <a:lnTo>
                          <a:pt x="40" y="57"/>
                        </a:lnTo>
                        <a:lnTo>
                          <a:pt x="40" y="57"/>
                        </a:lnTo>
                        <a:close/>
                        <a:moveTo>
                          <a:pt x="16" y="57"/>
                        </a:moveTo>
                        <a:lnTo>
                          <a:pt x="16" y="57"/>
                        </a:lnTo>
                        <a:lnTo>
                          <a:pt x="18" y="56"/>
                        </a:lnTo>
                        <a:lnTo>
                          <a:pt x="18" y="53"/>
                        </a:lnTo>
                        <a:lnTo>
                          <a:pt x="18" y="53"/>
                        </a:lnTo>
                        <a:lnTo>
                          <a:pt x="18" y="51"/>
                        </a:lnTo>
                        <a:lnTo>
                          <a:pt x="16" y="50"/>
                        </a:lnTo>
                        <a:lnTo>
                          <a:pt x="16" y="50"/>
                        </a:lnTo>
                        <a:lnTo>
                          <a:pt x="14" y="51"/>
                        </a:lnTo>
                        <a:lnTo>
                          <a:pt x="13" y="53"/>
                        </a:lnTo>
                        <a:lnTo>
                          <a:pt x="13" y="53"/>
                        </a:lnTo>
                        <a:lnTo>
                          <a:pt x="14" y="56"/>
                        </a:lnTo>
                        <a:lnTo>
                          <a:pt x="16" y="57"/>
                        </a:lnTo>
                        <a:lnTo>
                          <a:pt x="16" y="57"/>
                        </a:lnTo>
                        <a:close/>
                        <a:moveTo>
                          <a:pt x="27" y="57"/>
                        </a:moveTo>
                        <a:lnTo>
                          <a:pt x="27" y="57"/>
                        </a:lnTo>
                        <a:lnTo>
                          <a:pt x="30" y="56"/>
                        </a:lnTo>
                        <a:lnTo>
                          <a:pt x="31" y="53"/>
                        </a:lnTo>
                        <a:lnTo>
                          <a:pt x="31" y="53"/>
                        </a:lnTo>
                        <a:lnTo>
                          <a:pt x="30" y="51"/>
                        </a:lnTo>
                        <a:lnTo>
                          <a:pt x="27" y="50"/>
                        </a:lnTo>
                        <a:lnTo>
                          <a:pt x="27" y="50"/>
                        </a:lnTo>
                        <a:lnTo>
                          <a:pt x="26" y="51"/>
                        </a:lnTo>
                        <a:lnTo>
                          <a:pt x="25" y="53"/>
                        </a:lnTo>
                        <a:lnTo>
                          <a:pt x="25" y="53"/>
                        </a:lnTo>
                        <a:lnTo>
                          <a:pt x="26" y="56"/>
                        </a:lnTo>
                        <a:lnTo>
                          <a:pt x="27" y="57"/>
                        </a:lnTo>
                        <a:lnTo>
                          <a:pt x="27" y="57"/>
                        </a:lnTo>
                        <a:close/>
                        <a:moveTo>
                          <a:pt x="131" y="56"/>
                        </a:moveTo>
                        <a:lnTo>
                          <a:pt x="163" y="56"/>
                        </a:lnTo>
                        <a:lnTo>
                          <a:pt x="163" y="56"/>
                        </a:lnTo>
                        <a:lnTo>
                          <a:pt x="164" y="56"/>
                        </a:lnTo>
                        <a:lnTo>
                          <a:pt x="165" y="53"/>
                        </a:lnTo>
                        <a:lnTo>
                          <a:pt x="165" y="53"/>
                        </a:lnTo>
                        <a:lnTo>
                          <a:pt x="165" y="53"/>
                        </a:lnTo>
                        <a:lnTo>
                          <a:pt x="164" y="51"/>
                        </a:lnTo>
                        <a:lnTo>
                          <a:pt x="163" y="51"/>
                        </a:lnTo>
                        <a:lnTo>
                          <a:pt x="131" y="51"/>
                        </a:lnTo>
                        <a:lnTo>
                          <a:pt x="131" y="51"/>
                        </a:lnTo>
                        <a:lnTo>
                          <a:pt x="129" y="51"/>
                        </a:lnTo>
                        <a:lnTo>
                          <a:pt x="128" y="53"/>
                        </a:lnTo>
                        <a:lnTo>
                          <a:pt x="128" y="53"/>
                        </a:lnTo>
                        <a:lnTo>
                          <a:pt x="128" y="53"/>
                        </a:lnTo>
                        <a:lnTo>
                          <a:pt x="129" y="56"/>
                        </a:lnTo>
                        <a:lnTo>
                          <a:pt x="131" y="56"/>
                        </a:lnTo>
                        <a:lnTo>
                          <a:pt x="131" y="56"/>
                        </a:lnTo>
                        <a:close/>
                        <a:moveTo>
                          <a:pt x="4" y="57"/>
                        </a:moveTo>
                        <a:lnTo>
                          <a:pt x="4" y="57"/>
                        </a:lnTo>
                        <a:lnTo>
                          <a:pt x="6" y="56"/>
                        </a:lnTo>
                        <a:lnTo>
                          <a:pt x="7" y="53"/>
                        </a:lnTo>
                        <a:lnTo>
                          <a:pt x="7" y="53"/>
                        </a:lnTo>
                        <a:lnTo>
                          <a:pt x="6" y="51"/>
                        </a:lnTo>
                        <a:lnTo>
                          <a:pt x="4" y="50"/>
                        </a:lnTo>
                        <a:lnTo>
                          <a:pt x="4" y="50"/>
                        </a:lnTo>
                        <a:lnTo>
                          <a:pt x="1" y="51"/>
                        </a:lnTo>
                        <a:lnTo>
                          <a:pt x="0" y="53"/>
                        </a:lnTo>
                        <a:lnTo>
                          <a:pt x="0" y="53"/>
                        </a:lnTo>
                        <a:lnTo>
                          <a:pt x="1" y="56"/>
                        </a:lnTo>
                        <a:lnTo>
                          <a:pt x="4" y="57"/>
                        </a:lnTo>
                        <a:lnTo>
                          <a:pt x="4" y="57"/>
                        </a:lnTo>
                        <a:close/>
                        <a:moveTo>
                          <a:pt x="131" y="105"/>
                        </a:moveTo>
                        <a:lnTo>
                          <a:pt x="163" y="105"/>
                        </a:lnTo>
                        <a:lnTo>
                          <a:pt x="163" y="105"/>
                        </a:lnTo>
                        <a:lnTo>
                          <a:pt x="164" y="105"/>
                        </a:lnTo>
                        <a:lnTo>
                          <a:pt x="165" y="103"/>
                        </a:lnTo>
                        <a:lnTo>
                          <a:pt x="165" y="103"/>
                        </a:lnTo>
                        <a:lnTo>
                          <a:pt x="165" y="103"/>
                        </a:lnTo>
                        <a:lnTo>
                          <a:pt x="164" y="101"/>
                        </a:lnTo>
                        <a:lnTo>
                          <a:pt x="163" y="101"/>
                        </a:lnTo>
                        <a:lnTo>
                          <a:pt x="131" y="101"/>
                        </a:lnTo>
                        <a:lnTo>
                          <a:pt x="131" y="101"/>
                        </a:lnTo>
                        <a:lnTo>
                          <a:pt x="129" y="101"/>
                        </a:lnTo>
                        <a:lnTo>
                          <a:pt x="128" y="103"/>
                        </a:lnTo>
                        <a:lnTo>
                          <a:pt x="128" y="103"/>
                        </a:lnTo>
                        <a:lnTo>
                          <a:pt x="128" y="103"/>
                        </a:lnTo>
                        <a:lnTo>
                          <a:pt x="129" y="105"/>
                        </a:lnTo>
                        <a:lnTo>
                          <a:pt x="131" y="105"/>
                        </a:lnTo>
                        <a:lnTo>
                          <a:pt x="131" y="105"/>
                        </a:lnTo>
                        <a:close/>
                        <a:moveTo>
                          <a:pt x="16" y="107"/>
                        </a:moveTo>
                        <a:lnTo>
                          <a:pt x="16" y="107"/>
                        </a:lnTo>
                        <a:lnTo>
                          <a:pt x="18" y="105"/>
                        </a:lnTo>
                        <a:lnTo>
                          <a:pt x="18" y="103"/>
                        </a:lnTo>
                        <a:lnTo>
                          <a:pt x="18" y="103"/>
                        </a:lnTo>
                        <a:lnTo>
                          <a:pt x="18" y="101"/>
                        </a:lnTo>
                        <a:lnTo>
                          <a:pt x="16" y="100"/>
                        </a:lnTo>
                        <a:lnTo>
                          <a:pt x="16" y="100"/>
                        </a:lnTo>
                        <a:lnTo>
                          <a:pt x="14" y="101"/>
                        </a:lnTo>
                        <a:lnTo>
                          <a:pt x="13" y="103"/>
                        </a:lnTo>
                        <a:lnTo>
                          <a:pt x="13" y="103"/>
                        </a:lnTo>
                        <a:lnTo>
                          <a:pt x="14" y="105"/>
                        </a:lnTo>
                        <a:lnTo>
                          <a:pt x="16" y="107"/>
                        </a:lnTo>
                        <a:lnTo>
                          <a:pt x="16" y="107"/>
                        </a:lnTo>
                        <a:close/>
                        <a:moveTo>
                          <a:pt x="27" y="107"/>
                        </a:moveTo>
                        <a:lnTo>
                          <a:pt x="27" y="107"/>
                        </a:lnTo>
                        <a:lnTo>
                          <a:pt x="30" y="105"/>
                        </a:lnTo>
                        <a:lnTo>
                          <a:pt x="31" y="103"/>
                        </a:lnTo>
                        <a:lnTo>
                          <a:pt x="31" y="103"/>
                        </a:lnTo>
                        <a:lnTo>
                          <a:pt x="30" y="101"/>
                        </a:lnTo>
                        <a:lnTo>
                          <a:pt x="27" y="100"/>
                        </a:lnTo>
                        <a:lnTo>
                          <a:pt x="27" y="100"/>
                        </a:lnTo>
                        <a:lnTo>
                          <a:pt x="26" y="101"/>
                        </a:lnTo>
                        <a:lnTo>
                          <a:pt x="25" y="103"/>
                        </a:lnTo>
                        <a:lnTo>
                          <a:pt x="25" y="103"/>
                        </a:lnTo>
                        <a:lnTo>
                          <a:pt x="26" y="105"/>
                        </a:lnTo>
                        <a:lnTo>
                          <a:pt x="27" y="107"/>
                        </a:lnTo>
                        <a:lnTo>
                          <a:pt x="27" y="107"/>
                        </a:lnTo>
                        <a:close/>
                        <a:moveTo>
                          <a:pt x="4" y="107"/>
                        </a:moveTo>
                        <a:lnTo>
                          <a:pt x="4" y="107"/>
                        </a:lnTo>
                        <a:lnTo>
                          <a:pt x="6" y="105"/>
                        </a:lnTo>
                        <a:lnTo>
                          <a:pt x="7" y="103"/>
                        </a:lnTo>
                        <a:lnTo>
                          <a:pt x="7" y="103"/>
                        </a:lnTo>
                        <a:lnTo>
                          <a:pt x="6" y="101"/>
                        </a:lnTo>
                        <a:lnTo>
                          <a:pt x="4" y="100"/>
                        </a:lnTo>
                        <a:lnTo>
                          <a:pt x="4" y="100"/>
                        </a:lnTo>
                        <a:lnTo>
                          <a:pt x="1" y="101"/>
                        </a:lnTo>
                        <a:lnTo>
                          <a:pt x="0" y="103"/>
                        </a:lnTo>
                        <a:lnTo>
                          <a:pt x="0" y="103"/>
                        </a:lnTo>
                        <a:lnTo>
                          <a:pt x="1" y="105"/>
                        </a:lnTo>
                        <a:lnTo>
                          <a:pt x="4" y="107"/>
                        </a:lnTo>
                        <a:lnTo>
                          <a:pt x="4" y="107"/>
                        </a:lnTo>
                        <a:close/>
                        <a:moveTo>
                          <a:pt x="40" y="107"/>
                        </a:moveTo>
                        <a:lnTo>
                          <a:pt x="40" y="107"/>
                        </a:lnTo>
                        <a:lnTo>
                          <a:pt x="42" y="105"/>
                        </a:lnTo>
                        <a:lnTo>
                          <a:pt x="43" y="103"/>
                        </a:lnTo>
                        <a:lnTo>
                          <a:pt x="43" y="103"/>
                        </a:lnTo>
                        <a:lnTo>
                          <a:pt x="42" y="101"/>
                        </a:lnTo>
                        <a:lnTo>
                          <a:pt x="40" y="100"/>
                        </a:lnTo>
                        <a:lnTo>
                          <a:pt x="40" y="100"/>
                        </a:lnTo>
                        <a:lnTo>
                          <a:pt x="37" y="101"/>
                        </a:lnTo>
                        <a:lnTo>
                          <a:pt x="37" y="103"/>
                        </a:lnTo>
                        <a:lnTo>
                          <a:pt x="37" y="103"/>
                        </a:lnTo>
                        <a:lnTo>
                          <a:pt x="37" y="105"/>
                        </a:lnTo>
                        <a:lnTo>
                          <a:pt x="40" y="107"/>
                        </a:lnTo>
                        <a:lnTo>
                          <a:pt x="40" y="107"/>
                        </a:lnTo>
                        <a:close/>
                        <a:moveTo>
                          <a:pt x="52" y="107"/>
                        </a:moveTo>
                        <a:lnTo>
                          <a:pt x="52" y="107"/>
                        </a:lnTo>
                        <a:lnTo>
                          <a:pt x="54" y="105"/>
                        </a:lnTo>
                        <a:lnTo>
                          <a:pt x="56" y="103"/>
                        </a:lnTo>
                        <a:lnTo>
                          <a:pt x="56" y="103"/>
                        </a:lnTo>
                        <a:lnTo>
                          <a:pt x="54" y="101"/>
                        </a:lnTo>
                        <a:lnTo>
                          <a:pt x="52" y="100"/>
                        </a:lnTo>
                        <a:lnTo>
                          <a:pt x="52" y="100"/>
                        </a:lnTo>
                        <a:lnTo>
                          <a:pt x="50" y="101"/>
                        </a:lnTo>
                        <a:lnTo>
                          <a:pt x="49" y="103"/>
                        </a:lnTo>
                        <a:lnTo>
                          <a:pt x="49" y="103"/>
                        </a:lnTo>
                        <a:lnTo>
                          <a:pt x="50" y="105"/>
                        </a:lnTo>
                        <a:lnTo>
                          <a:pt x="52" y="107"/>
                        </a:lnTo>
                        <a:lnTo>
                          <a:pt x="52" y="107"/>
                        </a:lnTo>
                        <a:close/>
                        <a:moveTo>
                          <a:pt x="16" y="156"/>
                        </a:moveTo>
                        <a:lnTo>
                          <a:pt x="16" y="156"/>
                        </a:lnTo>
                        <a:lnTo>
                          <a:pt x="18" y="155"/>
                        </a:lnTo>
                        <a:lnTo>
                          <a:pt x="18" y="153"/>
                        </a:lnTo>
                        <a:lnTo>
                          <a:pt x="18" y="153"/>
                        </a:lnTo>
                        <a:lnTo>
                          <a:pt x="18" y="151"/>
                        </a:lnTo>
                        <a:lnTo>
                          <a:pt x="16" y="151"/>
                        </a:lnTo>
                        <a:lnTo>
                          <a:pt x="16" y="151"/>
                        </a:lnTo>
                        <a:lnTo>
                          <a:pt x="14" y="151"/>
                        </a:lnTo>
                        <a:lnTo>
                          <a:pt x="13" y="153"/>
                        </a:lnTo>
                        <a:lnTo>
                          <a:pt x="13" y="153"/>
                        </a:lnTo>
                        <a:lnTo>
                          <a:pt x="14" y="155"/>
                        </a:lnTo>
                        <a:lnTo>
                          <a:pt x="16" y="156"/>
                        </a:lnTo>
                        <a:lnTo>
                          <a:pt x="16" y="156"/>
                        </a:lnTo>
                        <a:close/>
                        <a:moveTo>
                          <a:pt x="52" y="156"/>
                        </a:moveTo>
                        <a:lnTo>
                          <a:pt x="52" y="156"/>
                        </a:lnTo>
                        <a:lnTo>
                          <a:pt x="54" y="155"/>
                        </a:lnTo>
                        <a:lnTo>
                          <a:pt x="56" y="153"/>
                        </a:lnTo>
                        <a:lnTo>
                          <a:pt x="56" y="153"/>
                        </a:lnTo>
                        <a:lnTo>
                          <a:pt x="54" y="151"/>
                        </a:lnTo>
                        <a:lnTo>
                          <a:pt x="52" y="151"/>
                        </a:lnTo>
                        <a:lnTo>
                          <a:pt x="52" y="151"/>
                        </a:lnTo>
                        <a:lnTo>
                          <a:pt x="50" y="151"/>
                        </a:lnTo>
                        <a:lnTo>
                          <a:pt x="49" y="153"/>
                        </a:lnTo>
                        <a:lnTo>
                          <a:pt x="49" y="153"/>
                        </a:lnTo>
                        <a:lnTo>
                          <a:pt x="50" y="155"/>
                        </a:lnTo>
                        <a:lnTo>
                          <a:pt x="52" y="156"/>
                        </a:lnTo>
                        <a:lnTo>
                          <a:pt x="52" y="156"/>
                        </a:lnTo>
                        <a:close/>
                        <a:moveTo>
                          <a:pt x="27" y="156"/>
                        </a:moveTo>
                        <a:lnTo>
                          <a:pt x="27" y="156"/>
                        </a:lnTo>
                        <a:lnTo>
                          <a:pt x="30" y="155"/>
                        </a:lnTo>
                        <a:lnTo>
                          <a:pt x="31" y="153"/>
                        </a:lnTo>
                        <a:lnTo>
                          <a:pt x="31" y="153"/>
                        </a:lnTo>
                        <a:lnTo>
                          <a:pt x="30" y="151"/>
                        </a:lnTo>
                        <a:lnTo>
                          <a:pt x="27" y="151"/>
                        </a:lnTo>
                        <a:lnTo>
                          <a:pt x="27" y="151"/>
                        </a:lnTo>
                        <a:lnTo>
                          <a:pt x="26" y="151"/>
                        </a:lnTo>
                        <a:lnTo>
                          <a:pt x="25" y="153"/>
                        </a:lnTo>
                        <a:lnTo>
                          <a:pt x="25" y="153"/>
                        </a:lnTo>
                        <a:lnTo>
                          <a:pt x="26" y="155"/>
                        </a:lnTo>
                        <a:lnTo>
                          <a:pt x="27" y="156"/>
                        </a:lnTo>
                        <a:lnTo>
                          <a:pt x="27" y="156"/>
                        </a:lnTo>
                        <a:close/>
                        <a:moveTo>
                          <a:pt x="131" y="156"/>
                        </a:moveTo>
                        <a:lnTo>
                          <a:pt x="163" y="156"/>
                        </a:lnTo>
                        <a:lnTo>
                          <a:pt x="163" y="156"/>
                        </a:lnTo>
                        <a:lnTo>
                          <a:pt x="164" y="155"/>
                        </a:lnTo>
                        <a:lnTo>
                          <a:pt x="165" y="153"/>
                        </a:lnTo>
                        <a:lnTo>
                          <a:pt x="165" y="153"/>
                        </a:lnTo>
                        <a:lnTo>
                          <a:pt x="165" y="153"/>
                        </a:lnTo>
                        <a:lnTo>
                          <a:pt x="164" y="152"/>
                        </a:lnTo>
                        <a:lnTo>
                          <a:pt x="163" y="151"/>
                        </a:lnTo>
                        <a:lnTo>
                          <a:pt x="131" y="151"/>
                        </a:lnTo>
                        <a:lnTo>
                          <a:pt x="131" y="151"/>
                        </a:lnTo>
                        <a:lnTo>
                          <a:pt x="129" y="152"/>
                        </a:lnTo>
                        <a:lnTo>
                          <a:pt x="128" y="153"/>
                        </a:lnTo>
                        <a:lnTo>
                          <a:pt x="128" y="153"/>
                        </a:lnTo>
                        <a:lnTo>
                          <a:pt x="128" y="153"/>
                        </a:lnTo>
                        <a:lnTo>
                          <a:pt x="129" y="155"/>
                        </a:lnTo>
                        <a:lnTo>
                          <a:pt x="131" y="156"/>
                        </a:lnTo>
                        <a:lnTo>
                          <a:pt x="131" y="156"/>
                        </a:lnTo>
                        <a:close/>
                        <a:moveTo>
                          <a:pt x="40" y="156"/>
                        </a:moveTo>
                        <a:lnTo>
                          <a:pt x="40" y="156"/>
                        </a:lnTo>
                        <a:lnTo>
                          <a:pt x="42" y="155"/>
                        </a:lnTo>
                        <a:lnTo>
                          <a:pt x="43" y="153"/>
                        </a:lnTo>
                        <a:lnTo>
                          <a:pt x="43" y="153"/>
                        </a:lnTo>
                        <a:lnTo>
                          <a:pt x="42" y="151"/>
                        </a:lnTo>
                        <a:lnTo>
                          <a:pt x="40" y="151"/>
                        </a:lnTo>
                        <a:lnTo>
                          <a:pt x="40" y="151"/>
                        </a:lnTo>
                        <a:lnTo>
                          <a:pt x="37" y="151"/>
                        </a:lnTo>
                        <a:lnTo>
                          <a:pt x="37" y="153"/>
                        </a:lnTo>
                        <a:lnTo>
                          <a:pt x="37" y="153"/>
                        </a:lnTo>
                        <a:lnTo>
                          <a:pt x="37" y="155"/>
                        </a:lnTo>
                        <a:lnTo>
                          <a:pt x="40" y="156"/>
                        </a:lnTo>
                        <a:lnTo>
                          <a:pt x="40" y="156"/>
                        </a:lnTo>
                        <a:close/>
                        <a:moveTo>
                          <a:pt x="4" y="156"/>
                        </a:moveTo>
                        <a:lnTo>
                          <a:pt x="4" y="156"/>
                        </a:lnTo>
                        <a:lnTo>
                          <a:pt x="6" y="155"/>
                        </a:lnTo>
                        <a:lnTo>
                          <a:pt x="7" y="153"/>
                        </a:lnTo>
                        <a:lnTo>
                          <a:pt x="7" y="153"/>
                        </a:lnTo>
                        <a:lnTo>
                          <a:pt x="6" y="151"/>
                        </a:lnTo>
                        <a:lnTo>
                          <a:pt x="4" y="151"/>
                        </a:lnTo>
                        <a:lnTo>
                          <a:pt x="4" y="151"/>
                        </a:lnTo>
                        <a:lnTo>
                          <a:pt x="1" y="151"/>
                        </a:lnTo>
                        <a:lnTo>
                          <a:pt x="0" y="153"/>
                        </a:lnTo>
                        <a:lnTo>
                          <a:pt x="0" y="153"/>
                        </a:lnTo>
                        <a:lnTo>
                          <a:pt x="1" y="155"/>
                        </a:lnTo>
                        <a:lnTo>
                          <a:pt x="4" y="156"/>
                        </a:lnTo>
                        <a:lnTo>
                          <a:pt x="4" y="156"/>
                        </a:lnTo>
                        <a:close/>
                        <a:moveTo>
                          <a:pt x="16" y="206"/>
                        </a:moveTo>
                        <a:lnTo>
                          <a:pt x="16" y="206"/>
                        </a:lnTo>
                        <a:lnTo>
                          <a:pt x="18" y="205"/>
                        </a:lnTo>
                        <a:lnTo>
                          <a:pt x="18" y="204"/>
                        </a:lnTo>
                        <a:lnTo>
                          <a:pt x="18" y="204"/>
                        </a:lnTo>
                        <a:lnTo>
                          <a:pt x="18" y="202"/>
                        </a:lnTo>
                        <a:lnTo>
                          <a:pt x="16" y="200"/>
                        </a:lnTo>
                        <a:lnTo>
                          <a:pt x="16" y="200"/>
                        </a:lnTo>
                        <a:lnTo>
                          <a:pt x="14" y="202"/>
                        </a:lnTo>
                        <a:lnTo>
                          <a:pt x="13" y="204"/>
                        </a:lnTo>
                        <a:lnTo>
                          <a:pt x="13" y="204"/>
                        </a:lnTo>
                        <a:lnTo>
                          <a:pt x="14" y="205"/>
                        </a:lnTo>
                        <a:lnTo>
                          <a:pt x="16" y="206"/>
                        </a:lnTo>
                        <a:lnTo>
                          <a:pt x="16" y="206"/>
                        </a:lnTo>
                        <a:close/>
                        <a:moveTo>
                          <a:pt x="4" y="206"/>
                        </a:moveTo>
                        <a:lnTo>
                          <a:pt x="4" y="206"/>
                        </a:lnTo>
                        <a:lnTo>
                          <a:pt x="6" y="205"/>
                        </a:lnTo>
                        <a:lnTo>
                          <a:pt x="7" y="204"/>
                        </a:lnTo>
                        <a:lnTo>
                          <a:pt x="7" y="204"/>
                        </a:lnTo>
                        <a:lnTo>
                          <a:pt x="6" y="202"/>
                        </a:lnTo>
                        <a:lnTo>
                          <a:pt x="4" y="200"/>
                        </a:lnTo>
                        <a:lnTo>
                          <a:pt x="4" y="200"/>
                        </a:lnTo>
                        <a:lnTo>
                          <a:pt x="1" y="202"/>
                        </a:lnTo>
                        <a:lnTo>
                          <a:pt x="0" y="204"/>
                        </a:lnTo>
                        <a:lnTo>
                          <a:pt x="0" y="204"/>
                        </a:lnTo>
                        <a:lnTo>
                          <a:pt x="1" y="205"/>
                        </a:lnTo>
                        <a:lnTo>
                          <a:pt x="4" y="206"/>
                        </a:lnTo>
                        <a:lnTo>
                          <a:pt x="4" y="206"/>
                        </a:lnTo>
                        <a:close/>
                        <a:moveTo>
                          <a:pt x="131" y="206"/>
                        </a:moveTo>
                        <a:lnTo>
                          <a:pt x="163" y="206"/>
                        </a:lnTo>
                        <a:lnTo>
                          <a:pt x="163" y="206"/>
                        </a:lnTo>
                        <a:lnTo>
                          <a:pt x="164" y="205"/>
                        </a:lnTo>
                        <a:lnTo>
                          <a:pt x="165" y="204"/>
                        </a:lnTo>
                        <a:lnTo>
                          <a:pt x="165" y="204"/>
                        </a:lnTo>
                        <a:lnTo>
                          <a:pt x="165" y="204"/>
                        </a:lnTo>
                        <a:lnTo>
                          <a:pt x="164" y="202"/>
                        </a:lnTo>
                        <a:lnTo>
                          <a:pt x="163" y="200"/>
                        </a:lnTo>
                        <a:lnTo>
                          <a:pt x="131" y="200"/>
                        </a:lnTo>
                        <a:lnTo>
                          <a:pt x="131" y="200"/>
                        </a:lnTo>
                        <a:lnTo>
                          <a:pt x="129" y="202"/>
                        </a:lnTo>
                        <a:lnTo>
                          <a:pt x="128" y="204"/>
                        </a:lnTo>
                        <a:lnTo>
                          <a:pt x="128" y="204"/>
                        </a:lnTo>
                        <a:lnTo>
                          <a:pt x="128" y="204"/>
                        </a:lnTo>
                        <a:lnTo>
                          <a:pt x="129" y="205"/>
                        </a:lnTo>
                        <a:lnTo>
                          <a:pt x="131" y="206"/>
                        </a:lnTo>
                        <a:lnTo>
                          <a:pt x="131" y="206"/>
                        </a:lnTo>
                        <a:close/>
                        <a:moveTo>
                          <a:pt x="27" y="206"/>
                        </a:moveTo>
                        <a:lnTo>
                          <a:pt x="27" y="206"/>
                        </a:lnTo>
                        <a:lnTo>
                          <a:pt x="30" y="205"/>
                        </a:lnTo>
                        <a:lnTo>
                          <a:pt x="31" y="204"/>
                        </a:lnTo>
                        <a:lnTo>
                          <a:pt x="31" y="204"/>
                        </a:lnTo>
                        <a:lnTo>
                          <a:pt x="30" y="202"/>
                        </a:lnTo>
                        <a:lnTo>
                          <a:pt x="27" y="200"/>
                        </a:lnTo>
                        <a:lnTo>
                          <a:pt x="27" y="200"/>
                        </a:lnTo>
                        <a:lnTo>
                          <a:pt x="26" y="202"/>
                        </a:lnTo>
                        <a:lnTo>
                          <a:pt x="25" y="204"/>
                        </a:lnTo>
                        <a:lnTo>
                          <a:pt x="25" y="204"/>
                        </a:lnTo>
                        <a:lnTo>
                          <a:pt x="26" y="205"/>
                        </a:lnTo>
                        <a:lnTo>
                          <a:pt x="27" y="206"/>
                        </a:lnTo>
                        <a:lnTo>
                          <a:pt x="27" y="206"/>
                        </a:lnTo>
                        <a:close/>
                        <a:moveTo>
                          <a:pt x="52" y="206"/>
                        </a:moveTo>
                        <a:lnTo>
                          <a:pt x="52" y="206"/>
                        </a:lnTo>
                        <a:lnTo>
                          <a:pt x="54" y="205"/>
                        </a:lnTo>
                        <a:lnTo>
                          <a:pt x="56" y="204"/>
                        </a:lnTo>
                        <a:lnTo>
                          <a:pt x="56" y="204"/>
                        </a:lnTo>
                        <a:lnTo>
                          <a:pt x="54" y="202"/>
                        </a:lnTo>
                        <a:lnTo>
                          <a:pt x="52" y="200"/>
                        </a:lnTo>
                        <a:lnTo>
                          <a:pt x="52" y="200"/>
                        </a:lnTo>
                        <a:lnTo>
                          <a:pt x="50" y="202"/>
                        </a:lnTo>
                        <a:lnTo>
                          <a:pt x="49" y="204"/>
                        </a:lnTo>
                        <a:lnTo>
                          <a:pt x="49" y="204"/>
                        </a:lnTo>
                        <a:lnTo>
                          <a:pt x="50" y="205"/>
                        </a:lnTo>
                        <a:lnTo>
                          <a:pt x="52" y="206"/>
                        </a:lnTo>
                        <a:lnTo>
                          <a:pt x="52" y="206"/>
                        </a:lnTo>
                        <a:close/>
                        <a:moveTo>
                          <a:pt x="40" y="206"/>
                        </a:moveTo>
                        <a:lnTo>
                          <a:pt x="40" y="206"/>
                        </a:lnTo>
                        <a:lnTo>
                          <a:pt x="42" y="205"/>
                        </a:lnTo>
                        <a:lnTo>
                          <a:pt x="43" y="204"/>
                        </a:lnTo>
                        <a:lnTo>
                          <a:pt x="43" y="204"/>
                        </a:lnTo>
                        <a:lnTo>
                          <a:pt x="42" y="202"/>
                        </a:lnTo>
                        <a:lnTo>
                          <a:pt x="40" y="200"/>
                        </a:lnTo>
                        <a:lnTo>
                          <a:pt x="40" y="200"/>
                        </a:lnTo>
                        <a:lnTo>
                          <a:pt x="37" y="202"/>
                        </a:lnTo>
                        <a:lnTo>
                          <a:pt x="37" y="204"/>
                        </a:lnTo>
                        <a:lnTo>
                          <a:pt x="37" y="204"/>
                        </a:lnTo>
                        <a:lnTo>
                          <a:pt x="37" y="205"/>
                        </a:lnTo>
                        <a:lnTo>
                          <a:pt x="40" y="206"/>
                        </a:lnTo>
                        <a:lnTo>
                          <a:pt x="40" y="206"/>
                        </a:lnTo>
                        <a:close/>
                        <a:moveTo>
                          <a:pt x="163" y="250"/>
                        </a:moveTo>
                        <a:lnTo>
                          <a:pt x="131" y="250"/>
                        </a:lnTo>
                        <a:lnTo>
                          <a:pt x="131" y="250"/>
                        </a:lnTo>
                        <a:lnTo>
                          <a:pt x="129" y="251"/>
                        </a:lnTo>
                        <a:lnTo>
                          <a:pt x="129" y="254"/>
                        </a:lnTo>
                        <a:lnTo>
                          <a:pt x="129" y="254"/>
                        </a:lnTo>
                        <a:lnTo>
                          <a:pt x="129" y="254"/>
                        </a:lnTo>
                        <a:lnTo>
                          <a:pt x="129" y="255"/>
                        </a:lnTo>
                        <a:lnTo>
                          <a:pt x="131" y="256"/>
                        </a:lnTo>
                        <a:lnTo>
                          <a:pt x="163" y="256"/>
                        </a:lnTo>
                        <a:lnTo>
                          <a:pt x="163" y="256"/>
                        </a:lnTo>
                        <a:lnTo>
                          <a:pt x="165" y="255"/>
                        </a:lnTo>
                        <a:lnTo>
                          <a:pt x="165" y="254"/>
                        </a:lnTo>
                        <a:lnTo>
                          <a:pt x="165" y="254"/>
                        </a:lnTo>
                        <a:lnTo>
                          <a:pt x="165" y="254"/>
                        </a:lnTo>
                        <a:lnTo>
                          <a:pt x="165" y="251"/>
                        </a:lnTo>
                        <a:lnTo>
                          <a:pt x="163" y="250"/>
                        </a:lnTo>
                        <a:lnTo>
                          <a:pt x="163" y="250"/>
                        </a:lnTo>
                        <a:close/>
                        <a:moveTo>
                          <a:pt x="41" y="250"/>
                        </a:moveTo>
                        <a:lnTo>
                          <a:pt x="41" y="250"/>
                        </a:lnTo>
                        <a:lnTo>
                          <a:pt x="39" y="251"/>
                        </a:lnTo>
                        <a:lnTo>
                          <a:pt x="37" y="254"/>
                        </a:lnTo>
                        <a:lnTo>
                          <a:pt x="37" y="254"/>
                        </a:lnTo>
                        <a:lnTo>
                          <a:pt x="39" y="256"/>
                        </a:lnTo>
                        <a:lnTo>
                          <a:pt x="41" y="256"/>
                        </a:lnTo>
                        <a:lnTo>
                          <a:pt x="41" y="256"/>
                        </a:lnTo>
                        <a:lnTo>
                          <a:pt x="43" y="256"/>
                        </a:lnTo>
                        <a:lnTo>
                          <a:pt x="43" y="254"/>
                        </a:lnTo>
                        <a:lnTo>
                          <a:pt x="43" y="254"/>
                        </a:lnTo>
                        <a:lnTo>
                          <a:pt x="43" y="251"/>
                        </a:lnTo>
                        <a:lnTo>
                          <a:pt x="41" y="250"/>
                        </a:lnTo>
                        <a:lnTo>
                          <a:pt x="41" y="250"/>
                        </a:lnTo>
                        <a:close/>
                        <a:moveTo>
                          <a:pt x="52" y="250"/>
                        </a:moveTo>
                        <a:lnTo>
                          <a:pt x="52" y="250"/>
                        </a:lnTo>
                        <a:lnTo>
                          <a:pt x="51" y="251"/>
                        </a:lnTo>
                        <a:lnTo>
                          <a:pt x="50" y="254"/>
                        </a:lnTo>
                        <a:lnTo>
                          <a:pt x="50" y="254"/>
                        </a:lnTo>
                        <a:lnTo>
                          <a:pt x="51" y="256"/>
                        </a:lnTo>
                        <a:lnTo>
                          <a:pt x="52" y="256"/>
                        </a:lnTo>
                        <a:lnTo>
                          <a:pt x="52" y="256"/>
                        </a:lnTo>
                        <a:lnTo>
                          <a:pt x="54" y="256"/>
                        </a:lnTo>
                        <a:lnTo>
                          <a:pt x="56" y="254"/>
                        </a:lnTo>
                        <a:lnTo>
                          <a:pt x="56" y="254"/>
                        </a:lnTo>
                        <a:lnTo>
                          <a:pt x="54" y="251"/>
                        </a:lnTo>
                        <a:lnTo>
                          <a:pt x="52" y="250"/>
                        </a:lnTo>
                        <a:lnTo>
                          <a:pt x="52" y="250"/>
                        </a:lnTo>
                        <a:close/>
                        <a:moveTo>
                          <a:pt x="4" y="250"/>
                        </a:moveTo>
                        <a:lnTo>
                          <a:pt x="4" y="250"/>
                        </a:lnTo>
                        <a:lnTo>
                          <a:pt x="1" y="251"/>
                        </a:lnTo>
                        <a:lnTo>
                          <a:pt x="1" y="254"/>
                        </a:lnTo>
                        <a:lnTo>
                          <a:pt x="1" y="254"/>
                        </a:lnTo>
                        <a:lnTo>
                          <a:pt x="1" y="256"/>
                        </a:lnTo>
                        <a:lnTo>
                          <a:pt x="4" y="256"/>
                        </a:lnTo>
                        <a:lnTo>
                          <a:pt x="4" y="256"/>
                        </a:lnTo>
                        <a:lnTo>
                          <a:pt x="6" y="256"/>
                        </a:lnTo>
                        <a:lnTo>
                          <a:pt x="7" y="254"/>
                        </a:lnTo>
                        <a:lnTo>
                          <a:pt x="7" y="254"/>
                        </a:lnTo>
                        <a:lnTo>
                          <a:pt x="6" y="251"/>
                        </a:lnTo>
                        <a:lnTo>
                          <a:pt x="4" y="250"/>
                        </a:lnTo>
                        <a:lnTo>
                          <a:pt x="4" y="250"/>
                        </a:lnTo>
                        <a:close/>
                        <a:moveTo>
                          <a:pt x="28" y="250"/>
                        </a:moveTo>
                        <a:lnTo>
                          <a:pt x="28" y="250"/>
                        </a:lnTo>
                        <a:lnTo>
                          <a:pt x="26" y="251"/>
                        </a:lnTo>
                        <a:lnTo>
                          <a:pt x="25" y="254"/>
                        </a:lnTo>
                        <a:lnTo>
                          <a:pt x="25" y="254"/>
                        </a:lnTo>
                        <a:lnTo>
                          <a:pt x="26" y="256"/>
                        </a:lnTo>
                        <a:lnTo>
                          <a:pt x="28" y="256"/>
                        </a:lnTo>
                        <a:lnTo>
                          <a:pt x="28" y="256"/>
                        </a:lnTo>
                        <a:lnTo>
                          <a:pt x="31" y="256"/>
                        </a:lnTo>
                        <a:lnTo>
                          <a:pt x="32" y="254"/>
                        </a:lnTo>
                        <a:lnTo>
                          <a:pt x="32" y="254"/>
                        </a:lnTo>
                        <a:lnTo>
                          <a:pt x="31" y="251"/>
                        </a:lnTo>
                        <a:lnTo>
                          <a:pt x="28" y="250"/>
                        </a:lnTo>
                        <a:lnTo>
                          <a:pt x="28" y="250"/>
                        </a:lnTo>
                        <a:close/>
                        <a:moveTo>
                          <a:pt x="16" y="250"/>
                        </a:moveTo>
                        <a:lnTo>
                          <a:pt x="16" y="250"/>
                        </a:lnTo>
                        <a:lnTo>
                          <a:pt x="14" y="251"/>
                        </a:lnTo>
                        <a:lnTo>
                          <a:pt x="13" y="254"/>
                        </a:lnTo>
                        <a:lnTo>
                          <a:pt x="13" y="254"/>
                        </a:lnTo>
                        <a:lnTo>
                          <a:pt x="14" y="256"/>
                        </a:lnTo>
                        <a:lnTo>
                          <a:pt x="16" y="256"/>
                        </a:lnTo>
                        <a:lnTo>
                          <a:pt x="16" y="256"/>
                        </a:lnTo>
                        <a:lnTo>
                          <a:pt x="18" y="256"/>
                        </a:lnTo>
                        <a:lnTo>
                          <a:pt x="19" y="254"/>
                        </a:lnTo>
                        <a:lnTo>
                          <a:pt x="19" y="254"/>
                        </a:lnTo>
                        <a:lnTo>
                          <a:pt x="18" y="251"/>
                        </a:lnTo>
                        <a:lnTo>
                          <a:pt x="16" y="250"/>
                        </a:lnTo>
                        <a:lnTo>
                          <a:pt x="16" y="250"/>
                        </a:lnTo>
                        <a:close/>
                        <a:moveTo>
                          <a:pt x="163" y="301"/>
                        </a:moveTo>
                        <a:lnTo>
                          <a:pt x="131" y="301"/>
                        </a:lnTo>
                        <a:lnTo>
                          <a:pt x="131" y="301"/>
                        </a:lnTo>
                        <a:lnTo>
                          <a:pt x="129" y="301"/>
                        </a:lnTo>
                        <a:lnTo>
                          <a:pt x="129" y="303"/>
                        </a:lnTo>
                        <a:lnTo>
                          <a:pt x="129" y="303"/>
                        </a:lnTo>
                        <a:lnTo>
                          <a:pt x="129" y="303"/>
                        </a:lnTo>
                        <a:lnTo>
                          <a:pt x="129" y="306"/>
                        </a:lnTo>
                        <a:lnTo>
                          <a:pt x="131" y="306"/>
                        </a:lnTo>
                        <a:lnTo>
                          <a:pt x="163" y="306"/>
                        </a:lnTo>
                        <a:lnTo>
                          <a:pt x="163" y="306"/>
                        </a:lnTo>
                        <a:lnTo>
                          <a:pt x="165" y="306"/>
                        </a:lnTo>
                        <a:lnTo>
                          <a:pt x="165" y="303"/>
                        </a:lnTo>
                        <a:lnTo>
                          <a:pt x="165" y="303"/>
                        </a:lnTo>
                        <a:lnTo>
                          <a:pt x="165" y="303"/>
                        </a:lnTo>
                        <a:lnTo>
                          <a:pt x="165" y="301"/>
                        </a:lnTo>
                        <a:lnTo>
                          <a:pt x="163" y="301"/>
                        </a:lnTo>
                        <a:lnTo>
                          <a:pt x="163" y="301"/>
                        </a:lnTo>
                        <a:close/>
                        <a:moveTo>
                          <a:pt x="16" y="300"/>
                        </a:moveTo>
                        <a:lnTo>
                          <a:pt x="16" y="300"/>
                        </a:lnTo>
                        <a:lnTo>
                          <a:pt x="14" y="301"/>
                        </a:lnTo>
                        <a:lnTo>
                          <a:pt x="13" y="303"/>
                        </a:lnTo>
                        <a:lnTo>
                          <a:pt x="13" y="303"/>
                        </a:lnTo>
                        <a:lnTo>
                          <a:pt x="14" y="306"/>
                        </a:lnTo>
                        <a:lnTo>
                          <a:pt x="16" y="307"/>
                        </a:lnTo>
                        <a:lnTo>
                          <a:pt x="16" y="307"/>
                        </a:lnTo>
                        <a:lnTo>
                          <a:pt x="18" y="306"/>
                        </a:lnTo>
                        <a:lnTo>
                          <a:pt x="19" y="303"/>
                        </a:lnTo>
                        <a:lnTo>
                          <a:pt x="19" y="303"/>
                        </a:lnTo>
                        <a:lnTo>
                          <a:pt x="18" y="301"/>
                        </a:lnTo>
                        <a:lnTo>
                          <a:pt x="16" y="300"/>
                        </a:lnTo>
                        <a:lnTo>
                          <a:pt x="16" y="300"/>
                        </a:lnTo>
                        <a:close/>
                        <a:moveTo>
                          <a:pt x="52" y="300"/>
                        </a:moveTo>
                        <a:lnTo>
                          <a:pt x="52" y="300"/>
                        </a:lnTo>
                        <a:lnTo>
                          <a:pt x="51" y="301"/>
                        </a:lnTo>
                        <a:lnTo>
                          <a:pt x="50" y="303"/>
                        </a:lnTo>
                        <a:lnTo>
                          <a:pt x="50" y="303"/>
                        </a:lnTo>
                        <a:lnTo>
                          <a:pt x="51" y="306"/>
                        </a:lnTo>
                        <a:lnTo>
                          <a:pt x="52" y="307"/>
                        </a:lnTo>
                        <a:lnTo>
                          <a:pt x="52" y="307"/>
                        </a:lnTo>
                        <a:lnTo>
                          <a:pt x="54" y="306"/>
                        </a:lnTo>
                        <a:lnTo>
                          <a:pt x="56" y="303"/>
                        </a:lnTo>
                        <a:lnTo>
                          <a:pt x="56" y="303"/>
                        </a:lnTo>
                        <a:lnTo>
                          <a:pt x="54" y="301"/>
                        </a:lnTo>
                        <a:lnTo>
                          <a:pt x="52" y="300"/>
                        </a:lnTo>
                        <a:lnTo>
                          <a:pt x="52" y="300"/>
                        </a:lnTo>
                        <a:close/>
                        <a:moveTo>
                          <a:pt x="4" y="300"/>
                        </a:moveTo>
                        <a:lnTo>
                          <a:pt x="4" y="300"/>
                        </a:lnTo>
                        <a:lnTo>
                          <a:pt x="1" y="301"/>
                        </a:lnTo>
                        <a:lnTo>
                          <a:pt x="1" y="303"/>
                        </a:lnTo>
                        <a:lnTo>
                          <a:pt x="1" y="303"/>
                        </a:lnTo>
                        <a:lnTo>
                          <a:pt x="1" y="306"/>
                        </a:lnTo>
                        <a:lnTo>
                          <a:pt x="4" y="307"/>
                        </a:lnTo>
                        <a:lnTo>
                          <a:pt x="4" y="307"/>
                        </a:lnTo>
                        <a:lnTo>
                          <a:pt x="6" y="306"/>
                        </a:lnTo>
                        <a:lnTo>
                          <a:pt x="7" y="303"/>
                        </a:lnTo>
                        <a:lnTo>
                          <a:pt x="7" y="303"/>
                        </a:lnTo>
                        <a:lnTo>
                          <a:pt x="6" y="301"/>
                        </a:lnTo>
                        <a:lnTo>
                          <a:pt x="4" y="300"/>
                        </a:lnTo>
                        <a:lnTo>
                          <a:pt x="4" y="300"/>
                        </a:lnTo>
                        <a:close/>
                        <a:moveTo>
                          <a:pt x="41" y="300"/>
                        </a:moveTo>
                        <a:lnTo>
                          <a:pt x="41" y="300"/>
                        </a:lnTo>
                        <a:lnTo>
                          <a:pt x="39" y="301"/>
                        </a:lnTo>
                        <a:lnTo>
                          <a:pt x="37" y="303"/>
                        </a:lnTo>
                        <a:lnTo>
                          <a:pt x="37" y="303"/>
                        </a:lnTo>
                        <a:lnTo>
                          <a:pt x="39" y="306"/>
                        </a:lnTo>
                        <a:lnTo>
                          <a:pt x="41" y="307"/>
                        </a:lnTo>
                        <a:lnTo>
                          <a:pt x="41" y="307"/>
                        </a:lnTo>
                        <a:lnTo>
                          <a:pt x="43" y="306"/>
                        </a:lnTo>
                        <a:lnTo>
                          <a:pt x="43" y="303"/>
                        </a:lnTo>
                        <a:lnTo>
                          <a:pt x="43" y="303"/>
                        </a:lnTo>
                        <a:lnTo>
                          <a:pt x="43" y="301"/>
                        </a:lnTo>
                        <a:lnTo>
                          <a:pt x="41" y="300"/>
                        </a:lnTo>
                        <a:lnTo>
                          <a:pt x="41" y="300"/>
                        </a:lnTo>
                        <a:close/>
                        <a:moveTo>
                          <a:pt x="28" y="300"/>
                        </a:moveTo>
                        <a:lnTo>
                          <a:pt x="28" y="300"/>
                        </a:lnTo>
                        <a:lnTo>
                          <a:pt x="26" y="301"/>
                        </a:lnTo>
                        <a:lnTo>
                          <a:pt x="25" y="303"/>
                        </a:lnTo>
                        <a:lnTo>
                          <a:pt x="25" y="303"/>
                        </a:lnTo>
                        <a:lnTo>
                          <a:pt x="26" y="306"/>
                        </a:lnTo>
                        <a:lnTo>
                          <a:pt x="28" y="307"/>
                        </a:lnTo>
                        <a:lnTo>
                          <a:pt x="28" y="307"/>
                        </a:lnTo>
                        <a:lnTo>
                          <a:pt x="31" y="306"/>
                        </a:lnTo>
                        <a:lnTo>
                          <a:pt x="32" y="303"/>
                        </a:lnTo>
                        <a:lnTo>
                          <a:pt x="32" y="303"/>
                        </a:lnTo>
                        <a:lnTo>
                          <a:pt x="31" y="301"/>
                        </a:lnTo>
                        <a:lnTo>
                          <a:pt x="28" y="300"/>
                        </a:lnTo>
                        <a:lnTo>
                          <a:pt x="28" y="300"/>
                        </a:lnTo>
                        <a:close/>
                      </a:path>
                    </a:pathLst>
                  </a:custGeom>
                  <a:solidFill>
                    <a:srgbClr val="9F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8" rIns="68556" bIns="34278" numCol="1" anchor="t" anchorCtr="0" compatLnSpc="1">
                    <a:prstTxWarp prst="textNoShape">
                      <a:avLst/>
                    </a:prstTxWarp>
                  </a:bodyPr>
                  <a:lstStyle/>
                  <a:p>
                    <a:pPr defTabSz="658864">
                      <a:buClr>
                        <a:srgbClr val="CC9900"/>
                      </a:buClr>
                      <a:buFont typeface="Wingdings" pitchFamily="2" charset="2"/>
                      <a:buChar char="n"/>
                    </a:pPr>
                    <a:endParaRPr lang="zh-CN" altLang="en-US" sz="750" b="1" dirty="0">
                      <a:solidFill>
                        <a:prstClr val="white"/>
                      </a:solidFill>
                      <a:latin typeface="FrutigerNext LT Medium" panose="020B0603040504020204" pitchFamily="34" charset="0"/>
                      <a:cs typeface="Arial" pitchFamily="34" charset="0"/>
                    </a:endParaRPr>
                  </a:p>
                </p:txBody>
              </p:sp>
              <p:sp>
                <p:nvSpPr>
                  <p:cNvPr id="57" name="Freeform 90"/>
                  <p:cNvSpPr>
                    <a:spLocks noEditPoints="1"/>
                  </p:cNvSpPr>
                  <p:nvPr/>
                </p:nvSpPr>
                <p:spPr bwMode="auto">
                  <a:xfrm>
                    <a:off x="805572" y="2389322"/>
                    <a:ext cx="360363" cy="876300"/>
                  </a:xfrm>
                  <a:custGeom>
                    <a:avLst/>
                    <a:gdLst>
                      <a:gd name="T0" fmla="*/ 226 w 227"/>
                      <a:gd name="T1" fmla="*/ 2 h 552"/>
                      <a:gd name="T2" fmla="*/ 225 w 227"/>
                      <a:gd name="T3" fmla="*/ 1 h 552"/>
                      <a:gd name="T4" fmla="*/ 3 w 227"/>
                      <a:gd name="T5" fmla="*/ 0 h 552"/>
                      <a:gd name="T6" fmla="*/ 1 w 227"/>
                      <a:gd name="T7" fmla="*/ 1 h 552"/>
                      <a:gd name="T8" fmla="*/ 0 w 227"/>
                      <a:gd name="T9" fmla="*/ 3 h 552"/>
                      <a:gd name="T10" fmla="*/ 0 w 227"/>
                      <a:gd name="T11" fmla="*/ 549 h 552"/>
                      <a:gd name="T12" fmla="*/ 1 w 227"/>
                      <a:gd name="T13" fmla="*/ 551 h 552"/>
                      <a:gd name="T14" fmla="*/ 3 w 227"/>
                      <a:gd name="T15" fmla="*/ 552 h 552"/>
                      <a:gd name="T16" fmla="*/ 224 w 227"/>
                      <a:gd name="T17" fmla="*/ 552 h 552"/>
                      <a:gd name="T18" fmla="*/ 226 w 227"/>
                      <a:gd name="T19" fmla="*/ 551 h 552"/>
                      <a:gd name="T20" fmla="*/ 227 w 227"/>
                      <a:gd name="T21" fmla="*/ 549 h 552"/>
                      <a:gd name="T22" fmla="*/ 23 w 227"/>
                      <a:gd name="T23" fmla="*/ 528 h 552"/>
                      <a:gd name="T24" fmla="*/ 203 w 227"/>
                      <a:gd name="T25" fmla="*/ 520 h 552"/>
                      <a:gd name="T26" fmla="*/ 203 w 227"/>
                      <a:gd name="T27" fmla="*/ 528 h 552"/>
                      <a:gd name="T28" fmla="*/ 20 w 227"/>
                      <a:gd name="T29" fmla="*/ 507 h 552"/>
                      <a:gd name="T30" fmla="*/ 206 w 227"/>
                      <a:gd name="T31" fmla="*/ 503 h 552"/>
                      <a:gd name="T32" fmla="*/ 203 w 227"/>
                      <a:gd name="T33" fmla="*/ 493 h 552"/>
                      <a:gd name="T34" fmla="*/ 21 w 227"/>
                      <a:gd name="T35" fmla="*/ 485 h 552"/>
                      <a:gd name="T36" fmla="*/ 207 w 227"/>
                      <a:gd name="T37" fmla="*/ 489 h 552"/>
                      <a:gd name="T38" fmla="*/ 92 w 227"/>
                      <a:gd name="T39" fmla="*/ 429 h 552"/>
                      <a:gd name="T40" fmla="*/ 109 w 227"/>
                      <a:gd name="T41" fmla="*/ 413 h 552"/>
                      <a:gd name="T42" fmla="*/ 127 w 227"/>
                      <a:gd name="T43" fmla="*/ 418 h 552"/>
                      <a:gd name="T44" fmla="*/ 134 w 227"/>
                      <a:gd name="T45" fmla="*/ 437 h 552"/>
                      <a:gd name="T46" fmla="*/ 117 w 227"/>
                      <a:gd name="T47" fmla="*/ 454 h 552"/>
                      <a:gd name="T48" fmla="*/ 98 w 227"/>
                      <a:gd name="T49" fmla="*/ 448 h 552"/>
                      <a:gd name="T50" fmla="*/ 210 w 227"/>
                      <a:gd name="T51" fmla="*/ 361 h 552"/>
                      <a:gd name="T52" fmla="*/ 23 w 227"/>
                      <a:gd name="T53" fmla="*/ 368 h 552"/>
                      <a:gd name="T54" fmla="*/ 17 w 227"/>
                      <a:gd name="T55" fmla="*/ 336 h 552"/>
                      <a:gd name="T56" fmla="*/ 203 w 227"/>
                      <a:gd name="T57" fmla="*/ 329 h 552"/>
                      <a:gd name="T58" fmla="*/ 210 w 227"/>
                      <a:gd name="T59" fmla="*/ 361 h 552"/>
                      <a:gd name="T60" fmla="*/ 203 w 227"/>
                      <a:gd name="T61" fmla="*/ 317 h 552"/>
                      <a:gd name="T62" fmla="*/ 17 w 227"/>
                      <a:gd name="T63" fmla="*/ 311 h 552"/>
                      <a:gd name="T64" fmla="*/ 23 w 227"/>
                      <a:gd name="T65" fmla="*/ 279 h 552"/>
                      <a:gd name="T66" fmla="*/ 210 w 227"/>
                      <a:gd name="T67" fmla="*/ 286 h 552"/>
                      <a:gd name="T68" fmla="*/ 206 w 227"/>
                      <a:gd name="T69" fmla="*/ 267 h 552"/>
                      <a:gd name="T70" fmla="*/ 17 w 227"/>
                      <a:gd name="T71" fmla="*/ 263 h 552"/>
                      <a:gd name="T72" fmla="*/ 20 w 227"/>
                      <a:gd name="T73" fmla="*/ 229 h 552"/>
                      <a:gd name="T74" fmla="*/ 209 w 227"/>
                      <a:gd name="T75" fmla="*/ 233 h 552"/>
                      <a:gd name="T76" fmla="*/ 208 w 227"/>
                      <a:gd name="T77" fmla="*/ 215 h 552"/>
                      <a:gd name="T78" fmla="*/ 19 w 227"/>
                      <a:gd name="T79" fmla="*/ 215 h 552"/>
                      <a:gd name="T80" fmla="*/ 19 w 227"/>
                      <a:gd name="T81" fmla="*/ 181 h 552"/>
                      <a:gd name="T82" fmla="*/ 208 w 227"/>
                      <a:gd name="T83" fmla="*/ 181 h 552"/>
                      <a:gd name="T84" fmla="*/ 209 w 227"/>
                      <a:gd name="T85" fmla="*/ 163 h 552"/>
                      <a:gd name="T86" fmla="*/ 20 w 227"/>
                      <a:gd name="T87" fmla="*/ 166 h 552"/>
                      <a:gd name="T88" fmla="*/ 17 w 227"/>
                      <a:gd name="T89" fmla="*/ 133 h 552"/>
                      <a:gd name="T90" fmla="*/ 206 w 227"/>
                      <a:gd name="T91" fmla="*/ 130 h 552"/>
                      <a:gd name="T92" fmla="*/ 210 w 227"/>
                      <a:gd name="T93" fmla="*/ 111 h 552"/>
                      <a:gd name="T94" fmla="*/ 23 w 227"/>
                      <a:gd name="T95" fmla="*/ 116 h 552"/>
                      <a:gd name="T96" fmla="*/ 17 w 227"/>
                      <a:gd name="T97" fmla="*/ 86 h 552"/>
                      <a:gd name="T98" fmla="*/ 203 w 227"/>
                      <a:gd name="T99" fmla="*/ 79 h 552"/>
                      <a:gd name="T100" fmla="*/ 210 w 227"/>
                      <a:gd name="T101" fmla="*/ 61 h 552"/>
                      <a:gd name="T102" fmla="*/ 23 w 227"/>
                      <a:gd name="T103" fmla="*/ 66 h 552"/>
                      <a:gd name="T104" fmla="*/ 17 w 227"/>
                      <a:gd name="T105" fmla="*/ 36 h 552"/>
                      <a:gd name="T106" fmla="*/ 203 w 227"/>
                      <a:gd name="T107" fmla="*/ 29 h 552"/>
                      <a:gd name="T108" fmla="*/ 210 w 227"/>
                      <a:gd name="T109" fmla="*/ 61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7" h="552">
                        <a:moveTo>
                          <a:pt x="227" y="4"/>
                        </a:moveTo>
                        <a:lnTo>
                          <a:pt x="227" y="4"/>
                        </a:lnTo>
                        <a:lnTo>
                          <a:pt x="227" y="3"/>
                        </a:lnTo>
                        <a:lnTo>
                          <a:pt x="227" y="3"/>
                        </a:lnTo>
                        <a:lnTo>
                          <a:pt x="227" y="3"/>
                        </a:lnTo>
                        <a:lnTo>
                          <a:pt x="226" y="2"/>
                        </a:lnTo>
                        <a:lnTo>
                          <a:pt x="226" y="2"/>
                        </a:lnTo>
                        <a:lnTo>
                          <a:pt x="226" y="2"/>
                        </a:lnTo>
                        <a:lnTo>
                          <a:pt x="226" y="1"/>
                        </a:lnTo>
                        <a:lnTo>
                          <a:pt x="225" y="1"/>
                        </a:lnTo>
                        <a:lnTo>
                          <a:pt x="225" y="1"/>
                        </a:lnTo>
                        <a:lnTo>
                          <a:pt x="225" y="1"/>
                        </a:lnTo>
                        <a:lnTo>
                          <a:pt x="224" y="1"/>
                        </a:lnTo>
                        <a:lnTo>
                          <a:pt x="224" y="0"/>
                        </a:lnTo>
                        <a:lnTo>
                          <a:pt x="223" y="0"/>
                        </a:lnTo>
                        <a:lnTo>
                          <a:pt x="223" y="0"/>
                        </a:lnTo>
                        <a:lnTo>
                          <a:pt x="4" y="0"/>
                        </a:lnTo>
                        <a:lnTo>
                          <a:pt x="3" y="0"/>
                        </a:lnTo>
                        <a:lnTo>
                          <a:pt x="3" y="0"/>
                        </a:lnTo>
                        <a:lnTo>
                          <a:pt x="3" y="1"/>
                        </a:lnTo>
                        <a:lnTo>
                          <a:pt x="2" y="1"/>
                        </a:lnTo>
                        <a:lnTo>
                          <a:pt x="2" y="1"/>
                        </a:lnTo>
                        <a:lnTo>
                          <a:pt x="1" y="1"/>
                        </a:lnTo>
                        <a:lnTo>
                          <a:pt x="1" y="1"/>
                        </a:lnTo>
                        <a:lnTo>
                          <a:pt x="1" y="2"/>
                        </a:lnTo>
                        <a:lnTo>
                          <a:pt x="1" y="2"/>
                        </a:lnTo>
                        <a:lnTo>
                          <a:pt x="0" y="2"/>
                        </a:lnTo>
                        <a:lnTo>
                          <a:pt x="0" y="3"/>
                        </a:lnTo>
                        <a:lnTo>
                          <a:pt x="0" y="3"/>
                        </a:lnTo>
                        <a:lnTo>
                          <a:pt x="0" y="3"/>
                        </a:lnTo>
                        <a:lnTo>
                          <a:pt x="0" y="4"/>
                        </a:lnTo>
                        <a:lnTo>
                          <a:pt x="0" y="4"/>
                        </a:lnTo>
                        <a:lnTo>
                          <a:pt x="0" y="5"/>
                        </a:lnTo>
                        <a:lnTo>
                          <a:pt x="0" y="547"/>
                        </a:lnTo>
                        <a:lnTo>
                          <a:pt x="0" y="549"/>
                        </a:lnTo>
                        <a:lnTo>
                          <a:pt x="0" y="549"/>
                        </a:lnTo>
                        <a:lnTo>
                          <a:pt x="0" y="550"/>
                        </a:lnTo>
                        <a:lnTo>
                          <a:pt x="0" y="550"/>
                        </a:lnTo>
                        <a:lnTo>
                          <a:pt x="0" y="550"/>
                        </a:lnTo>
                        <a:lnTo>
                          <a:pt x="0" y="551"/>
                        </a:lnTo>
                        <a:lnTo>
                          <a:pt x="1" y="551"/>
                        </a:lnTo>
                        <a:lnTo>
                          <a:pt x="1" y="551"/>
                        </a:lnTo>
                        <a:lnTo>
                          <a:pt x="1" y="552"/>
                        </a:lnTo>
                        <a:lnTo>
                          <a:pt x="1" y="552"/>
                        </a:lnTo>
                        <a:lnTo>
                          <a:pt x="2" y="552"/>
                        </a:lnTo>
                        <a:lnTo>
                          <a:pt x="2" y="552"/>
                        </a:lnTo>
                        <a:lnTo>
                          <a:pt x="3" y="552"/>
                        </a:lnTo>
                        <a:lnTo>
                          <a:pt x="3" y="552"/>
                        </a:lnTo>
                        <a:lnTo>
                          <a:pt x="3" y="552"/>
                        </a:lnTo>
                        <a:lnTo>
                          <a:pt x="4" y="552"/>
                        </a:lnTo>
                        <a:lnTo>
                          <a:pt x="223" y="552"/>
                        </a:lnTo>
                        <a:lnTo>
                          <a:pt x="223" y="552"/>
                        </a:lnTo>
                        <a:lnTo>
                          <a:pt x="224" y="552"/>
                        </a:lnTo>
                        <a:lnTo>
                          <a:pt x="224" y="552"/>
                        </a:lnTo>
                        <a:lnTo>
                          <a:pt x="225" y="552"/>
                        </a:lnTo>
                        <a:lnTo>
                          <a:pt x="225" y="552"/>
                        </a:lnTo>
                        <a:lnTo>
                          <a:pt x="225" y="552"/>
                        </a:lnTo>
                        <a:lnTo>
                          <a:pt x="226" y="552"/>
                        </a:lnTo>
                        <a:lnTo>
                          <a:pt x="226" y="551"/>
                        </a:lnTo>
                        <a:lnTo>
                          <a:pt x="226" y="551"/>
                        </a:lnTo>
                        <a:lnTo>
                          <a:pt x="226" y="551"/>
                        </a:lnTo>
                        <a:lnTo>
                          <a:pt x="227" y="550"/>
                        </a:lnTo>
                        <a:lnTo>
                          <a:pt x="227" y="550"/>
                        </a:lnTo>
                        <a:lnTo>
                          <a:pt x="227" y="550"/>
                        </a:lnTo>
                        <a:lnTo>
                          <a:pt x="227" y="549"/>
                        </a:lnTo>
                        <a:lnTo>
                          <a:pt x="227" y="549"/>
                        </a:lnTo>
                        <a:lnTo>
                          <a:pt x="227" y="547"/>
                        </a:lnTo>
                        <a:lnTo>
                          <a:pt x="227" y="5"/>
                        </a:lnTo>
                        <a:lnTo>
                          <a:pt x="227" y="4"/>
                        </a:lnTo>
                        <a:close/>
                        <a:moveTo>
                          <a:pt x="203" y="528"/>
                        </a:moveTo>
                        <a:lnTo>
                          <a:pt x="23" y="528"/>
                        </a:lnTo>
                        <a:lnTo>
                          <a:pt x="23" y="528"/>
                        </a:lnTo>
                        <a:lnTo>
                          <a:pt x="21" y="527"/>
                        </a:lnTo>
                        <a:lnTo>
                          <a:pt x="20" y="525"/>
                        </a:lnTo>
                        <a:lnTo>
                          <a:pt x="20" y="525"/>
                        </a:lnTo>
                        <a:lnTo>
                          <a:pt x="21" y="521"/>
                        </a:lnTo>
                        <a:lnTo>
                          <a:pt x="23" y="520"/>
                        </a:lnTo>
                        <a:lnTo>
                          <a:pt x="203" y="520"/>
                        </a:lnTo>
                        <a:lnTo>
                          <a:pt x="203" y="520"/>
                        </a:lnTo>
                        <a:lnTo>
                          <a:pt x="206" y="521"/>
                        </a:lnTo>
                        <a:lnTo>
                          <a:pt x="207" y="525"/>
                        </a:lnTo>
                        <a:lnTo>
                          <a:pt x="207" y="525"/>
                        </a:lnTo>
                        <a:lnTo>
                          <a:pt x="206" y="527"/>
                        </a:lnTo>
                        <a:lnTo>
                          <a:pt x="203" y="528"/>
                        </a:lnTo>
                        <a:lnTo>
                          <a:pt x="203" y="528"/>
                        </a:lnTo>
                        <a:close/>
                        <a:moveTo>
                          <a:pt x="203" y="511"/>
                        </a:moveTo>
                        <a:lnTo>
                          <a:pt x="23" y="511"/>
                        </a:lnTo>
                        <a:lnTo>
                          <a:pt x="23" y="511"/>
                        </a:lnTo>
                        <a:lnTo>
                          <a:pt x="21" y="509"/>
                        </a:lnTo>
                        <a:lnTo>
                          <a:pt x="20" y="507"/>
                        </a:lnTo>
                        <a:lnTo>
                          <a:pt x="20" y="507"/>
                        </a:lnTo>
                        <a:lnTo>
                          <a:pt x="21" y="503"/>
                        </a:lnTo>
                        <a:lnTo>
                          <a:pt x="23" y="502"/>
                        </a:lnTo>
                        <a:lnTo>
                          <a:pt x="203" y="502"/>
                        </a:lnTo>
                        <a:lnTo>
                          <a:pt x="203" y="502"/>
                        </a:lnTo>
                        <a:lnTo>
                          <a:pt x="206" y="503"/>
                        </a:lnTo>
                        <a:lnTo>
                          <a:pt x="207" y="507"/>
                        </a:lnTo>
                        <a:lnTo>
                          <a:pt x="207" y="507"/>
                        </a:lnTo>
                        <a:lnTo>
                          <a:pt x="206" y="509"/>
                        </a:lnTo>
                        <a:lnTo>
                          <a:pt x="203" y="511"/>
                        </a:lnTo>
                        <a:lnTo>
                          <a:pt x="203" y="511"/>
                        </a:lnTo>
                        <a:close/>
                        <a:moveTo>
                          <a:pt x="203" y="493"/>
                        </a:moveTo>
                        <a:lnTo>
                          <a:pt x="23" y="493"/>
                        </a:lnTo>
                        <a:lnTo>
                          <a:pt x="23" y="493"/>
                        </a:lnTo>
                        <a:lnTo>
                          <a:pt x="21" y="492"/>
                        </a:lnTo>
                        <a:lnTo>
                          <a:pt x="20" y="489"/>
                        </a:lnTo>
                        <a:lnTo>
                          <a:pt x="20" y="489"/>
                        </a:lnTo>
                        <a:lnTo>
                          <a:pt x="21" y="485"/>
                        </a:lnTo>
                        <a:lnTo>
                          <a:pt x="23" y="484"/>
                        </a:lnTo>
                        <a:lnTo>
                          <a:pt x="203" y="484"/>
                        </a:lnTo>
                        <a:lnTo>
                          <a:pt x="203" y="484"/>
                        </a:lnTo>
                        <a:lnTo>
                          <a:pt x="206" y="485"/>
                        </a:lnTo>
                        <a:lnTo>
                          <a:pt x="207" y="489"/>
                        </a:lnTo>
                        <a:lnTo>
                          <a:pt x="207" y="489"/>
                        </a:lnTo>
                        <a:lnTo>
                          <a:pt x="206" y="492"/>
                        </a:lnTo>
                        <a:lnTo>
                          <a:pt x="203" y="493"/>
                        </a:lnTo>
                        <a:lnTo>
                          <a:pt x="203" y="493"/>
                        </a:lnTo>
                        <a:close/>
                        <a:moveTo>
                          <a:pt x="92" y="433"/>
                        </a:moveTo>
                        <a:lnTo>
                          <a:pt x="92" y="433"/>
                        </a:lnTo>
                        <a:lnTo>
                          <a:pt x="92" y="429"/>
                        </a:lnTo>
                        <a:lnTo>
                          <a:pt x="94" y="425"/>
                        </a:lnTo>
                        <a:lnTo>
                          <a:pt x="96" y="421"/>
                        </a:lnTo>
                        <a:lnTo>
                          <a:pt x="98" y="418"/>
                        </a:lnTo>
                        <a:lnTo>
                          <a:pt x="101" y="415"/>
                        </a:lnTo>
                        <a:lnTo>
                          <a:pt x="105" y="414"/>
                        </a:lnTo>
                        <a:lnTo>
                          <a:pt x="109" y="413"/>
                        </a:lnTo>
                        <a:lnTo>
                          <a:pt x="113" y="412"/>
                        </a:lnTo>
                        <a:lnTo>
                          <a:pt x="113" y="412"/>
                        </a:lnTo>
                        <a:lnTo>
                          <a:pt x="117" y="413"/>
                        </a:lnTo>
                        <a:lnTo>
                          <a:pt x="122" y="414"/>
                        </a:lnTo>
                        <a:lnTo>
                          <a:pt x="125" y="415"/>
                        </a:lnTo>
                        <a:lnTo>
                          <a:pt x="127" y="418"/>
                        </a:lnTo>
                        <a:lnTo>
                          <a:pt x="131" y="421"/>
                        </a:lnTo>
                        <a:lnTo>
                          <a:pt x="132" y="425"/>
                        </a:lnTo>
                        <a:lnTo>
                          <a:pt x="134" y="429"/>
                        </a:lnTo>
                        <a:lnTo>
                          <a:pt x="134" y="433"/>
                        </a:lnTo>
                        <a:lnTo>
                          <a:pt x="134" y="433"/>
                        </a:lnTo>
                        <a:lnTo>
                          <a:pt x="134" y="437"/>
                        </a:lnTo>
                        <a:lnTo>
                          <a:pt x="132" y="441"/>
                        </a:lnTo>
                        <a:lnTo>
                          <a:pt x="131" y="444"/>
                        </a:lnTo>
                        <a:lnTo>
                          <a:pt x="127" y="448"/>
                        </a:lnTo>
                        <a:lnTo>
                          <a:pt x="125" y="450"/>
                        </a:lnTo>
                        <a:lnTo>
                          <a:pt x="122" y="452"/>
                        </a:lnTo>
                        <a:lnTo>
                          <a:pt x="117" y="454"/>
                        </a:lnTo>
                        <a:lnTo>
                          <a:pt x="113" y="454"/>
                        </a:lnTo>
                        <a:lnTo>
                          <a:pt x="113" y="454"/>
                        </a:lnTo>
                        <a:lnTo>
                          <a:pt x="109" y="454"/>
                        </a:lnTo>
                        <a:lnTo>
                          <a:pt x="105" y="452"/>
                        </a:lnTo>
                        <a:lnTo>
                          <a:pt x="101" y="450"/>
                        </a:lnTo>
                        <a:lnTo>
                          <a:pt x="98" y="448"/>
                        </a:lnTo>
                        <a:lnTo>
                          <a:pt x="96" y="444"/>
                        </a:lnTo>
                        <a:lnTo>
                          <a:pt x="94" y="441"/>
                        </a:lnTo>
                        <a:lnTo>
                          <a:pt x="92" y="437"/>
                        </a:lnTo>
                        <a:lnTo>
                          <a:pt x="92" y="433"/>
                        </a:lnTo>
                        <a:lnTo>
                          <a:pt x="92" y="433"/>
                        </a:lnTo>
                        <a:close/>
                        <a:moveTo>
                          <a:pt x="210" y="361"/>
                        </a:moveTo>
                        <a:lnTo>
                          <a:pt x="210" y="361"/>
                        </a:lnTo>
                        <a:lnTo>
                          <a:pt x="209" y="363"/>
                        </a:lnTo>
                        <a:lnTo>
                          <a:pt x="208" y="365"/>
                        </a:lnTo>
                        <a:lnTo>
                          <a:pt x="206" y="366"/>
                        </a:lnTo>
                        <a:lnTo>
                          <a:pt x="203" y="368"/>
                        </a:lnTo>
                        <a:lnTo>
                          <a:pt x="23" y="368"/>
                        </a:lnTo>
                        <a:lnTo>
                          <a:pt x="23" y="368"/>
                        </a:lnTo>
                        <a:lnTo>
                          <a:pt x="20" y="366"/>
                        </a:lnTo>
                        <a:lnTo>
                          <a:pt x="19" y="365"/>
                        </a:lnTo>
                        <a:lnTo>
                          <a:pt x="17" y="363"/>
                        </a:lnTo>
                        <a:lnTo>
                          <a:pt x="17" y="361"/>
                        </a:lnTo>
                        <a:lnTo>
                          <a:pt x="17" y="336"/>
                        </a:lnTo>
                        <a:lnTo>
                          <a:pt x="17" y="336"/>
                        </a:lnTo>
                        <a:lnTo>
                          <a:pt x="17" y="334"/>
                        </a:lnTo>
                        <a:lnTo>
                          <a:pt x="19" y="331"/>
                        </a:lnTo>
                        <a:lnTo>
                          <a:pt x="20" y="330"/>
                        </a:lnTo>
                        <a:lnTo>
                          <a:pt x="23" y="329"/>
                        </a:lnTo>
                        <a:lnTo>
                          <a:pt x="203" y="329"/>
                        </a:lnTo>
                        <a:lnTo>
                          <a:pt x="203" y="329"/>
                        </a:lnTo>
                        <a:lnTo>
                          <a:pt x="206" y="330"/>
                        </a:lnTo>
                        <a:lnTo>
                          <a:pt x="208" y="331"/>
                        </a:lnTo>
                        <a:lnTo>
                          <a:pt x="209" y="334"/>
                        </a:lnTo>
                        <a:lnTo>
                          <a:pt x="210" y="336"/>
                        </a:lnTo>
                        <a:lnTo>
                          <a:pt x="210" y="361"/>
                        </a:lnTo>
                        <a:close/>
                        <a:moveTo>
                          <a:pt x="210" y="311"/>
                        </a:moveTo>
                        <a:lnTo>
                          <a:pt x="210" y="311"/>
                        </a:lnTo>
                        <a:lnTo>
                          <a:pt x="209" y="313"/>
                        </a:lnTo>
                        <a:lnTo>
                          <a:pt x="208" y="315"/>
                        </a:lnTo>
                        <a:lnTo>
                          <a:pt x="206" y="317"/>
                        </a:lnTo>
                        <a:lnTo>
                          <a:pt x="203" y="317"/>
                        </a:lnTo>
                        <a:lnTo>
                          <a:pt x="23" y="317"/>
                        </a:lnTo>
                        <a:lnTo>
                          <a:pt x="23" y="317"/>
                        </a:lnTo>
                        <a:lnTo>
                          <a:pt x="20" y="317"/>
                        </a:lnTo>
                        <a:lnTo>
                          <a:pt x="19" y="315"/>
                        </a:lnTo>
                        <a:lnTo>
                          <a:pt x="17" y="313"/>
                        </a:lnTo>
                        <a:lnTo>
                          <a:pt x="17" y="311"/>
                        </a:lnTo>
                        <a:lnTo>
                          <a:pt x="17" y="286"/>
                        </a:lnTo>
                        <a:lnTo>
                          <a:pt x="17" y="286"/>
                        </a:lnTo>
                        <a:lnTo>
                          <a:pt x="17" y="284"/>
                        </a:lnTo>
                        <a:lnTo>
                          <a:pt x="19" y="282"/>
                        </a:lnTo>
                        <a:lnTo>
                          <a:pt x="20" y="280"/>
                        </a:lnTo>
                        <a:lnTo>
                          <a:pt x="23" y="279"/>
                        </a:lnTo>
                        <a:lnTo>
                          <a:pt x="203" y="279"/>
                        </a:lnTo>
                        <a:lnTo>
                          <a:pt x="203" y="279"/>
                        </a:lnTo>
                        <a:lnTo>
                          <a:pt x="206" y="280"/>
                        </a:lnTo>
                        <a:lnTo>
                          <a:pt x="208" y="282"/>
                        </a:lnTo>
                        <a:lnTo>
                          <a:pt x="209" y="284"/>
                        </a:lnTo>
                        <a:lnTo>
                          <a:pt x="210" y="286"/>
                        </a:lnTo>
                        <a:lnTo>
                          <a:pt x="210" y="311"/>
                        </a:lnTo>
                        <a:close/>
                        <a:moveTo>
                          <a:pt x="210" y="260"/>
                        </a:moveTo>
                        <a:lnTo>
                          <a:pt x="210" y="260"/>
                        </a:lnTo>
                        <a:lnTo>
                          <a:pt x="209" y="263"/>
                        </a:lnTo>
                        <a:lnTo>
                          <a:pt x="208" y="265"/>
                        </a:lnTo>
                        <a:lnTo>
                          <a:pt x="206" y="267"/>
                        </a:lnTo>
                        <a:lnTo>
                          <a:pt x="203" y="267"/>
                        </a:lnTo>
                        <a:lnTo>
                          <a:pt x="23" y="267"/>
                        </a:lnTo>
                        <a:lnTo>
                          <a:pt x="23" y="267"/>
                        </a:lnTo>
                        <a:lnTo>
                          <a:pt x="20" y="267"/>
                        </a:lnTo>
                        <a:lnTo>
                          <a:pt x="19" y="265"/>
                        </a:lnTo>
                        <a:lnTo>
                          <a:pt x="17" y="263"/>
                        </a:lnTo>
                        <a:lnTo>
                          <a:pt x="17" y="260"/>
                        </a:lnTo>
                        <a:lnTo>
                          <a:pt x="17" y="236"/>
                        </a:lnTo>
                        <a:lnTo>
                          <a:pt x="17" y="236"/>
                        </a:lnTo>
                        <a:lnTo>
                          <a:pt x="17" y="233"/>
                        </a:lnTo>
                        <a:lnTo>
                          <a:pt x="19" y="232"/>
                        </a:lnTo>
                        <a:lnTo>
                          <a:pt x="20" y="229"/>
                        </a:lnTo>
                        <a:lnTo>
                          <a:pt x="23" y="229"/>
                        </a:lnTo>
                        <a:lnTo>
                          <a:pt x="203" y="229"/>
                        </a:lnTo>
                        <a:lnTo>
                          <a:pt x="203" y="229"/>
                        </a:lnTo>
                        <a:lnTo>
                          <a:pt x="206" y="229"/>
                        </a:lnTo>
                        <a:lnTo>
                          <a:pt x="208" y="232"/>
                        </a:lnTo>
                        <a:lnTo>
                          <a:pt x="209" y="233"/>
                        </a:lnTo>
                        <a:lnTo>
                          <a:pt x="210" y="236"/>
                        </a:lnTo>
                        <a:lnTo>
                          <a:pt x="210" y="260"/>
                        </a:lnTo>
                        <a:close/>
                        <a:moveTo>
                          <a:pt x="210" y="210"/>
                        </a:moveTo>
                        <a:lnTo>
                          <a:pt x="210" y="210"/>
                        </a:lnTo>
                        <a:lnTo>
                          <a:pt x="209" y="212"/>
                        </a:lnTo>
                        <a:lnTo>
                          <a:pt x="208" y="215"/>
                        </a:lnTo>
                        <a:lnTo>
                          <a:pt x="206" y="216"/>
                        </a:lnTo>
                        <a:lnTo>
                          <a:pt x="203" y="217"/>
                        </a:lnTo>
                        <a:lnTo>
                          <a:pt x="23" y="217"/>
                        </a:lnTo>
                        <a:lnTo>
                          <a:pt x="23" y="217"/>
                        </a:lnTo>
                        <a:lnTo>
                          <a:pt x="20" y="216"/>
                        </a:lnTo>
                        <a:lnTo>
                          <a:pt x="19" y="215"/>
                        </a:lnTo>
                        <a:lnTo>
                          <a:pt x="17" y="212"/>
                        </a:lnTo>
                        <a:lnTo>
                          <a:pt x="17" y="210"/>
                        </a:lnTo>
                        <a:lnTo>
                          <a:pt x="17" y="185"/>
                        </a:lnTo>
                        <a:lnTo>
                          <a:pt x="17" y="185"/>
                        </a:lnTo>
                        <a:lnTo>
                          <a:pt x="17" y="183"/>
                        </a:lnTo>
                        <a:lnTo>
                          <a:pt x="19" y="181"/>
                        </a:lnTo>
                        <a:lnTo>
                          <a:pt x="20" y="180"/>
                        </a:lnTo>
                        <a:lnTo>
                          <a:pt x="23" y="180"/>
                        </a:lnTo>
                        <a:lnTo>
                          <a:pt x="203" y="180"/>
                        </a:lnTo>
                        <a:lnTo>
                          <a:pt x="203" y="180"/>
                        </a:lnTo>
                        <a:lnTo>
                          <a:pt x="206" y="180"/>
                        </a:lnTo>
                        <a:lnTo>
                          <a:pt x="208" y="181"/>
                        </a:lnTo>
                        <a:lnTo>
                          <a:pt x="209" y="183"/>
                        </a:lnTo>
                        <a:lnTo>
                          <a:pt x="210" y="185"/>
                        </a:lnTo>
                        <a:lnTo>
                          <a:pt x="210" y="210"/>
                        </a:lnTo>
                        <a:close/>
                        <a:moveTo>
                          <a:pt x="210" y="160"/>
                        </a:moveTo>
                        <a:lnTo>
                          <a:pt x="210" y="160"/>
                        </a:lnTo>
                        <a:lnTo>
                          <a:pt x="209" y="163"/>
                        </a:lnTo>
                        <a:lnTo>
                          <a:pt x="208" y="165"/>
                        </a:lnTo>
                        <a:lnTo>
                          <a:pt x="206" y="166"/>
                        </a:lnTo>
                        <a:lnTo>
                          <a:pt x="203" y="167"/>
                        </a:lnTo>
                        <a:lnTo>
                          <a:pt x="23" y="167"/>
                        </a:lnTo>
                        <a:lnTo>
                          <a:pt x="23" y="167"/>
                        </a:lnTo>
                        <a:lnTo>
                          <a:pt x="20" y="166"/>
                        </a:lnTo>
                        <a:lnTo>
                          <a:pt x="19" y="165"/>
                        </a:lnTo>
                        <a:lnTo>
                          <a:pt x="17" y="163"/>
                        </a:lnTo>
                        <a:lnTo>
                          <a:pt x="17" y="160"/>
                        </a:lnTo>
                        <a:lnTo>
                          <a:pt x="17" y="136"/>
                        </a:lnTo>
                        <a:lnTo>
                          <a:pt x="17" y="136"/>
                        </a:lnTo>
                        <a:lnTo>
                          <a:pt x="17" y="133"/>
                        </a:lnTo>
                        <a:lnTo>
                          <a:pt x="19" y="131"/>
                        </a:lnTo>
                        <a:lnTo>
                          <a:pt x="20" y="130"/>
                        </a:lnTo>
                        <a:lnTo>
                          <a:pt x="23" y="130"/>
                        </a:lnTo>
                        <a:lnTo>
                          <a:pt x="203" y="130"/>
                        </a:lnTo>
                        <a:lnTo>
                          <a:pt x="203" y="130"/>
                        </a:lnTo>
                        <a:lnTo>
                          <a:pt x="206" y="130"/>
                        </a:lnTo>
                        <a:lnTo>
                          <a:pt x="208" y="131"/>
                        </a:lnTo>
                        <a:lnTo>
                          <a:pt x="209" y="133"/>
                        </a:lnTo>
                        <a:lnTo>
                          <a:pt x="210" y="136"/>
                        </a:lnTo>
                        <a:lnTo>
                          <a:pt x="210" y="160"/>
                        </a:lnTo>
                        <a:close/>
                        <a:moveTo>
                          <a:pt x="210" y="111"/>
                        </a:moveTo>
                        <a:lnTo>
                          <a:pt x="210" y="111"/>
                        </a:lnTo>
                        <a:lnTo>
                          <a:pt x="209" y="113"/>
                        </a:lnTo>
                        <a:lnTo>
                          <a:pt x="208" y="115"/>
                        </a:lnTo>
                        <a:lnTo>
                          <a:pt x="206" y="116"/>
                        </a:lnTo>
                        <a:lnTo>
                          <a:pt x="203" y="116"/>
                        </a:lnTo>
                        <a:lnTo>
                          <a:pt x="23" y="116"/>
                        </a:lnTo>
                        <a:lnTo>
                          <a:pt x="23" y="116"/>
                        </a:lnTo>
                        <a:lnTo>
                          <a:pt x="20" y="116"/>
                        </a:lnTo>
                        <a:lnTo>
                          <a:pt x="19" y="115"/>
                        </a:lnTo>
                        <a:lnTo>
                          <a:pt x="17" y="113"/>
                        </a:lnTo>
                        <a:lnTo>
                          <a:pt x="17" y="111"/>
                        </a:lnTo>
                        <a:lnTo>
                          <a:pt x="17" y="86"/>
                        </a:lnTo>
                        <a:lnTo>
                          <a:pt x="17" y="86"/>
                        </a:lnTo>
                        <a:lnTo>
                          <a:pt x="17" y="83"/>
                        </a:lnTo>
                        <a:lnTo>
                          <a:pt x="19" y="81"/>
                        </a:lnTo>
                        <a:lnTo>
                          <a:pt x="20" y="80"/>
                        </a:lnTo>
                        <a:lnTo>
                          <a:pt x="23" y="79"/>
                        </a:lnTo>
                        <a:lnTo>
                          <a:pt x="203" y="79"/>
                        </a:lnTo>
                        <a:lnTo>
                          <a:pt x="203" y="79"/>
                        </a:lnTo>
                        <a:lnTo>
                          <a:pt x="206" y="80"/>
                        </a:lnTo>
                        <a:lnTo>
                          <a:pt x="208" y="81"/>
                        </a:lnTo>
                        <a:lnTo>
                          <a:pt x="209" y="83"/>
                        </a:lnTo>
                        <a:lnTo>
                          <a:pt x="210" y="86"/>
                        </a:lnTo>
                        <a:lnTo>
                          <a:pt x="210" y="111"/>
                        </a:lnTo>
                        <a:close/>
                        <a:moveTo>
                          <a:pt x="210" y="61"/>
                        </a:moveTo>
                        <a:lnTo>
                          <a:pt x="210" y="61"/>
                        </a:lnTo>
                        <a:lnTo>
                          <a:pt x="209" y="63"/>
                        </a:lnTo>
                        <a:lnTo>
                          <a:pt x="208" y="65"/>
                        </a:lnTo>
                        <a:lnTo>
                          <a:pt x="206" y="66"/>
                        </a:lnTo>
                        <a:lnTo>
                          <a:pt x="203" y="66"/>
                        </a:lnTo>
                        <a:lnTo>
                          <a:pt x="23" y="66"/>
                        </a:lnTo>
                        <a:lnTo>
                          <a:pt x="23" y="66"/>
                        </a:lnTo>
                        <a:lnTo>
                          <a:pt x="20" y="66"/>
                        </a:lnTo>
                        <a:lnTo>
                          <a:pt x="19" y="65"/>
                        </a:lnTo>
                        <a:lnTo>
                          <a:pt x="17" y="63"/>
                        </a:lnTo>
                        <a:lnTo>
                          <a:pt x="17" y="61"/>
                        </a:lnTo>
                        <a:lnTo>
                          <a:pt x="17" y="36"/>
                        </a:lnTo>
                        <a:lnTo>
                          <a:pt x="17" y="36"/>
                        </a:lnTo>
                        <a:lnTo>
                          <a:pt x="17" y="34"/>
                        </a:lnTo>
                        <a:lnTo>
                          <a:pt x="19" y="31"/>
                        </a:lnTo>
                        <a:lnTo>
                          <a:pt x="20" y="30"/>
                        </a:lnTo>
                        <a:lnTo>
                          <a:pt x="23" y="29"/>
                        </a:lnTo>
                        <a:lnTo>
                          <a:pt x="203" y="29"/>
                        </a:lnTo>
                        <a:lnTo>
                          <a:pt x="203" y="29"/>
                        </a:lnTo>
                        <a:lnTo>
                          <a:pt x="206" y="30"/>
                        </a:lnTo>
                        <a:lnTo>
                          <a:pt x="208" y="31"/>
                        </a:lnTo>
                        <a:lnTo>
                          <a:pt x="209" y="34"/>
                        </a:lnTo>
                        <a:lnTo>
                          <a:pt x="210" y="36"/>
                        </a:lnTo>
                        <a:lnTo>
                          <a:pt x="210" y="61"/>
                        </a:lnTo>
                        <a:close/>
                      </a:path>
                    </a:pathLst>
                  </a:custGeom>
                  <a:solidFill>
                    <a:srgbClr val="DADC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6" tIns="34278" rIns="68556" bIns="34278" numCol="1" anchor="t" anchorCtr="0" compatLnSpc="1">
                    <a:prstTxWarp prst="textNoShape">
                      <a:avLst/>
                    </a:prstTxWarp>
                  </a:bodyPr>
                  <a:lstStyle/>
                  <a:p>
                    <a:pPr defTabSz="658864">
                      <a:buClr>
                        <a:srgbClr val="CC9900"/>
                      </a:buClr>
                      <a:buFont typeface="Wingdings" pitchFamily="2" charset="2"/>
                      <a:buChar char="n"/>
                    </a:pPr>
                    <a:endParaRPr lang="zh-CN" altLang="en-US" sz="750" b="1" dirty="0">
                      <a:solidFill>
                        <a:prstClr val="white"/>
                      </a:solidFill>
                      <a:latin typeface="FrutigerNext LT Medium" panose="020B0603040504020204" pitchFamily="34" charset="0"/>
                      <a:cs typeface="Arial" pitchFamily="34" charset="0"/>
                    </a:endParaRPr>
                  </a:p>
                </p:txBody>
              </p:sp>
            </p:grpSp>
            <p:pic>
              <p:nvPicPr>
                <p:cNvPr id="52" name="Picture 3" descr="C:\Users\l55998.CHINA\Desktop\imagesCAN41YDM.jpg"/>
                <p:cNvPicPr>
                  <a:picLocks noChangeAspect="1" noChangeArrowheads="1"/>
                </p:cNvPicPr>
                <p:nvPr/>
              </p:nvPicPr>
              <p:blipFill>
                <a:blip r:embed="rId5" cstate="screen">
                  <a:duotone>
                    <a:schemeClr val="bg2">
                      <a:shade val="45000"/>
                      <a:satMod val="135000"/>
                    </a:schemeClr>
                    <a:prstClr val="white"/>
                  </a:duotone>
                </a:blip>
                <a:srcRect/>
                <a:stretch>
                  <a:fillRect/>
                </a:stretch>
              </p:blipFill>
              <p:spPr bwMode="auto">
                <a:xfrm>
                  <a:off x="1854799" y="3465669"/>
                  <a:ext cx="404160" cy="415015"/>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53" name="Freeform 131"/>
                <p:cNvSpPr>
                  <a:spLocks noEditPoints="1"/>
                </p:cNvSpPr>
                <p:nvPr/>
              </p:nvSpPr>
              <p:spPr bwMode="auto">
                <a:xfrm>
                  <a:off x="2232053" y="3492814"/>
                  <a:ext cx="386956" cy="366418"/>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pPr>
                    <a:buClrTx/>
                    <a:buFontTx/>
                    <a:buNone/>
                  </a:pPr>
                  <a:endParaRPr lang="zh-CN" altLang="en-US" dirty="0">
                    <a:solidFill>
                      <a:srgbClr val="000000"/>
                    </a:solidFill>
                    <a:latin typeface="FrutigerNext LT Medium" panose="020B0603040504020204" pitchFamily="34" charset="0"/>
                    <a:ea typeface="微软雅黑" pitchFamily="34" charset="-122"/>
                    <a:cs typeface="Arial" pitchFamily="34" charset="0"/>
                  </a:endParaRPr>
                </a:p>
              </p:txBody>
            </p:sp>
            <p:pic>
              <p:nvPicPr>
                <p:cNvPr id="54" name="图片 53" descr="locked.png"/>
                <p:cNvPicPr>
                  <a:picLocks noChangeAspect="1"/>
                </p:cNvPicPr>
                <p:nvPr/>
              </p:nvPicPr>
              <p:blipFill>
                <a:blip r:embed="rId4" cstate="screen">
                  <a:duotone>
                    <a:schemeClr val="bg2">
                      <a:shade val="45000"/>
                      <a:satMod val="135000"/>
                    </a:schemeClr>
                    <a:prstClr val="white"/>
                  </a:duotone>
                </a:blip>
                <a:stretch>
                  <a:fillRect/>
                </a:stretch>
              </p:blipFill>
              <p:spPr>
                <a:xfrm>
                  <a:off x="2043702" y="3799803"/>
                  <a:ext cx="343819" cy="337485"/>
                </a:xfrm>
                <a:prstGeom prst="rect">
                  <a:avLst/>
                </a:prstGeom>
              </p:spPr>
            </p:pic>
            <p:sp>
              <p:nvSpPr>
                <p:cNvPr id="55" name="圆角矩形 36"/>
                <p:cNvSpPr/>
                <p:nvPr/>
              </p:nvSpPr>
              <p:spPr bwMode="auto">
                <a:xfrm>
                  <a:off x="1729956" y="2507151"/>
                  <a:ext cx="1044000" cy="2721600"/>
                </a:xfrm>
                <a:prstGeom prst="roundRect">
                  <a:avLst>
                    <a:gd name="adj" fmla="val 6839"/>
                  </a:avLst>
                </a:prstGeom>
                <a:noFill/>
                <a:ln w="12700">
                  <a:solidFill>
                    <a:srgbClr val="F2F2F2"/>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FrutigerNext LT Medium" panose="020B0603040504020204" pitchFamily="34" charset="0"/>
                  </a:endParaRPr>
                </a:p>
              </p:txBody>
            </p:sp>
          </p:grpSp>
        </p:grpSp>
        <p:grpSp>
          <p:nvGrpSpPr>
            <p:cNvPr id="11" name="组合 144"/>
            <p:cNvGrpSpPr/>
            <p:nvPr/>
          </p:nvGrpSpPr>
          <p:grpSpPr>
            <a:xfrm>
              <a:off x="2439399" y="1565471"/>
              <a:ext cx="2483354" cy="2294469"/>
              <a:chOff x="3145258" y="2519428"/>
              <a:chExt cx="3312368" cy="2738249"/>
            </a:xfrm>
          </p:grpSpPr>
          <p:sp>
            <p:nvSpPr>
              <p:cNvPr id="13" name="圆角矩形 36"/>
              <p:cNvSpPr/>
              <p:nvPr/>
            </p:nvSpPr>
            <p:spPr bwMode="auto">
              <a:xfrm rot="5400000">
                <a:off x="4602675" y="3399539"/>
                <a:ext cx="2718411" cy="991491"/>
              </a:xfrm>
              <a:prstGeom prst="roundRect">
                <a:avLst>
                  <a:gd name="adj" fmla="val 6839"/>
                </a:avLst>
              </a:prstGeom>
              <a:solidFill>
                <a:srgbClr val="021438"/>
              </a:solidFill>
              <a:ln w="12700">
                <a:solidFill>
                  <a:srgbClr val="F2F2F2"/>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FrutigerNext LT Medium" panose="020B0603040504020204" pitchFamily="34" charset="0"/>
                </a:endParaRPr>
              </a:p>
            </p:txBody>
          </p:sp>
          <p:cxnSp>
            <p:nvCxnSpPr>
              <p:cNvPr id="14" name="直接连接符 13"/>
              <p:cNvCxnSpPr>
                <a:endCxn id="43" idx="3"/>
              </p:cNvCxnSpPr>
              <p:nvPr/>
            </p:nvCxnSpPr>
            <p:spPr>
              <a:xfrm flipH="1">
                <a:off x="3819385" y="3212926"/>
                <a:ext cx="1656184" cy="0"/>
              </a:xfrm>
              <a:prstGeom prst="line">
                <a:avLst/>
              </a:prstGeom>
              <a:ln w="25400">
                <a:solidFill>
                  <a:srgbClr val="F2F2F2"/>
                </a:solidFill>
              </a:ln>
            </p:spPr>
            <p:style>
              <a:lnRef idx="1">
                <a:schemeClr val="accent1"/>
              </a:lnRef>
              <a:fillRef idx="0">
                <a:schemeClr val="accent1"/>
              </a:fillRef>
              <a:effectRef idx="0">
                <a:schemeClr val="accent1"/>
              </a:effectRef>
              <a:fontRef idx="minor">
                <a:schemeClr val="tx1"/>
              </a:fontRef>
            </p:style>
          </p:cxnSp>
          <p:sp>
            <p:nvSpPr>
              <p:cNvPr id="15" name="圆角矩形 36"/>
              <p:cNvSpPr/>
              <p:nvPr/>
            </p:nvSpPr>
            <p:spPr bwMode="auto">
              <a:xfrm>
                <a:off x="3145258" y="4581887"/>
                <a:ext cx="2267967" cy="675790"/>
              </a:xfrm>
              <a:prstGeom prst="roundRect">
                <a:avLst>
                  <a:gd name="adj" fmla="val 6839"/>
                </a:avLst>
              </a:prstGeom>
              <a:noFill/>
              <a:ln w="12700">
                <a:solidFill>
                  <a:srgbClr val="F2F2F2"/>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FrutigerNext LT Medium" panose="020B0603040504020204" pitchFamily="34" charset="0"/>
                </a:endParaRPr>
              </a:p>
            </p:txBody>
          </p:sp>
          <p:sp>
            <p:nvSpPr>
              <p:cNvPr id="16" name="Freeform 135"/>
              <p:cNvSpPr>
                <a:spLocks noEditPoints="1"/>
              </p:cNvSpPr>
              <p:nvPr/>
            </p:nvSpPr>
            <p:spPr bwMode="auto">
              <a:xfrm>
                <a:off x="4094381" y="4859025"/>
                <a:ext cx="375270" cy="328929"/>
              </a:xfrm>
              <a:custGeom>
                <a:avLst/>
                <a:gdLst>
                  <a:gd name="T0" fmla="*/ 110 w 321"/>
                  <a:gd name="T1" fmla="*/ 3 h 399"/>
                  <a:gd name="T2" fmla="*/ 45 w 321"/>
                  <a:gd name="T3" fmla="*/ 20 h 399"/>
                  <a:gd name="T4" fmla="*/ 8 w 321"/>
                  <a:gd name="T5" fmla="*/ 49 h 399"/>
                  <a:gd name="T6" fmla="*/ 0 w 321"/>
                  <a:gd name="T7" fmla="*/ 123 h 399"/>
                  <a:gd name="T8" fmla="*/ 18 w 321"/>
                  <a:gd name="T9" fmla="*/ 157 h 399"/>
                  <a:gd name="T10" fmla="*/ 68 w 321"/>
                  <a:gd name="T11" fmla="*/ 181 h 399"/>
                  <a:gd name="T12" fmla="*/ 143 w 321"/>
                  <a:gd name="T13" fmla="*/ 193 h 399"/>
                  <a:gd name="T14" fmla="*/ 211 w 321"/>
                  <a:gd name="T15" fmla="*/ 189 h 399"/>
                  <a:gd name="T16" fmla="*/ 276 w 321"/>
                  <a:gd name="T17" fmla="*/ 173 h 399"/>
                  <a:gd name="T18" fmla="*/ 314 w 321"/>
                  <a:gd name="T19" fmla="*/ 143 h 399"/>
                  <a:gd name="T20" fmla="*/ 321 w 321"/>
                  <a:gd name="T21" fmla="*/ 70 h 399"/>
                  <a:gd name="T22" fmla="*/ 303 w 321"/>
                  <a:gd name="T23" fmla="*/ 37 h 399"/>
                  <a:gd name="T24" fmla="*/ 253 w 321"/>
                  <a:gd name="T25" fmla="*/ 12 h 399"/>
                  <a:gd name="T26" fmla="*/ 178 w 321"/>
                  <a:gd name="T27" fmla="*/ 1 h 399"/>
                  <a:gd name="T28" fmla="*/ 63 w 321"/>
                  <a:gd name="T29" fmla="*/ 157 h 399"/>
                  <a:gd name="T30" fmla="*/ 56 w 321"/>
                  <a:gd name="T31" fmla="*/ 139 h 399"/>
                  <a:gd name="T32" fmla="*/ 73 w 321"/>
                  <a:gd name="T33" fmla="*/ 131 h 399"/>
                  <a:gd name="T34" fmla="*/ 80 w 321"/>
                  <a:gd name="T35" fmla="*/ 150 h 399"/>
                  <a:gd name="T36" fmla="*/ 160 w 321"/>
                  <a:gd name="T37" fmla="*/ 124 h 399"/>
                  <a:gd name="T38" fmla="*/ 63 w 321"/>
                  <a:gd name="T39" fmla="*/ 108 h 399"/>
                  <a:gd name="T40" fmla="*/ 3 w 321"/>
                  <a:gd name="T41" fmla="*/ 65 h 399"/>
                  <a:gd name="T42" fmla="*/ 67 w 321"/>
                  <a:gd name="T43" fmla="*/ 102 h 399"/>
                  <a:gd name="T44" fmla="*/ 160 w 321"/>
                  <a:gd name="T45" fmla="*/ 117 h 399"/>
                  <a:gd name="T46" fmla="*/ 274 w 321"/>
                  <a:gd name="T47" fmla="*/ 95 h 399"/>
                  <a:gd name="T48" fmla="*/ 314 w 321"/>
                  <a:gd name="T49" fmla="*/ 71 h 399"/>
                  <a:gd name="T50" fmla="*/ 237 w 321"/>
                  <a:gd name="T51" fmla="*/ 114 h 399"/>
                  <a:gd name="T52" fmla="*/ 160 w 321"/>
                  <a:gd name="T53" fmla="*/ 326 h 399"/>
                  <a:gd name="T54" fmla="*/ 54 w 321"/>
                  <a:gd name="T55" fmla="*/ 309 h 399"/>
                  <a:gd name="T56" fmla="*/ 14 w 321"/>
                  <a:gd name="T57" fmla="*/ 284 h 399"/>
                  <a:gd name="T58" fmla="*/ 0 w 321"/>
                  <a:gd name="T59" fmla="*/ 271 h 399"/>
                  <a:gd name="T60" fmla="*/ 4 w 321"/>
                  <a:gd name="T61" fmla="*/ 343 h 399"/>
                  <a:gd name="T62" fmla="*/ 35 w 321"/>
                  <a:gd name="T63" fmla="*/ 373 h 399"/>
                  <a:gd name="T64" fmla="*/ 96 w 321"/>
                  <a:gd name="T65" fmla="*/ 394 h 399"/>
                  <a:gd name="T66" fmla="*/ 160 w 321"/>
                  <a:gd name="T67" fmla="*/ 399 h 399"/>
                  <a:gd name="T68" fmla="*/ 240 w 321"/>
                  <a:gd name="T69" fmla="*/ 390 h 399"/>
                  <a:gd name="T70" fmla="*/ 295 w 321"/>
                  <a:gd name="T71" fmla="*/ 368 h 399"/>
                  <a:gd name="T72" fmla="*/ 320 w 321"/>
                  <a:gd name="T73" fmla="*/ 336 h 399"/>
                  <a:gd name="T74" fmla="*/ 318 w 321"/>
                  <a:gd name="T75" fmla="*/ 266 h 399"/>
                  <a:gd name="T76" fmla="*/ 302 w 321"/>
                  <a:gd name="T77" fmla="*/ 290 h 399"/>
                  <a:gd name="T78" fmla="*/ 246 w 321"/>
                  <a:gd name="T79" fmla="*/ 316 h 399"/>
                  <a:gd name="T80" fmla="*/ 68 w 321"/>
                  <a:gd name="T81" fmla="*/ 367 h 399"/>
                  <a:gd name="T82" fmla="*/ 55 w 321"/>
                  <a:gd name="T83" fmla="*/ 354 h 399"/>
                  <a:gd name="T84" fmla="*/ 68 w 321"/>
                  <a:gd name="T85" fmla="*/ 339 h 399"/>
                  <a:gd name="T86" fmla="*/ 81 w 321"/>
                  <a:gd name="T87" fmla="*/ 354 h 399"/>
                  <a:gd name="T88" fmla="*/ 68 w 321"/>
                  <a:gd name="T89" fmla="*/ 367 h 399"/>
                  <a:gd name="T90" fmla="*/ 102 w 321"/>
                  <a:gd name="T91" fmla="*/ 218 h 399"/>
                  <a:gd name="T92" fmla="*/ 20 w 321"/>
                  <a:gd name="T93" fmla="*/ 187 h 399"/>
                  <a:gd name="T94" fmla="*/ 3 w 321"/>
                  <a:gd name="T95" fmla="*/ 163 h 399"/>
                  <a:gd name="T96" fmla="*/ 2 w 321"/>
                  <a:gd name="T97" fmla="*/ 233 h 399"/>
                  <a:gd name="T98" fmla="*/ 26 w 321"/>
                  <a:gd name="T99" fmla="*/ 266 h 399"/>
                  <a:gd name="T100" fmla="*/ 81 w 321"/>
                  <a:gd name="T101" fmla="*/ 287 h 399"/>
                  <a:gd name="T102" fmla="*/ 160 w 321"/>
                  <a:gd name="T103" fmla="*/ 296 h 399"/>
                  <a:gd name="T104" fmla="*/ 225 w 321"/>
                  <a:gd name="T105" fmla="*/ 291 h 399"/>
                  <a:gd name="T106" fmla="*/ 286 w 321"/>
                  <a:gd name="T107" fmla="*/ 271 h 399"/>
                  <a:gd name="T108" fmla="*/ 317 w 321"/>
                  <a:gd name="T109" fmla="*/ 240 h 399"/>
                  <a:gd name="T110" fmla="*/ 320 w 321"/>
                  <a:gd name="T111" fmla="*/ 168 h 399"/>
                  <a:gd name="T112" fmla="*/ 308 w 321"/>
                  <a:gd name="T113" fmla="*/ 181 h 399"/>
                  <a:gd name="T114" fmla="*/ 245 w 321"/>
                  <a:gd name="T115" fmla="*/ 212 h 399"/>
                  <a:gd name="T116" fmla="*/ 68 w 321"/>
                  <a:gd name="T117" fmla="*/ 262 h 399"/>
                  <a:gd name="T118" fmla="*/ 55 w 321"/>
                  <a:gd name="T119" fmla="*/ 248 h 399"/>
                  <a:gd name="T120" fmla="*/ 68 w 321"/>
                  <a:gd name="T121" fmla="*/ 234 h 399"/>
                  <a:gd name="T122" fmla="*/ 81 w 321"/>
                  <a:gd name="T123" fmla="*/ 248 h 399"/>
                  <a:gd name="T124" fmla="*/ 68 w 321"/>
                  <a:gd name="T125" fmla="*/ 2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1" h="399">
                    <a:moveTo>
                      <a:pt x="160" y="0"/>
                    </a:moveTo>
                    <a:lnTo>
                      <a:pt x="160" y="0"/>
                    </a:lnTo>
                    <a:lnTo>
                      <a:pt x="143" y="1"/>
                    </a:lnTo>
                    <a:lnTo>
                      <a:pt x="126" y="1"/>
                    </a:lnTo>
                    <a:lnTo>
                      <a:pt x="110" y="3"/>
                    </a:lnTo>
                    <a:lnTo>
                      <a:pt x="96" y="6"/>
                    </a:lnTo>
                    <a:lnTo>
                      <a:pt x="81" y="8"/>
                    </a:lnTo>
                    <a:lnTo>
                      <a:pt x="68" y="12"/>
                    </a:lnTo>
                    <a:lnTo>
                      <a:pt x="56" y="15"/>
                    </a:lnTo>
                    <a:lnTo>
                      <a:pt x="45" y="20"/>
                    </a:lnTo>
                    <a:lnTo>
                      <a:pt x="35" y="25"/>
                    </a:lnTo>
                    <a:lnTo>
                      <a:pt x="26" y="31"/>
                    </a:lnTo>
                    <a:lnTo>
                      <a:pt x="18" y="37"/>
                    </a:lnTo>
                    <a:lnTo>
                      <a:pt x="12" y="43"/>
                    </a:lnTo>
                    <a:lnTo>
                      <a:pt x="8" y="49"/>
                    </a:lnTo>
                    <a:lnTo>
                      <a:pt x="4" y="56"/>
                    </a:lnTo>
                    <a:lnTo>
                      <a:pt x="2" y="62"/>
                    </a:lnTo>
                    <a:lnTo>
                      <a:pt x="0" y="70"/>
                    </a:lnTo>
                    <a:lnTo>
                      <a:pt x="0" y="123"/>
                    </a:lnTo>
                    <a:lnTo>
                      <a:pt x="0" y="123"/>
                    </a:lnTo>
                    <a:lnTo>
                      <a:pt x="2" y="130"/>
                    </a:lnTo>
                    <a:lnTo>
                      <a:pt x="4" y="137"/>
                    </a:lnTo>
                    <a:lnTo>
                      <a:pt x="8" y="143"/>
                    </a:lnTo>
                    <a:lnTo>
                      <a:pt x="12" y="151"/>
                    </a:lnTo>
                    <a:lnTo>
                      <a:pt x="18" y="157"/>
                    </a:lnTo>
                    <a:lnTo>
                      <a:pt x="26" y="162"/>
                    </a:lnTo>
                    <a:lnTo>
                      <a:pt x="35" y="168"/>
                    </a:lnTo>
                    <a:lnTo>
                      <a:pt x="45" y="173"/>
                    </a:lnTo>
                    <a:lnTo>
                      <a:pt x="56" y="177"/>
                    </a:lnTo>
                    <a:lnTo>
                      <a:pt x="68" y="181"/>
                    </a:lnTo>
                    <a:lnTo>
                      <a:pt x="81" y="185"/>
                    </a:lnTo>
                    <a:lnTo>
                      <a:pt x="96" y="187"/>
                    </a:lnTo>
                    <a:lnTo>
                      <a:pt x="110" y="189"/>
                    </a:lnTo>
                    <a:lnTo>
                      <a:pt x="126" y="192"/>
                    </a:lnTo>
                    <a:lnTo>
                      <a:pt x="143" y="193"/>
                    </a:lnTo>
                    <a:lnTo>
                      <a:pt x="160" y="193"/>
                    </a:lnTo>
                    <a:lnTo>
                      <a:pt x="160" y="193"/>
                    </a:lnTo>
                    <a:lnTo>
                      <a:pt x="178" y="193"/>
                    </a:lnTo>
                    <a:lnTo>
                      <a:pt x="194" y="192"/>
                    </a:lnTo>
                    <a:lnTo>
                      <a:pt x="211" y="189"/>
                    </a:lnTo>
                    <a:lnTo>
                      <a:pt x="225" y="187"/>
                    </a:lnTo>
                    <a:lnTo>
                      <a:pt x="240" y="185"/>
                    </a:lnTo>
                    <a:lnTo>
                      <a:pt x="253" y="181"/>
                    </a:lnTo>
                    <a:lnTo>
                      <a:pt x="265" y="177"/>
                    </a:lnTo>
                    <a:lnTo>
                      <a:pt x="276" y="173"/>
                    </a:lnTo>
                    <a:lnTo>
                      <a:pt x="286" y="168"/>
                    </a:lnTo>
                    <a:lnTo>
                      <a:pt x="295" y="162"/>
                    </a:lnTo>
                    <a:lnTo>
                      <a:pt x="303" y="157"/>
                    </a:lnTo>
                    <a:lnTo>
                      <a:pt x="309" y="151"/>
                    </a:lnTo>
                    <a:lnTo>
                      <a:pt x="314" y="143"/>
                    </a:lnTo>
                    <a:lnTo>
                      <a:pt x="317" y="137"/>
                    </a:lnTo>
                    <a:lnTo>
                      <a:pt x="320" y="130"/>
                    </a:lnTo>
                    <a:lnTo>
                      <a:pt x="321" y="123"/>
                    </a:lnTo>
                    <a:lnTo>
                      <a:pt x="321" y="70"/>
                    </a:lnTo>
                    <a:lnTo>
                      <a:pt x="321" y="70"/>
                    </a:lnTo>
                    <a:lnTo>
                      <a:pt x="320" y="62"/>
                    </a:lnTo>
                    <a:lnTo>
                      <a:pt x="317" y="56"/>
                    </a:lnTo>
                    <a:lnTo>
                      <a:pt x="314" y="49"/>
                    </a:lnTo>
                    <a:lnTo>
                      <a:pt x="309" y="43"/>
                    </a:lnTo>
                    <a:lnTo>
                      <a:pt x="303" y="37"/>
                    </a:lnTo>
                    <a:lnTo>
                      <a:pt x="295" y="31"/>
                    </a:lnTo>
                    <a:lnTo>
                      <a:pt x="286" y="25"/>
                    </a:lnTo>
                    <a:lnTo>
                      <a:pt x="276" y="20"/>
                    </a:lnTo>
                    <a:lnTo>
                      <a:pt x="265" y="15"/>
                    </a:lnTo>
                    <a:lnTo>
                      <a:pt x="253" y="12"/>
                    </a:lnTo>
                    <a:lnTo>
                      <a:pt x="240" y="8"/>
                    </a:lnTo>
                    <a:lnTo>
                      <a:pt x="225" y="6"/>
                    </a:lnTo>
                    <a:lnTo>
                      <a:pt x="211" y="3"/>
                    </a:lnTo>
                    <a:lnTo>
                      <a:pt x="194" y="1"/>
                    </a:lnTo>
                    <a:lnTo>
                      <a:pt x="178" y="1"/>
                    </a:lnTo>
                    <a:lnTo>
                      <a:pt x="160" y="0"/>
                    </a:lnTo>
                    <a:lnTo>
                      <a:pt x="160" y="0"/>
                    </a:lnTo>
                    <a:close/>
                    <a:moveTo>
                      <a:pt x="68" y="158"/>
                    </a:moveTo>
                    <a:lnTo>
                      <a:pt x="68" y="158"/>
                    </a:lnTo>
                    <a:lnTo>
                      <a:pt x="63" y="157"/>
                    </a:lnTo>
                    <a:lnTo>
                      <a:pt x="58" y="153"/>
                    </a:lnTo>
                    <a:lnTo>
                      <a:pt x="56" y="150"/>
                    </a:lnTo>
                    <a:lnTo>
                      <a:pt x="55" y="143"/>
                    </a:lnTo>
                    <a:lnTo>
                      <a:pt x="55" y="143"/>
                    </a:lnTo>
                    <a:lnTo>
                      <a:pt x="56" y="139"/>
                    </a:lnTo>
                    <a:lnTo>
                      <a:pt x="58" y="135"/>
                    </a:lnTo>
                    <a:lnTo>
                      <a:pt x="63" y="131"/>
                    </a:lnTo>
                    <a:lnTo>
                      <a:pt x="68" y="130"/>
                    </a:lnTo>
                    <a:lnTo>
                      <a:pt x="68" y="130"/>
                    </a:lnTo>
                    <a:lnTo>
                      <a:pt x="73" y="131"/>
                    </a:lnTo>
                    <a:lnTo>
                      <a:pt x="78" y="135"/>
                    </a:lnTo>
                    <a:lnTo>
                      <a:pt x="80" y="139"/>
                    </a:lnTo>
                    <a:lnTo>
                      <a:pt x="81" y="143"/>
                    </a:lnTo>
                    <a:lnTo>
                      <a:pt x="81" y="143"/>
                    </a:lnTo>
                    <a:lnTo>
                      <a:pt x="80" y="150"/>
                    </a:lnTo>
                    <a:lnTo>
                      <a:pt x="78" y="153"/>
                    </a:lnTo>
                    <a:lnTo>
                      <a:pt x="73" y="157"/>
                    </a:lnTo>
                    <a:lnTo>
                      <a:pt x="68" y="158"/>
                    </a:lnTo>
                    <a:lnTo>
                      <a:pt x="68" y="158"/>
                    </a:lnTo>
                    <a:close/>
                    <a:moveTo>
                      <a:pt x="160" y="124"/>
                    </a:moveTo>
                    <a:lnTo>
                      <a:pt x="160" y="124"/>
                    </a:lnTo>
                    <a:lnTo>
                      <a:pt x="133" y="124"/>
                    </a:lnTo>
                    <a:lnTo>
                      <a:pt x="108" y="121"/>
                    </a:lnTo>
                    <a:lnTo>
                      <a:pt x="84" y="114"/>
                    </a:lnTo>
                    <a:lnTo>
                      <a:pt x="63" y="108"/>
                    </a:lnTo>
                    <a:lnTo>
                      <a:pt x="44" y="99"/>
                    </a:lnTo>
                    <a:lnTo>
                      <a:pt x="27" y="89"/>
                    </a:lnTo>
                    <a:lnTo>
                      <a:pt x="14" y="78"/>
                    </a:lnTo>
                    <a:lnTo>
                      <a:pt x="8" y="71"/>
                    </a:lnTo>
                    <a:lnTo>
                      <a:pt x="3" y="65"/>
                    </a:lnTo>
                    <a:lnTo>
                      <a:pt x="3" y="65"/>
                    </a:lnTo>
                    <a:lnTo>
                      <a:pt x="16" y="76"/>
                    </a:lnTo>
                    <a:lnTo>
                      <a:pt x="31" y="87"/>
                    </a:lnTo>
                    <a:lnTo>
                      <a:pt x="47" y="95"/>
                    </a:lnTo>
                    <a:lnTo>
                      <a:pt x="67" y="102"/>
                    </a:lnTo>
                    <a:lnTo>
                      <a:pt x="87" y="108"/>
                    </a:lnTo>
                    <a:lnTo>
                      <a:pt x="110" y="113"/>
                    </a:lnTo>
                    <a:lnTo>
                      <a:pt x="135" y="116"/>
                    </a:lnTo>
                    <a:lnTo>
                      <a:pt x="160" y="117"/>
                    </a:lnTo>
                    <a:lnTo>
                      <a:pt x="160" y="117"/>
                    </a:lnTo>
                    <a:lnTo>
                      <a:pt x="187" y="116"/>
                    </a:lnTo>
                    <a:lnTo>
                      <a:pt x="211" y="113"/>
                    </a:lnTo>
                    <a:lnTo>
                      <a:pt x="234" y="108"/>
                    </a:lnTo>
                    <a:lnTo>
                      <a:pt x="254" y="102"/>
                    </a:lnTo>
                    <a:lnTo>
                      <a:pt x="274" y="95"/>
                    </a:lnTo>
                    <a:lnTo>
                      <a:pt x="291" y="87"/>
                    </a:lnTo>
                    <a:lnTo>
                      <a:pt x="305" y="76"/>
                    </a:lnTo>
                    <a:lnTo>
                      <a:pt x="318" y="65"/>
                    </a:lnTo>
                    <a:lnTo>
                      <a:pt x="318" y="65"/>
                    </a:lnTo>
                    <a:lnTo>
                      <a:pt x="314" y="71"/>
                    </a:lnTo>
                    <a:lnTo>
                      <a:pt x="308" y="78"/>
                    </a:lnTo>
                    <a:lnTo>
                      <a:pt x="294" y="89"/>
                    </a:lnTo>
                    <a:lnTo>
                      <a:pt x="277" y="99"/>
                    </a:lnTo>
                    <a:lnTo>
                      <a:pt x="258" y="108"/>
                    </a:lnTo>
                    <a:lnTo>
                      <a:pt x="237" y="114"/>
                    </a:lnTo>
                    <a:lnTo>
                      <a:pt x="213" y="121"/>
                    </a:lnTo>
                    <a:lnTo>
                      <a:pt x="188" y="124"/>
                    </a:lnTo>
                    <a:lnTo>
                      <a:pt x="160" y="124"/>
                    </a:lnTo>
                    <a:lnTo>
                      <a:pt x="160" y="124"/>
                    </a:lnTo>
                    <a:close/>
                    <a:moveTo>
                      <a:pt x="160" y="326"/>
                    </a:moveTo>
                    <a:lnTo>
                      <a:pt x="160" y="326"/>
                    </a:lnTo>
                    <a:lnTo>
                      <a:pt x="130" y="325"/>
                    </a:lnTo>
                    <a:lnTo>
                      <a:pt x="101" y="321"/>
                    </a:lnTo>
                    <a:lnTo>
                      <a:pt x="75" y="316"/>
                    </a:lnTo>
                    <a:lnTo>
                      <a:pt x="54" y="309"/>
                    </a:lnTo>
                    <a:lnTo>
                      <a:pt x="44" y="304"/>
                    </a:lnTo>
                    <a:lnTo>
                      <a:pt x="34" y="300"/>
                    </a:lnTo>
                    <a:lnTo>
                      <a:pt x="27" y="295"/>
                    </a:lnTo>
                    <a:lnTo>
                      <a:pt x="20" y="290"/>
                    </a:lnTo>
                    <a:lnTo>
                      <a:pt x="14" y="284"/>
                    </a:lnTo>
                    <a:lnTo>
                      <a:pt x="9" y="278"/>
                    </a:lnTo>
                    <a:lnTo>
                      <a:pt x="5" y="272"/>
                    </a:lnTo>
                    <a:lnTo>
                      <a:pt x="3" y="266"/>
                    </a:lnTo>
                    <a:lnTo>
                      <a:pt x="3" y="266"/>
                    </a:lnTo>
                    <a:lnTo>
                      <a:pt x="0" y="271"/>
                    </a:lnTo>
                    <a:lnTo>
                      <a:pt x="0" y="277"/>
                    </a:lnTo>
                    <a:lnTo>
                      <a:pt x="0" y="329"/>
                    </a:lnTo>
                    <a:lnTo>
                      <a:pt x="0" y="329"/>
                    </a:lnTo>
                    <a:lnTo>
                      <a:pt x="2" y="336"/>
                    </a:lnTo>
                    <a:lnTo>
                      <a:pt x="4" y="343"/>
                    </a:lnTo>
                    <a:lnTo>
                      <a:pt x="8" y="350"/>
                    </a:lnTo>
                    <a:lnTo>
                      <a:pt x="12" y="356"/>
                    </a:lnTo>
                    <a:lnTo>
                      <a:pt x="18" y="362"/>
                    </a:lnTo>
                    <a:lnTo>
                      <a:pt x="26" y="368"/>
                    </a:lnTo>
                    <a:lnTo>
                      <a:pt x="35" y="373"/>
                    </a:lnTo>
                    <a:lnTo>
                      <a:pt x="45" y="378"/>
                    </a:lnTo>
                    <a:lnTo>
                      <a:pt x="56" y="383"/>
                    </a:lnTo>
                    <a:lnTo>
                      <a:pt x="68" y="387"/>
                    </a:lnTo>
                    <a:lnTo>
                      <a:pt x="81" y="390"/>
                    </a:lnTo>
                    <a:lnTo>
                      <a:pt x="96" y="394"/>
                    </a:lnTo>
                    <a:lnTo>
                      <a:pt x="110" y="396"/>
                    </a:lnTo>
                    <a:lnTo>
                      <a:pt x="126" y="398"/>
                    </a:lnTo>
                    <a:lnTo>
                      <a:pt x="143" y="399"/>
                    </a:lnTo>
                    <a:lnTo>
                      <a:pt x="160" y="399"/>
                    </a:lnTo>
                    <a:lnTo>
                      <a:pt x="160" y="399"/>
                    </a:lnTo>
                    <a:lnTo>
                      <a:pt x="178" y="399"/>
                    </a:lnTo>
                    <a:lnTo>
                      <a:pt x="194" y="398"/>
                    </a:lnTo>
                    <a:lnTo>
                      <a:pt x="211" y="396"/>
                    </a:lnTo>
                    <a:lnTo>
                      <a:pt x="225" y="394"/>
                    </a:lnTo>
                    <a:lnTo>
                      <a:pt x="240" y="390"/>
                    </a:lnTo>
                    <a:lnTo>
                      <a:pt x="253" y="387"/>
                    </a:lnTo>
                    <a:lnTo>
                      <a:pt x="265" y="383"/>
                    </a:lnTo>
                    <a:lnTo>
                      <a:pt x="276" y="378"/>
                    </a:lnTo>
                    <a:lnTo>
                      <a:pt x="286" y="373"/>
                    </a:lnTo>
                    <a:lnTo>
                      <a:pt x="295" y="368"/>
                    </a:lnTo>
                    <a:lnTo>
                      <a:pt x="303" y="362"/>
                    </a:lnTo>
                    <a:lnTo>
                      <a:pt x="309" y="356"/>
                    </a:lnTo>
                    <a:lnTo>
                      <a:pt x="314" y="350"/>
                    </a:lnTo>
                    <a:lnTo>
                      <a:pt x="317" y="343"/>
                    </a:lnTo>
                    <a:lnTo>
                      <a:pt x="320" y="336"/>
                    </a:lnTo>
                    <a:lnTo>
                      <a:pt x="321" y="329"/>
                    </a:lnTo>
                    <a:lnTo>
                      <a:pt x="321" y="277"/>
                    </a:lnTo>
                    <a:lnTo>
                      <a:pt x="321" y="277"/>
                    </a:lnTo>
                    <a:lnTo>
                      <a:pt x="321" y="271"/>
                    </a:lnTo>
                    <a:lnTo>
                      <a:pt x="318" y="266"/>
                    </a:lnTo>
                    <a:lnTo>
                      <a:pt x="318" y="266"/>
                    </a:lnTo>
                    <a:lnTo>
                      <a:pt x="316" y="272"/>
                    </a:lnTo>
                    <a:lnTo>
                      <a:pt x="312" y="278"/>
                    </a:lnTo>
                    <a:lnTo>
                      <a:pt x="308" y="284"/>
                    </a:lnTo>
                    <a:lnTo>
                      <a:pt x="302" y="290"/>
                    </a:lnTo>
                    <a:lnTo>
                      <a:pt x="294" y="295"/>
                    </a:lnTo>
                    <a:lnTo>
                      <a:pt x="287" y="300"/>
                    </a:lnTo>
                    <a:lnTo>
                      <a:pt x="277" y="304"/>
                    </a:lnTo>
                    <a:lnTo>
                      <a:pt x="268" y="309"/>
                    </a:lnTo>
                    <a:lnTo>
                      <a:pt x="246" y="316"/>
                    </a:lnTo>
                    <a:lnTo>
                      <a:pt x="220" y="321"/>
                    </a:lnTo>
                    <a:lnTo>
                      <a:pt x="191" y="325"/>
                    </a:lnTo>
                    <a:lnTo>
                      <a:pt x="160" y="326"/>
                    </a:lnTo>
                    <a:lnTo>
                      <a:pt x="160" y="326"/>
                    </a:lnTo>
                    <a:close/>
                    <a:moveTo>
                      <a:pt x="68" y="367"/>
                    </a:moveTo>
                    <a:lnTo>
                      <a:pt x="68" y="367"/>
                    </a:lnTo>
                    <a:lnTo>
                      <a:pt x="63" y="366"/>
                    </a:lnTo>
                    <a:lnTo>
                      <a:pt x="58" y="362"/>
                    </a:lnTo>
                    <a:lnTo>
                      <a:pt x="56" y="359"/>
                    </a:lnTo>
                    <a:lnTo>
                      <a:pt x="55" y="354"/>
                    </a:lnTo>
                    <a:lnTo>
                      <a:pt x="55" y="354"/>
                    </a:lnTo>
                    <a:lnTo>
                      <a:pt x="56" y="348"/>
                    </a:lnTo>
                    <a:lnTo>
                      <a:pt x="58" y="344"/>
                    </a:lnTo>
                    <a:lnTo>
                      <a:pt x="63" y="341"/>
                    </a:lnTo>
                    <a:lnTo>
                      <a:pt x="68" y="339"/>
                    </a:lnTo>
                    <a:lnTo>
                      <a:pt x="68" y="339"/>
                    </a:lnTo>
                    <a:lnTo>
                      <a:pt x="73" y="341"/>
                    </a:lnTo>
                    <a:lnTo>
                      <a:pt x="78" y="344"/>
                    </a:lnTo>
                    <a:lnTo>
                      <a:pt x="80" y="348"/>
                    </a:lnTo>
                    <a:lnTo>
                      <a:pt x="81" y="354"/>
                    </a:lnTo>
                    <a:lnTo>
                      <a:pt x="81" y="354"/>
                    </a:lnTo>
                    <a:lnTo>
                      <a:pt x="80" y="359"/>
                    </a:lnTo>
                    <a:lnTo>
                      <a:pt x="78" y="362"/>
                    </a:lnTo>
                    <a:lnTo>
                      <a:pt x="73" y="366"/>
                    </a:lnTo>
                    <a:lnTo>
                      <a:pt x="68" y="367"/>
                    </a:lnTo>
                    <a:lnTo>
                      <a:pt x="68" y="367"/>
                    </a:lnTo>
                    <a:close/>
                    <a:moveTo>
                      <a:pt x="160" y="223"/>
                    </a:moveTo>
                    <a:lnTo>
                      <a:pt x="160" y="223"/>
                    </a:lnTo>
                    <a:lnTo>
                      <a:pt x="130" y="222"/>
                    </a:lnTo>
                    <a:lnTo>
                      <a:pt x="102" y="218"/>
                    </a:lnTo>
                    <a:lnTo>
                      <a:pt x="77" y="212"/>
                    </a:lnTo>
                    <a:lnTo>
                      <a:pt x="54" y="205"/>
                    </a:lnTo>
                    <a:lnTo>
                      <a:pt x="35" y="197"/>
                    </a:lnTo>
                    <a:lnTo>
                      <a:pt x="27" y="192"/>
                    </a:lnTo>
                    <a:lnTo>
                      <a:pt x="20" y="187"/>
                    </a:lnTo>
                    <a:lnTo>
                      <a:pt x="14" y="181"/>
                    </a:lnTo>
                    <a:lnTo>
                      <a:pt x="9" y="175"/>
                    </a:lnTo>
                    <a:lnTo>
                      <a:pt x="5" y="169"/>
                    </a:lnTo>
                    <a:lnTo>
                      <a:pt x="3" y="163"/>
                    </a:lnTo>
                    <a:lnTo>
                      <a:pt x="3" y="163"/>
                    </a:lnTo>
                    <a:lnTo>
                      <a:pt x="0" y="168"/>
                    </a:lnTo>
                    <a:lnTo>
                      <a:pt x="0" y="173"/>
                    </a:lnTo>
                    <a:lnTo>
                      <a:pt x="0" y="226"/>
                    </a:lnTo>
                    <a:lnTo>
                      <a:pt x="0" y="226"/>
                    </a:lnTo>
                    <a:lnTo>
                      <a:pt x="2" y="233"/>
                    </a:lnTo>
                    <a:lnTo>
                      <a:pt x="4" y="240"/>
                    </a:lnTo>
                    <a:lnTo>
                      <a:pt x="8" y="246"/>
                    </a:lnTo>
                    <a:lnTo>
                      <a:pt x="12" y="254"/>
                    </a:lnTo>
                    <a:lnTo>
                      <a:pt x="18" y="260"/>
                    </a:lnTo>
                    <a:lnTo>
                      <a:pt x="26" y="266"/>
                    </a:lnTo>
                    <a:lnTo>
                      <a:pt x="35" y="271"/>
                    </a:lnTo>
                    <a:lnTo>
                      <a:pt x="45" y="275"/>
                    </a:lnTo>
                    <a:lnTo>
                      <a:pt x="56" y="280"/>
                    </a:lnTo>
                    <a:lnTo>
                      <a:pt x="68" y="284"/>
                    </a:lnTo>
                    <a:lnTo>
                      <a:pt x="81" y="287"/>
                    </a:lnTo>
                    <a:lnTo>
                      <a:pt x="96" y="291"/>
                    </a:lnTo>
                    <a:lnTo>
                      <a:pt x="110" y="293"/>
                    </a:lnTo>
                    <a:lnTo>
                      <a:pt x="126" y="295"/>
                    </a:lnTo>
                    <a:lnTo>
                      <a:pt x="143" y="296"/>
                    </a:lnTo>
                    <a:lnTo>
                      <a:pt x="160" y="296"/>
                    </a:lnTo>
                    <a:lnTo>
                      <a:pt x="160" y="296"/>
                    </a:lnTo>
                    <a:lnTo>
                      <a:pt x="178" y="296"/>
                    </a:lnTo>
                    <a:lnTo>
                      <a:pt x="194" y="295"/>
                    </a:lnTo>
                    <a:lnTo>
                      <a:pt x="211" y="293"/>
                    </a:lnTo>
                    <a:lnTo>
                      <a:pt x="225" y="291"/>
                    </a:lnTo>
                    <a:lnTo>
                      <a:pt x="240" y="287"/>
                    </a:lnTo>
                    <a:lnTo>
                      <a:pt x="253" y="284"/>
                    </a:lnTo>
                    <a:lnTo>
                      <a:pt x="265" y="280"/>
                    </a:lnTo>
                    <a:lnTo>
                      <a:pt x="276" y="275"/>
                    </a:lnTo>
                    <a:lnTo>
                      <a:pt x="286" y="271"/>
                    </a:lnTo>
                    <a:lnTo>
                      <a:pt x="295" y="266"/>
                    </a:lnTo>
                    <a:lnTo>
                      <a:pt x="303" y="260"/>
                    </a:lnTo>
                    <a:lnTo>
                      <a:pt x="309" y="254"/>
                    </a:lnTo>
                    <a:lnTo>
                      <a:pt x="314" y="246"/>
                    </a:lnTo>
                    <a:lnTo>
                      <a:pt x="317" y="240"/>
                    </a:lnTo>
                    <a:lnTo>
                      <a:pt x="320" y="233"/>
                    </a:lnTo>
                    <a:lnTo>
                      <a:pt x="321" y="226"/>
                    </a:lnTo>
                    <a:lnTo>
                      <a:pt x="321" y="173"/>
                    </a:lnTo>
                    <a:lnTo>
                      <a:pt x="321" y="173"/>
                    </a:lnTo>
                    <a:lnTo>
                      <a:pt x="320" y="168"/>
                    </a:lnTo>
                    <a:lnTo>
                      <a:pt x="318" y="163"/>
                    </a:lnTo>
                    <a:lnTo>
                      <a:pt x="318" y="163"/>
                    </a:lnTo>
                    <a:lnTo>
                      <a:pt x="316" y="169"/>
                    </a:lnTo>
                    <a:lnTo>
                      <a:pt x="312" y="175"/>
                    </a:lnTo>
                    <a:lnTo>
                      <a:pt x="308" y="181"/>
                    </a:lnTo>
                    <a:lnTo>
                      <a:pt x="302" y="187"/>
                    </a:lnTo>
                    <a:lnTo>
                      <a:pt x="294" y="192"/>
                    </a:lnTo>
                    <a:lnTo>
                      <a:pt x="286" y="197"/>
                    </a:lnTo>
                    <a:lnTo>
                      <a:pt x="268" y="205"/>
                    </a:lnTo>
                    <a:lnTo>
                      <a:pt x="245" y="212"/>
                    </a:lnTo>
                    <a:lnTo>
                      <a:pt x="219" y="218"/>
                    </a:lnTo>
                    <a:lnTo>
                      <a:pt x="191" y="222"/>
                    </a:lnTo>
                    <a:lnTo>
                      <a:pt x="160" y="223"/>
                    </a:lnTo>
                    <a:lnTo>
                      <a:pt x="160" y="223"/>
                    </a:lnTo>
                    <a:close/>
                    <a:moveTo>
                      <a:pt x="68" y="262"/>
                    </a:moveTo>
                    <a:lnTo>
                      <a:pt x="68" y="262"/>
                    </a:lnTo>
                    <a:lnTo>
                      <a:pt x="63" y="261"/>
                    </a:lnTo>
                    <a:lnTo>
                      <a:pt x="58" y="257"/>
                    </a:lnTo>
                    <a:lnTo>
                      <a:pt x="56" y="254"/>
                    </a:lnTo>
                    <a:lnTo>
                      <a:pt x="55" y="248"/>
                    </a:lnTo>
                    <a:lnTo>
                      <a:pt x="55" y="248"/>
                    </a:lnTo>
                    <a:lnTo>
                      <a:pt x="56" y="243"/>
                    </a:lnTo>
                    <a:lnTo>
                      <a:pt x="58" y="239"/>
                    </a:lnTo>
                    <a:lnTo>
                      <a:pt x="63" y="235"/>
                    </a:lnTo>
                    <a:lnTo>
                      <a:pt x="68" y="234"/>
                    </a:lnTo>
                    <a:lnTo>
                      <a:pt x="68" y="234"/>
                    </a:lnTo>
                    <a:lnTo>
                      <a:pt x="73" y="235"/>
                    </a:lnTo>
                    <a:lnTo>
                      <a:pt x="78" y="239"/>
                    </a:lnTo>
                    <a:lnTo>
                      <a:pt x="80" y="243"/>
                    </a:lnTo>
                    <a:lnTo>
                      <a:pt x="81" y="248"/>
                    </a:lnTo>
                    <a:lnTo>
                      <a:pt x="81" y="248"/>
                    </a:lnTo>
                    <a:lnTo>
                      <a:pt x="80" y="254"/>
                    </a:lnTo>
                    <a:lnTo>
                      <a:pt x="78" y="257"/>
                    </a:lnTo>
                    <a:lnTo>
                      <a:pt x="73" y="261"/>
                    </a:lnTo>
                    <a:lnTo>
                      <a:pt x="68" y="262"/>
                    </a:lnTo>
                    <a:lnTo>
                      <a:pt x="68" y="262"/>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endParaRPr lang="zh-CN" altLang="en-US" sz="750" dirty="0">
                  <a:solidFill>
                    <a:schemeClr val="bg1"/>
                  </a:solidFill>
                  <a:latin typeface="FrutigerNext LT Medium" panose="020B0603040504020204" pitchFamily="34" charset="0"/>
                  <a:ea typeface="微软雅黑" pitchFamily="34" charset="-122"/>
                  <a:cs typeface="Arial" pitchFamily="34" charset="0"/>
                </a:endParaRPr>
              </a:p>
            </p:txBody>
          </p:sp>
          <p:sp>
            <p:nvSpPr>
              <p:cNvPr id="17" name="Freeform 79"/>
              <p:cNvSpPr>
                <a:spLocks noEditPoints="1"/>
              </p:cNvSpPr>
              <p:nvPr/>
            </p:nvSpPr>
            <p:spPr bwMode="auto">
              <a:xfrm>
                <a:off x="3273046" y="5035060"/>
                <a:ext cx="743414" cy="148664"/>
              </a:xfrm>
              <a:custGeom>
                <a:avLst/>
                <a:gdLst>
                  <a:gd name="T0" fmla="*/ 0 w 662"/>
                  <a:gd name="T1" fmla="*/ 16 h 195"/>
                  <a:gd name="T2" fmla="*/ 19 w 662"/>
                  <a:gd name="T3" fmla="*/ 195 h 195"/>
                  <a:gd name="T4" fmla="*/ 662 w 662"/>
                  <a:gd name="T5" fmla="*/ 179 h 195"/>
                  <a:gd name="T6" fmla="*/ 644 w 662"/>
                  <a:gd name="T7" fmla="*/ 0 h 195"/>
                  <a:gd name="T8" fmla="*/ 584 w 662"/>
                  <a:gd name="T9" fmla="*/ 17 h 195"/>
                  <a:gd name="T10" fmla="*/ 511 w 662"/>
                  <a:gd name="T11" fmla="*/ 63 h 195"/>
                  <a:gd name="T12" fmla="*/ 506 w 662"/>
                  <a:gd name="T13" fmla="*/ 76 h 195"/>
                  <a:gd name="T14" fmla="*/ 607 w 662"/>
                  <a:gd name="T15" fmla="*/ 116 h 195"/>
                  <a:gd name="T16" fmla="*/ 506 w 662"/>
                  <a:gd name="T17" fmla="*/ 118 h 195"/>
                  <a:gd name="T18" fmla="*/ 426 w 662"/>
                  <a:gd name="T19" fmla="*/ 16 h 195"/>
                  <a:gd name="T20" fmla="*/ 451 w 662"/>
                  <a:gd name="T21" fmla="*/ 62 h 195"/>
                  <a:gd name="T22" fmla="*/ 351 w 662"/>
                  <a:gd name="T23" fmla="*/ 78 h 195"/>
                  <a:gd name="T24" fmla="*/ 430 w 662"/>
                  <a:gd name="T25" fmla="*/ 76 h 195"/>
                  <a:gd name="T26" fmla="*/ 355 w 662"/>
                  <a:gd name="T27" fmla="*/ 121 h 195"/>
                  <a:gd name="T28" fmla="*/ 198 w 662"/>
                  <a:gd name="T29" fmla="*/ 17 h 195"/>
                  <a:gd name="T30" fmla="*/ 298 w 662"/>
                  <a:gd name="T31" fmla="*/ 59 h 195"/>
                  <a:gd name="T32" fmla="*/ 197 w 662"/>
                  <a:gd name="T33" fmla="*/ 59 h 195"/>
                  <a:gd name="T34" fmla="*/ 271 w 662"/>
                  <a:gd name="T35" fmla="*/ 73 h 195"/>
                  <a:gd name="T36" fmla="*/ 293 w 662"/>
                  <a:gd name="T37" fmla="*/ 121 h 195"/>
                  <a:gd name="T38" fmla="*/ 42 w 662"/>
                  <a:gd name="T39" fmla="*/ 20 h 195"/>
                  <a:gd name="T40" fmla="*/ 122 w 662"/>
                  <a:gd name="T41" fmla="*/ 20 h 195"/>
                  <a:gd name="T42" fmla="*/ 43 w 662"/>
                  <a:gd name="T43" fmla="*/ 62 h 195"/>
                  <a:gd name="T44" fmla="*/ 46 w 662"/>
                  <a:gd name="T45" fmla="*/ 73 h 195"/>
                  <a:gd name="T46" fmla="*/ 143 w 662"/>
                  <a:gd name="T47" fmla="*/ 118 h 195"/>
                  <a:gd name="T48" fmla="*/ 42 w 662"/>
                  <a:gd name="T49" fmla="*/ 78 h 195"/>
                  <a:gd name="T50" fmla="*/ 42 w 662"/>
                  <a:gd name="T51" fmla="*/ 136 h 195"/>
                  <a:gd name="T52" fmla="*/ 122 w 662"/>
                  <a:gd name="T53" fmla="*/ 136 h 195"/>
                  <a:gd name="T54" fmla="*/ 165 w 662"/>
                  <a:gd name="T55" fmla="*/ 172 h 195"/>
                  <a:gd name="T56" fmla="*/ 135 w 662"/>
                  <a:gd name="T57" fmla="*/ 137 h 195"/>
                  <a:gd name="T58" fmla="*/ 165 w 662"/>
                  <a:gd name="T59" fmla="*/ 114 h 195"/>
                  <a:gd name="T60" fmla="*/ 135 w 662"/>
                  <a:gd name="T61" fmla="*/ 79 h 195"/>
                  <a:gd name="T62" fmla="*/ 165 w 662"/>
                  <a:gd name="T63" fmla="*/ 56 h 195"/>
                  <a:gd name="T64" fmla="*/ 135 w 662"/>
                  <a:gd name="T65" fmla="*/ 21 h 195"/>
                  <a:gd name="T66" fmla="*/ 202 w 662"/>
                  <a:gd name="T67" fmla="*/ 178 h 195"/>
                  <a:gd name="T68" fmla="*/ 198 w 662"/>
                  <a:gd name="T69" fmla="*/ 132 h 195"/>
                  <a:gd name="T70" fmla="*/ 298 w 662"/>
                  <a:gd name="T71" fmla="*/ 174 h 195"/>
                  <a:gd name="T72" fmla="*/ 318 w 662"/>
                  <a:gd name="T73" fmla="*/ 173 h 195"/>
                  <a:gd name="T74" fmla="*/ 318 w 662"/>
                  <a:gd name="T75" fmla="*/ 136 h 195"/>
                  <a:gd name="T76" fmla="*/ 318 w 662"/>
                  <a:gd name="T77" fmla="*/ 115 h 195"/>
                  <a:gd name="T78" fmla="*/ 318 w 662"/>
                  <a:gd name="T79" fmla="*/ 78 h 195"/>
                  <a:gd name="T80" fmla="*/ 318 w 662"/>
                  <a:gd name="T81" fmla="*/ 58 h 195"/>
                  <a:gd name="T82" fmla="*/ 318 w 662"/>
                  <a:gd name="T83" fmla="*/ 21 h 195"/>
                  <a:gd name="T84" fmla="*/ 353 w 662"/>
                  <a:gd name="T85" fmla="*/ 176 h 195"/>
                  <a:gd name="T86" fmla="*/ 426 w 662"/>
                  <a:gd name="T87" fmla="*/ 131 h 195"/>
                  <a:gd name="T88" fmla="*/ 451 w 662"/>
                  <a:gd name="T89" fmla="*/ 176 h 195"/>
                  <a:gd name="T90" fmla="*/ 464 w 662"/>
                  <a:gd name="T91" fmla="*/ 173 h 195"/>
                  <a:gd name="T92" fmla="*/ 474 w 662"/>
                  <a:gd name="T93" fmla="*/ 137 h 195"/>
                  <a:gd name="T94" fmla="*/ 464 w 662"/>
                  <a:gd name="T95" fmla="*/ 115 h 195"/>
                  <a:gd name="T96" fmla="*/ 474 w 662"/>
                  <a:gd name="T97" fmla="*/ 79 h 195"/>
                  <a:gd name="T98" fmla="*/ 464 w 662"/>
                  <a:gd name="T99" fmla="*/ 58 h 195"/>
                  <a:gd name="T100" fmla="*/ 474 w 662"/>
                  <a:gd name="T101" fmla="*/ 21 h 195"/>
                  <a:gd name="T102" fmla="*/ 506 w 662"/>
                  <a:gd name="T103" fmla="*/ 174 h 195"/>
                  <a:gd name="T104" fmla="*/ 584 w 662"/>
                  <a:gd name="T105" fmla="*/ 132 h 195"/>
                  <a:gd name="T106" fmla="*/ 602 w 662"/>
                  <a:gd name="T107" fmla="*/ 178 h 195"/>
                  <a:gd name="T108" fmla="*/ 599 w 662"/>
                  <a:gd name="T109" fmla="*/ 137 h 195"/>
                  <a:gd name="T110" fmla="*/ 629 w 662"/>
                  <a:gd name="T111" fmla="*/ 172 h 195"/>
                  <a:gd name="T112" fmla="*/ 599 w 662"/>
                  <a:gd name="T113" fmla="*/ 79 h 195"/>
                  <a:gd name="T114" fmla="*/ 629 w 662"/>
                  <a:gd name="T115" fmla="*/ 114 h 195"/>
                  <a:gd name="T116" fmla="*/ 599 w 662"/>
                  <a:gd name="T117" fmla="*/ 23 h 195"/>
                  <a:gd name="T118" fmla="*/ 629 w 662"/>
                  <a:gd name="T119" fmla="*/ 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2" h="195">
                    <a:moveTo>
                      <a:pt x="644" y="0"/>
                    </a:moveTo>
                    <a:lnTo>
                      <a:pt x="19" y="0"/>
                    </a:lnTo>
                    <a:lnTo>
                      <a:pt x="19" y="0"/>
                    </a:lnTo>
                    <a:lnTo>
                      <a:pt x="13" y="1"/>
                    </a:lnTo>
                    <a:lnTo>
                      <a:pt x="6" y="4"/>
                    </a:lnTo>
                    <a:lnTo>
                      <a:pt x="2" y="10"/>
                    </a:lnTo>
                    <a:lnTo>
                      <a:pt x="1" y="12"/>
                    </a:lnTo>
                    <a:lnTo>
                      <a:pt x="0" y="16"/>
                    </a:lnTo>
                    <a:lnTo>
                      <a:pt x="0" y="179"/>
                    </a:lnTo>
                    <a:lnTo>
                      <a:pt x="0" y="179"/>
                    </a:lnTo>
                    <a:lnTo>
                      <a:pt x="1" y="181"/>
                    </a:lnTo>
                    <a:lnTo>
                      <a:pt x="2" y="184"/>
                    </a:lnTo>
                    <a:lnTo>
                      <a:pt x="6" y="190"/>
                    </a:lnTo>
                    <a:lnTo>
                      <a:pt x="13" y="193"/>
                    </a:lnTo>
                    <a:lnTo>
                      <a:pt x="16" y="195"/>
                    </a:lnTo>
                    <a:lnTo>
                      <a:pt x="19" y="195"/>
                    </a:lnTo>
                    <a:lnTo>
                      <a:pt x="644" y="195"/>
                    </a:lnTo>
                    <a:lnTo>
                      <a:pt x="644" y="195"/>
                    </a:lnTo>
                    <a:lnTo>
                      <a:pt x="647" y="195"/>
                    </a:lnTo>
                    <a:lnTo>
                      <a:pt x="651" y="193"/>
                    </a:lnTo>
                    <a:lnTo>
                      <a:pt x="658" y="190"/>
                    </a:lnTo>
                    <a:lnTo>
                      <a:pt x="661" y="184"/>
                    </a:lnTo>
                    <a:lnTo>
                      <a:pt x="662" y="181"/>
                    </a:lnTo>
                    <a:lnTo>
                      <a:pt x="662" y="179"/>
                    </a:lnTo>
                    <a:lnTo>
                      <a:pt x="662" y="16"/>
                    </a:lnTo>
                    <a:lnTo>
                      <a:pt x="662" y="16"/>
                    </a:lnTo>
                    <a:lnTo>
                      <a:pt x="662" y="12"/>
                    </a:lnTo>
                    <a:lnTo>
                      <a:pt x="661" y="10"/>
                    </a:lnTo>
                    <a:lnTo>
                      <a:pt x="658" y="4"/>
                    </a:lnTo>
                    <a:lnTo>
                      <a:pt x="651" y="1"/>
                    </a:lnTo>
                    <a:lnTo>
                      <a:pt x="644" y="0"/>
                    </a:lnTo>
                    <a:lnTo>
                      <a:pt x="644" y="0"/>
                    </a:lnTo>
                    <a:close/>
                    <a:moveTo>
                      <a:pt x="506" y="20"/>
                    </a:moveTo>
                    <a:lnTo>
                      <a:pt x="506" y="20"/>
                    </a:lnTo>
                    <a:lnTo>
                      <a:pt x="506" y="18"/>
                    </a:lnTo>
                    <a:lnTo>
                      <a:pt x="507" y="17"/>
                    </a:lnTo>
                    <a:lnTo>
                      <a:pt x="511" y="16"/>
                    </a:lnTo>
                    <a:lnTo>
                      <a:pt x="581" y="16"/>
                    </a:lnTo>
                    <a:lnTo>
                      <a:pt x="581" y="16"/>
                    </a:lnTo>
                    <a:lnTo>
                      <a:pt x="584" y="17"/>
                    </a:lnTo>
                    <a:lnTo>
                      <a:pt x="585" y="18"/>
                    </a:lnTo>
                    <a:lnTo>
                      <a:pt x="586" y="20"/>
                    </a:lnTo>
                    <a:lnTo>
                      <a:pt x="607" y="59"/>
                    </a:lnTo>
                    <a:lnTo>
                      <a:pt x="607" y="59"/>
                    </a:lnTo>
                    <a:lnTo>
                      <a:pt x="607" y="60"/>
                    </a:lnTo>
                    <a:lnTo>
                      <a:pt x="606" y="62"/>
                    </a:lnTo>
                    <a:lnTo>
                      <a:pt x="602" y="63"/>
                    </a:lnTo>
                    <a:lnTo>
                      <a:pt x="511" y="63"/>
                    </a:lnTo>
                    <a:lnTo>
                      <a:pt x="511" y="63"/>
                    </a:lnTo>
                    <a:lnTo>
                      <a:pt x="507" y="62"/>
                    </a:lnTo>
                    <a:lnTo>
                      <a:pt x="506" y="60"/>
                    </a:lnTo>
                    <a:lnTo>
                      <a:pt x="506" y="59"/>
                    </a:lnTo>
                    <a:lnTo>
                      <a:pt x="506" y="20"/>
                    </a:lnTo>
                    <a:close/>
                    <a:moveTo>
                      <a:pt x="506" y="78"/>
                    </a:moveTo>
                    <a:lnTo>
                      <a:pt x="506" y="78"/>
                    </a:lnTo>
                    <a:lnTo>
                      <a:pt x="506" y="76"/>
                    </a:lnTo>
                    <a:lnTo>
                      <a:pt x="507" y="75"/>
                    </a:lnTo>
                    <a:lnTo>
                      <a:pt x="511" y="73"/>
                    </a:lnTo>
                    <a:lnTo>
                      <a:pt x="581" y="73"/>
                    </a:lnTo>
                    <a:lnTo>
                      <a:pt x="581" y="73"/>
                    </a:lnTo>
                    <a:lnTo>
                      <a:pt x="584" y="75"/>
                    </a:lnTo>
                    <a:lnTo>
                      <a:pt x="585" y="76"/>
                    </a:lnTo>
                    <a:lnTo>
                      <a:pt x="586" y="78"/>
                    </a:lnTo>
                    <a:lnTo>
                      <a:pt x="607" y="116"/>
                    </a:lnTo>
                    <a:lnTo>
                      <a:pt x="607" y="116"/>
                    </a:lnTo>
                    <a:lnTo>
                      <a:pt x="607" y="118"/>
                    </a:lnTo>
                    <a:lnTo>
                      <a:pt x="606" y="119"/>
                    </a:lnTo>
                    <a:lnTo>
                      <a:pt x="602" y="121"/>
                    </a:lnTo>
                    <a:lnTo>
                      <a:pt x="511" y="121"/>
                    </a:lnTo>
                    <a:lnTo>
                      <a:pt x="511" y="121"/>
                    </a:lnTo>
                    <a:lnTo>
                      <a:pt x="507" y="119"/>
                    </a:lnTo>
                    <a:lnTo>
                      <a:pt x="506" y="118"/>
                    </a:lnTo>
                    <a:lnTo>
                      <a:pt x="506" y="116"/>
                    </a:lnTo>
                    <a:lnTo>
                      <a:pt x="506" y="78"/>
                    </a:lnTo>
                    <a:close/>
                    <a:moveTo>
                      <a:pt x="351" y="20"/>
                    </a:moveTo>
                    <a:lnTo>
                      <a:pt x="351" y="20"/>
                    </a:lnTo>
                    <a:lnTo>
                      <a:pt x="352" y="18"/>
                    </a:lnTo>
                    <a:lnTo>
                      <a:pt x="353" y="17"/>
                    </a:lnTo>
                    <a:lnTo>
                      <a:pt x="355" y="16"/>
                    </a:lnTo>
                    <a:lnTo>
                      <a:pt x="426" y="16"/>
                    </a:lnTo>
                    <a:lnTo>
                      <a:pt x="426" y="16"/>
                    </a:lnTo>
                    <a:lnTo>
                      <a:pt x="429" y="17"/>
                    </a:lnTo>
                    <a:lnTo>
                      <a:pt x="430" y="18"/>
                    </a:lnTo>
                    <a:lnTo>
                      <a:pt x="431" y="20"/>
                    </a:lnTo>
                    <a:lnTo>
                      <a:pt x="452" y="59"/>
                    </a:lnTo>
                    <a:lnTo>
                      <a:pt x="452" y="59"/>
                    </a:lnTo>
                    <a:lnTo>
                      <a:pt x="452" y="60"/>
                    </a:lnTo>
                    <a:lnTo>
                      <a:pt x="451" y="62"/>
                    </a:lnTo>
                    <a:lnTo>
                      <a:pt x="447" y="63"/>
                    </a:lnTo>
                    <a:lnTo>
                      <a:pt x="355" y="63"/>
                    </a:lnTo>
                    <a:lnTo>
                      <a:pt x="355" y="63"/>
                    </a:lnTo>
                    <a:lnTo>
                      <a:pt x="353" y="62"/>
                    </a:lnTo>
                    <a:lnTo>
                      <a:pt x="352" y="60"/>
                    </a:lnTo>
                    <a:lnTo>
                      <a:pt x="351" y="59"/>
                    </a:lnTo>
                    <a:lnTo>
                      <a:pt x="351" y="20"/>
                    </a:lnTo>
                    <a:close/>
                    <a:moveTo>
                      <a:pt x="351" y="78"/>
                    </a:moveTo>
                    <a:lnTo>
                      <a:pt x="351" y="78"/>
                    </a:lnTo>
                    <a:lnTo>
                      <a:pt x="352" y="76"/>
                    </a:lnTo>
                    <a:lnTo>
                      <a:pt x="353" y="75"/>
                    </a:lnTo>
                    <a:lnTo>
                      <a:pt x="355" y="73"/>
                    </a:lnTo>
                    <a:lnTo>
                      <a:pt x="426" y="73"/>
                    </a:lnTo>
                    <a:lnTo>
                      <a:pt x="426" y="73"/>
                    </a:lnTo>
                    <a:lnTo>
                      <a:pt x="429" y="75"/>
                    </a:lnTo>
                    <a:lnTo>
                      <a:pt x="430" y="76"/>
                    </a:lnTo>
                    <a:lnTo>
                      <a:pt x="431" y="78"/>
                    </a:lnTo>
                    <a:lnTo>
                      <a:pt x="452" y="116"/>
                    </a:lnTo>
                    <a:lnTo>
                      <a:pt x="452" y="116"/>
                    </a:lnTo>
                    <a:lnTo>
                      <a:pt x="452" y="118"/>
                    </a:lnTo>
                    <a:lnTo>
                      <a:pt x="451" y="119"/>
                    </a:lnTo>
                    <a:lnTo>
                      <a:pt x="447" y="121"/>
                    </a:lnTo>
                    <a:lnTo>
                      <a:pt x="355" y="121"/>
                    </a:lnTo>
                    <a:lnTo>
                      <a:pt x="355" y="121"/>
                    </a:lnTo>
                    <a:lnTo>
                      <a:pt x="353" y="119"/>
                    </a:lnTo>
                    <a:lnTo>
                      <a:pt x="352" y="118"/>
                    </a:lnTo>
                    <a:lnTo>
                      <a:pt x="351" y="116"/>
                    </a:lnTo>
                    <a:lnTo>
                      <a:pt x="351" y="78"/>
                    </a:lnTo>
                    <a:close/>
                    <a:moveTo>
                      <a:pt x="197" y="20"/>
                    </a:moveTo>
                    <a:lnTo>
                      <a:pt x="197" y="20"/>
                    </a:lnTo>
                    <a:lnTo>
                      <a:pt x="197" y="18"/>
                    </a:lnTo>
                    <a:lnTo>
                      <a:pt x="198" y="17"/>
                    </a:lnTo>
                    <a:lnTo>
                      <a:pt x="202" y="16"/>
                    </a:lnTo>
                    <a:lnTo>
                      <a:pt x="271" y="16"/>
                    </a:lnTo>
                    <a:lnTo>
                      <a:pt x="271" y="16"/>
                    </a:lnTo>
                    <a:lnTo>
                      <a:pt x="275" y="17"/>
                    </a:lnTo>
                    <a:lnTo>
                      <a:pt x="276" y="18"/>
                    </a:lnTo>
                    <a:lnTo>
                      <a:pt x="276" y="20"/>
                    </a:lnTo>
                    <a:lnTo>
                      <a:pt x="298" y="59"/>
                    </a:lnTo>
                    <a:lnTo>
                      <a:pt x="298" y="59"/>
                    </a:lnTo>
                    <a:lnTo>
                      <a:pt x="297" y="60"/>
                    </a:lnTo>
                    <a:lnTo>
                      <a:pt x="297" y="62"/>
                    </a:lnTo>
                    <a:lnTo>
                      <a:pt x="293" y="63"/>
                    </a:lnTo>
                    <a:lnTo>
                      <a:pt x="202" y="63"/>
                    </a:lnTo>
                    <a:lnTo>
                      <a:pt x="202" y="63"/>
                    </a:lnTo>
                    <a:lnTo>
                      <a:pt x="198" y="62"/>
                    </a:lnTo>
                    <a:lnTo>
                      <a:pt x="197" y="60"/>
                    </a:lnTo>
                    <a:lnTo>
                      <a:pt x="197" y="59"/>
                    </a:lnTo>
                    <a:lnTo>
                      <a:pt x="197" y="20"/>
                    </a:lnTo>
                    <a:close/>
                    <a:moveTo>
                      <a:pt x="197" y="78"/>
                    </a:moveTo>
                    <a:lnTo>
                      <a:pt x="197" y="78"/>
                    </a:lnTo>
                    <a:lnTo>
                      <a:pt x="197" y="76"/>
                    </a:lnTo>
                    <a:lnTo>
                      <a:pt x="198" y="75"/>
                    </a:lnTo>
                    <a:lnTo>
                      <a:pt x="202" y="73"/>
                    </a:lnTo>
                    <a:lnTo>
                      <a:pt x="271" y="73"/>
                    </a:lnTo>
                    <a:lnTo>
                      <a:pt x="271" y="73"/>
                    </a:lnTo>
                    <a:lnTo>
                      <a:pt x="275" y="75"/>
                    </a:lnTo>
                    <a:lnTo>
                      <a:pt x="276" y="76"/>
                    </a:lnTo>
                    <a:lnTo>
                      <a:pt x="276" y="78"/>
                    </a:lnTo>
                    <a:lnTo>
                      <a:pt x="298" y="116"/>
                    </a:lnTo>
                    <a:lnTo>
                      <a:pt x="298" y="116"/>
                    </a:lnTo>
                    <a:lnTo>
                      <a:pt x="297" y="118"/>
                    </a:lnTo>
                    <a:lnTo>
                      <a:pt x="297" y="119"/>
                    </a:lnTo>
                    <a:lnTo>
                      <a:pt x="293" y="121"/>
                    </a:lnTo>
                    <a:lnTo>
                      <a:pt x="202" y="121"/>
                    </a:lnTo>
                    <a:lnTo>
                      <a:pt x="202" y="121"/>
                    </a:lnTo>
                    <a:lnTo>
                      <a:pt x="198" y="119"/>
                    </a:lnTo>
                    <a:lnTo>
                      <a:pt x="197" y="118"/>
                    </a:lnTo>
                    <a:lnTo>
                      <a:pt x="197" y="116"/>
                    </a:lnTo>
                    <a:lnTo>
                      <a:pt x="197" y="78"/>
                    </a:lnTo>
                    <a:close/>
                    <a:moveTo>
                      <a:pt x="42" y="20"/>
                    </a:moveTo>
                    <a:lnTo>
                      <a:pt x="42" y="20"/>
                    </a:lnTo>
                    <a:lnTo>
                      <a:pt x="42" y="18"/>
                    </a:lnTo>
                    <a:lnTo>
                      <a:pt x="43" y="17"/>
                    </a:lnTo>
                    <a:lnTo>
                      <a:pt x="46" y="16"/>
                    </a:lnTo>
                    <a:lnTo>
                      <a:pt x="117" y="16"/>
                    </a:lnTo>
                    <a:lnTo>
                      <a:pt x="117" y="16"/>
                    </a:lnTo>
                    <a:lnTo>
                      <a:pt x="120" y="17"/>
                    </a:lnTo>
                    <a:lnTo>
                      <a:pt x="121" y="18"/>
                    </a:lnTo>
                    <a:lnTo>
                      <a:pt x="122" y="20"/>
                    </a:lnTo>
                    <a:lnTo>
                      <a:pt x="143" y="59"/>
                    </a:lnTo>
                    <a:lnTo>
                      <a:pt x="143" y="59"/>
                    </a:lnTo>
                    <a:lnTo>
                      <a:pt x="143" y="60"/>
                    </a:lnTo>
                    <a:lnTo>
                      <a:pt x="142" y="62"/>
                    </a:lnTo>
                    <a:lnTo>
                      <a:pt x="138" y="63"/>
                    </a:lnTo>
                    <a:lnTo>
                      <a:pt x="46" y="63"/>
                    </a:lnTo>
                    <a:lnTo>
                      <a:pt x="46" y="63"/>
                    </a:lnTo>
                    <a:lnTo>
                      <a:pt x="43" y="62"/>
                    </a:lnTo>
                    <a:lnTo>
                      <a:pt x="42" y="60"/>
                    </a:lnTo>
                    <a:lnTo>
                      <a:pt x="42" y="59"/>
                    </a:lnTo>
                    <a:lnTo>
                      <a:pt x="42" y="20"/>
                    </a:lnTo>
                    <a:close/>
                    <a:moveTo>
                      <a:pt x="42" y="78"/>
                    </a:moveTo>
                    <a:lnTo>
                      <a:pt x="42" y="78"/>
                    </a:lnTo>
                    <a:lnTo>
                      <a:pt x="42" y="76"/>
                    </a:lnTo>
                    <a:lnTo>
                      <a:pt x="43" y="75"/>
                    </a:lnTo>
                    <a:lnTo>
                      <a:pt x="46" y="73"/>
                    </a:lnTo>
                    <a:lnTo>
                      <a:pt x="117" y="73"/>
                    </a:lnTo>
                    <a:lnTo>
                      <a:pt x="117" y="73"/>
                    </a:lnTo>
                    <a:lnTo>
                      <a:pt x="120" y="75"/>
                    </a:lnTo>
                    <a:lnTo>
                      <a:pt x="121" y="76"/>
                    </a:lnTo>
                    <a:lnTo>
                      <a:pt x="122" y="78"/>
                    </a:lnTo>
                    <a:lnTo>
                      <a:pt x="143" y="116"/>
                    </a:lnTo>
                    <a:lnTo>
                      <a:pt x="143" y="116"/>
                    </a:lnTo>
                    <a:lnTo>
                      <a:pt x="143" y="118"/>
                    </a:lnTo>
                    <a:lnTo>
                      <a:pt x="142" y="119"/>
                    </a:lnTo>
                    <a:lnTo>
                      <a:pt x="138" y="121"/>
                    </a:lnTo>
                    <a:lnTo>
                      <a:pt x="46" y="121"/>
                    </a:lnTo>
                    <a:lnTo>
                      <a:pt x="46" y="121"/>
                    </a:lnTo>
                    <a:lnTo>
                      <a:pt x="43" y="119"/>
                    </a:lnTo>
                    <a:lnTo>
                      <a:pt x="42" y="118"/>
                    </a:lnTo>
                    <a:lnTo>
                      <a:pt x="42" y="116"/>
                    </a:lnTo>
                    <a:lnTo>
                      <a:pt x="42" y="78"/>
                    </a:lnTo>
                    <a:close/>
                    <a:moveTo>
                      <a:pt x="138" y="178"/>
                    </a:moveTo>
                    <a:lnTo>
                      <a:pt x="46" y="178"/>
                    </a:lnTo>
                    <a:lnTo>
                      <a:pt x="46" y="178"/>
                    </a:lnTo>
                    <a:lnTo>
                      <a:pt x="43" y="176"/>
                    </a:lnTo>
                    <a:lnTo>
                      <a:pt x="42" y="175"/>
                    </a:lnTo>
                    <a:lnTo>
                      <a:pt x="42" y="174"/>
                    </a:lnTo>
                    <a:lnTo>
                      <a:pt x="42" y="136"/>
                    </a:lnTo>
                    <a:lnTo>
                      <a:pt x="42" y="136"/>
                    </a:lnTo>
                    <a:lnTo>
                      <a:pt x="42" y="133"/>
                    </a:lnTo>
                    <a:lnTo>
                      <a:pt x="43" y="132"/>
                    </a:lnTo>
                    <a:lnTo>
                      <a:pt x="46" y="131"/>
                    </a:lnTo>
                    <a:lnTo>
                      <a:pt x="117" y="131"/>
                    </a:lnTo>
                    <a:lnTo>
                      <a:pt x="117" y="131"/>
                    </a:lnTo>
                    <a:lnTo>
                      <a:pt x="120" y="132"/>
                    </a:lnTo>
                    <a:lnTo>
                      <a:pt x="121" y="133"/>
                    </a:lnTo>
                    <a:lnTo>
                      <a:pt x="122" y="136"/>
                    </a:lnTo>
                    <a:lnTo>
                      <a:pt x="143" y="174"/>
                    </a:lnTo>
                    <a:lnTo>
                      <a:pt x="143" y="174"/>
                    </a:lnTo>
                    <a:lnTo>
                      <a:pt x="143" y="175"/>
                    </a:lnTo>
                    <a:lnTo>
                      <a:pt x="142" y="176"/>
                    </a:lnTo>
                    <a:lnTo>
                      <a:pt x="138" y="178"/>
                    </a:lnTo>
                    <a:lnTo>
                      <a:pt x="138" y="178"/>
                    </a:lnTo>
                    <a:close/>
                    <a:moveTo>
                      <a:pt x="165" y="172"/>
                    </a:moveTo>
                    <a:lnTo>
                      <a:pt x="165" y="172"/>
                    </a:lnTo>
                    <a:lnTo>
                      <a:pt x="165" y="172"/>
                    </a:lnTo>
                    <a:lnTo>
                      <a:pt x="164" y="173"/>
                    </a:lnTo>
                    <a:lnTo>
                      <a:pt x="154" y="173"/>
                    </a:lnTo>
                    <a:lnTo>
                      <a:pt x="154" y="173"/>
                    </a:lnTo>
                    <a:lnTo>
                      <a:pt x="153" y="172"/>
                    </a:lnTo>
                    <a:lnTo>
                      <a:pt x="135" y="137"/>
                    </a:lnTo>
                    <a:lnTo>
                      <a:pt x="135" y="137"/>
                    </a:lnTo>
                    <a:lnTo>
                      <a:pt x="135" y="137"/>
                    </a:lnTo>
                    <a:lnTo>
                      <a:pt x="136" y="136"/>
                    </a:lnTo>
                    <a:lnTo>
                      <a:pt x="164" y="136"/>
                    </a:lnTo>
                    <a:lnTo>
                      <a:pt x="164" y="136"/>
                    </a:lnTo>
                    <a:lnTo>
                      <a:pt x="165" y="137"/>
                    </a:lnTo>
                    <a:lnTo>
                      <a:pt x="165" y="138"/>
                    </a:lnTo>
                    <a:lnTo>
                      <a:pt x="165" y="172"/>
                    </a:lnTo>
                    <a:close/>
                    <a:moveTo>
                      <a:pt x="165" y="114"/>
                    </a:moveTo>
                    <a:lnTo>
                      <a:pt x="165" y="114"/>
                    </a:lnTo>
                    <a:lnTo>
                      <a:pt x="165" y="114"/>
                    </a:lnTo>
                    <a:lnTo>
                      <a:pt x="164" y="115"/>
                    </a:lnTo>
                    <a:lnTo>
                      <a:pt x="154" y="115"/>
                    </a:lnTo>
                    <a:lnTo>
                      <a:pt x="154" y="115"/>
                    </a:lnTo>
                    <a:lnTo>
                      <a:pt x="153" y="114"/>
                    </a:lnTo>
                    <a:lnTo>
                      <a:pt x="135" y="79"/>
                    </a:lnTo>
                    <a:lnTo>
                      <a:pt x="135" y="79"/>
                    </a:lnTo>
                    <a:lnTo>
                      <a:pt x="135" y="79"/>
                    </a:lnTo>
                    <a:lnTo>
                      <a:pt x="136" y="78"/>
                    </a:lnTo>
                    <a:lnTo>
                      <a:pt x="164" y="78"/>
                    </a:lnTo>
                    <a:lnTo>
                      <a:pt x="164" y="78"/>
                    </a:lnTo>
                    <a:lnTo>
                      <a:pt x="165" y="79"/>
                    </a:lnTo>
                    <a:lnTo>
                      <a:pt x="165" y="80"/>
                    </a:lnTo>
                    <a:lnTo>
                      <a:pt x="165" y="114"/>
                    </a:lnTo>
                    <a:close/>
                    <a:moveTo>
                      <a:pt x="165" y="56"/>
                    </a:moveTo>
                    <a:lnTo>
                      <a:pt x="165" y="56"/>
                    </a:lnTo>
                    <a:lnTo>
                      <a:pt x="165" y="56"/>
                    </a:lnTo>
                    <a:lnTo>
                      <a:pt x="164" y="58"/>
                    </a:lnTo>
                    <a:lnTo>
                      <a:pt x="154" y="58"/>
                    </a:lnTo>
                    <a:lnTo>
                      <a:pt x="154" y="58"/>
                    </a:lnTo>
                    <a:lnTo>
                      <a:pt x="153" y="56"/>
                    </a:lnTo>
                    <a:lnTo>
                      <a:pt x="135" y="23"/>
                    </a:lnTo>
                    <a:lnTo>
                      <a:pt x="135" y="23"/>
                    </a:lnTo>
                    <a:lnTo>
                      <a:pt x="135" y="21"/>
                    </a:lnTo>
                    <a:lnTo>
                      <a:pt x="136" y="21"/>
                    </a:lnTo>
                    <a:lnTo>
                      <a:pt x="164" y="21"/>
                    </a:lnTo>
                    <a:lnTo>
                      <a:pt x="164" y="21"/>
                    </a:lnTo>
                    <a:lnTo>
                      <a:pt x="165" y="21"/>
                    </a:lnTo>
                    <a:lnTo>
                      <a:pt x="165" y="23"/>
                    </a:lnTo>
                    <a:lnTo>
                      <a:pt x="165" y="56"/>
                    </a:lnTo>
                    <a:close/>
                    <a:moveTo>
                      <a:pt x="293" y="178"/>
                    </a:moveTo>
                    <a:lnTo>
                      <a:pt x="202" y="178"/>
                    </a:lnTo>
                    <a:lnTo>
                      <a:pt x="202" y="178"/>
                    </a:lnTo>
                    <a:lnTo>
                      <a:pt x="198" y="176"/>
                    </a:lnTo>
                    <a:lnTo>
                      <a:pt x="197" y="175"/>
                    </a:lnTo>
                    <a:lnTo>
                      <a:pt x="197" y="174"/>
                    </a:lnTo>
                    <a:lnTo>
                      <a:pt x="197" y="136"/>
                    </a:lnTo>
                    <a:lnTo>
                      <a:pt x="197" y="136"/>
                    </a:lnTo>
                    <a:lnTo>
                      <a:pt x="197" y="133"/>
                    </a:lnTo>
                    <a:lnTo>
                      <a:pt x="198" y="132"/>
                    </a:lnTo>
                    <a:lnTo>
                      <a:pt x="202" y="131"/>
                    </a:lnTo>
                    <a:lnTo>
                      <a:pt x="271" y="131"/>
                    </a:lnTo>
                    <a:lnTo>
                      <a:pt x="271" y="131"/>
                    </a:lnTo>
                    <a:lnTo>
                      <a:pt x="275" y="132"/>
                    </a:lnTo>
                    <a:lnTo>
                      <a:pt x="276" y="133"/>
                    </a:lnTo>
                    <a:lnTo>
                      <a:pt x="276" y="136"/>
                    </a:lnTo>
                    <a:lnTo>
                      <a:pt x="298" y="174"/>
                    </a:lnTo>
                    <a:lnTo>
                      <a:pt x="298" y="174"/>
                    </a:lnTo>
                    <a:lnTo>
                      <a:pt x="297" y="175"/>
                    </a:lnTo>
                    <a:lnTo>
                      <a:pt x="297" y="176"/>
                    </a:lnTo>
                    <a:lnTo>
                      <a:pt x="293" y="178"/>
                    </a:lnTo>
                    <a:lnTo>
                      <a:pt x="293" y="178"/>
                    </a:lnTo>
                    <a:close/>
                    <a:moveTo>
                      <a:pt x="320" y="172"/>
                    </a:moveTo>
                    <a:lnTo>
                      <a:pt x="320" y="172"/>
                    </a:lnTo>
                    <a:lnTo>
                      <a:pt x="319" y="172"/>
                    </a:lnTo>
                    <a:lnTo>
                      <a:pt x="318" y="173"/>
                    </a:lnTo>
                    <a:lnTo>
                      <a:pt x="309" y="173"/>
                    </a:lnTo>
                    <a:lnTo>
                      <a:pt x="309" y="173"/>
                    </a:lnTo>
                    <a:lnTo>
                      <a:pt x="307" y="172"/>
                    </a:lnTo>
                    <a:lnTo>
                      <a:pt x="290" y="137"/>
                    </a:lnTo>
                    <a:lnTo>
                      <a:pt x="290" y="137"/>
                    </a:lnTo>
                    <a:lnTo>
                      <a:pt x="290" y="137"/>
                    </a:lnTo>
                    <a:lnTo>
                      <a:pt x="290" y="136"/>
                    </a:lnTo>
                    <a:lnTo>
                      <a:pt x="318" y="136"/>
                    </a:lnTo>
                    <a:lnTo>
                      <a:pt x="318" y="136"/>
                    </a:lnTo>
                    <a:lnTo>
                      <a:pt x="319" y="137"/>
                    </a:lnTo>
                    <a:lnTo>
                      <a:pt x="320" y="138"/>
                    </a:lnTo>
                    <a:lnTo>
                      <a:pt x="320" y="172"/>
                    </a:lnTo>
                    <a:close/>
                    <a:moveTo>
                      <a:pt x="320" y="114"/>
                    </a:moveTo>
                    <a:lnTo>
                      <a:pt x="320" y="114"/>
                    </a:lnTo>
                    <a:lnTo>
                      <a:pt x="319" y="114"/>
                    </a:lnTo>
                    <a:lnTo>
                      <a:pt x="318" y="115"/>
                    </a:lnTo>
                    <a:lnTo>
                      <a:pt x="309" y="115"/>
                    </a:lnTo>
                    <a:lnTo>
                      <a:pt x="309" y="115"/>
                    </a:lnTo>
                    <a:lnTo>
                      <a:pt x="307" y="114"/>
                    </a:lnTo>
                    <a:lnTo>
                      <a:pt x="290" y="79"/>
                    </a:lnTo>
                    <a:lnTo>
                      <a:pt x="290" y="79"/>
                    </a:lnTo>
                    <a:lnTo>
                      <a:pt x="290" y="79"/>
                    </a:lnTo>
                    <a:lnTo>
                      <a:pt x="290" y="78"/>
                    </a:lnTo>
                    <a:lnTo>
                      <a:pt x="318" y="78"/>
                    </a:lnTo>
                    <a:lnTo>
                      <a:pt x="318" y="78"/>
                    </a:lnTo>
                    <a:lnTo>
                      <a:pt x="319" y="79"/>
                    </a:lnTo>
                    <a:lnTo>
                      <a:pt x="320" y="80"/>
                    </a:lnTo>
                    <a:lnTo>
                      <a:pt x="320" y="114"/>
                    </a:lnTo>
                    <a:close/>
                    <a:moveTo>
                      <a:pt x="320" y="56"/>
                    </a:moveTo>
                    <a:lnTo>
                      <a:pt x="320" y="56"/>
                    </a:lnTo>
                    <a:lnTo>
                      <a:pt x="319" y="56"/>
                    </a:lnTo>
                    <a:lnTo>
                      <a:pt x="318" y="58"/>
                    </a:lnTo>
                    <a:lnTo>
                      <a:pt x="309" y="58"/>
                    </a:lnTo>
                    <a:lnTo>
                      <a:pt x="309" y="58"/>
                    </a:lnTo>
                    <a:lnTo>
                      <a:pt x="307" y="56"/>
                    </a:lnTo>
                    <a:lnTo>
                      <a:pt x="290" y="23"/>
                    </a:lnTo>
                    <a:lnTo>
                      <a:pt x="290" y="23"/>
                    </a:lnTo>
                    <a:lnTo>
                      <a:pt x="290" y="21"/>
                    </a:lnTo>
                    <a:lnTo>
                      <a:pt x="290" y="21"/>
                    </a:lnTo>
                    <a:lnTo>
                      <a:pt x="318" y="21"/>
                    </a:lnTo>
                    <a:lnTo>
                      <a:pt x="318" y="21"/>
                    </a:lnTo>
                    <a:lnTo>
                      <a:pt x="319" y="21"/>
                    </a:lnTo>
                    <a:lnTo>
                      <a:pt x="320" y="23"/>
                    </a:lnTo>
                    <a:lnTo>
                      <a:pt x="320" y="56"/>
                    </a:lnTo>
                    <a:close/>
                    <a:moveTo>
                      <a:pt x="447" y="178"/>
                    </a:moveTo>
                    <a:lnTo>
                      <a:pt x="355" y="178"/>
                    </a:lnTo>
                    <a:lnTo>
                      <a:pt x="355" y="178"/>
                    </a:lnTo>
                    <a:lnTo>
                      <a:pt x="353" y="176"/>
                    </a:lnTo>
                    <a:lnTo>
                      <a:pt x="352" y="175"/>
                    </a:lnTo>
                    <a:lnTo>
                      <a:pt x="351" y="174"/>
                    </a:lnTo>
                    <a:lnTo>
                      <a:pt x="351" y="136"/>
                    </a:lnTo>
                    <a:lnTo>
                      <a:pt x="351" y="136"/>
                    </a:lnTo>
                    <a:lnTo>
                      <a:pt x="352" y="133"/>
                    </a:lnTo>
                    <a:lnTo>
                      <a:pt x="353" y="132"/>
                    </a:lnTo>
                    <a:lnTo>
                      <a:pt x="355" y="131"/>
                    </a:lnTo>
                    <a:lnTo>
                      <a:pt x="426" y="131"/>
                    </a:lnTo>
                    <a:lnTo>
                      <a:pt x="426" y="131"/>
                    </a:lnTo>
                    <a:lnTo>
                      <a:pt x="429" y="132"/>
                    </a:lnTo>
                    <a:lnTo>
                      <a:pt x="430" y="133"/>
                    </a:lnTo>
                    <a:lnTo>
                      <a:pt x="431" y="136"/>
                    </a:lnTo>
                    <a:lnTo>
                      <a:pt x="452" y="174"/>
                    </a:lnTo>
                    <a:lnTo>
                      <a:pt x="452" y="174"/>
                    </a:lnTo>
                    <a:lnTo>
                      <a:pt x="452" y="175"/>
                    </a:lnTo>
                    <a:lnTo>
                      <a:pt x="451" y="176"/>
                    </a:lnTo>
                    <a:lnTo>
                      <a:pt x="447" y="178"/>
                    </a:lnTo>
                    <a:lnTo>
                      <a:pt x="447" y="178"/>
                    </a:lnTo>
                    <a:close/>
                    <a:moveTo>
                      <a:pt x="474" y="172"/>
                    </a:moveTo>
                    <a:lnTo>
                      <a:pt x="474" y="172"/>
                    </a:lnTo>
                    <a:lnTo>
                      <a:pt x="474" y="172"/>
                    </a:lnTo>
                    <a:lnTo>
                      <a:pt x="473" y="173"/>
                    </a:lnTo>
                    <a:lnTo>
                      <a:pt x="464" y="173"/>
                    </a:lnTo>
                    <a:lnTo>
                      <a:pt x="464" y="173"/>
                    </a:lnTo>
                    <a:lnTo>
                      <a:pt x="462" y="172"/>
                    </a:lnTo>
                    <a:lnTo>
                      <a:pt x="444" y="137"/>
                    </a:lnTo>
                    <a:lnTo>
                      <a:pt x="444" y="137"/>
                    </a:lnTo>
                    <a:lnTo>
                      <a:pt x="444" y="137"/>
                    </a:lnTo>
                    <a:lnTo>
                      <a:pt x="445" y="136"/>
                    </a:lnTo>
                    <a:lnTo>
                      <a:pt x="473" y="136"/>
                    </a:lnTo>
                    <a:lnTo>
                      <a:pt x="473" y="136"/>
                    </a:lnTo>
                    <a:lnTo>
                      <a:pt x="474" y="137"/>
                    </a:lnTo>
                    <a:lnTo>
                      <a:pt x="474" y="138"/>
                    </a:lnTo>
                    <a:lnTo>
                      <a:pt x="474" y="172"/>
                    </a:lnTo>
                    <a:close/>
                    <a:moveTo>
                      <a:pt x="474" y="114"/>
                    </a:moveTo>
                    <a:lnTo>
                      <a:pt x="474" y="114"/>
                    </a:lnTo>
                    <a:lnTo>
                      <a:pt x="474" y="114"/>
                    </a:lnTo>
                    <a:lnTo>
                      <a:pt x="473" y="115"/>
                    </a:lnTo>
                    <a:lnTo>
                      <a:pt x="464" y="115"/>
                    </a:lnTo>
                    <a:lnTo>
                      <a:pt x="464" y="115"/>
                    </a:lnTo>
                    <a:lnTo>
                      <a:pt x="462" y="114"/>
                    </a:lnTo>
                    <a:lnTo>
                      <a:pt x="444" y="79"/>
                    </a:lnTo>
                    <a:lnTo>
                      <a:pt x="444" y="79"/>
                    </a:lnTo>
                    <a:lnTo>
                      <a:pt x="444" y="79"/>
                    </a:lnTo>
                    <a:lnTo>
                      <a:pt x="445" y="78"/>
                    </a:lnTo>
                    <a:lnTo>
                      <a:pt x="473" y="78"/>
                    </a:lnTo>
                    <a:lnTo>
                      <a:pt x="473" y="78"/>
                    </a:lnTo>
                    <a:lnTo>
                      <a:pt x="474" y="79"/>
                    </a:lnTo>
                    <a:lnTo>
                      <a:pt x="474" y="80"/>
                    </a:lnTo>
                    <a:lnTo>
                      <a:pt x="474" y="114"/>
                    </a:lnTo>
                    <a:close/>
                    <a:moveTo>
                      <a:pt x="474" y="56"/>
                    </a:moveTo>
                    <a:lnTo>
                      <a:pt x="474" y="56"/>
                    </a:lnTo>
                    <a:lnTo>
                      <a:pt x="474" y="56"/>
                    </a:lnTo>
                    <a:lnTo>
                      <a:pt x="473" y="58"/>
                    </a:lnTo>
                    <a:lnTo>
                      <a:pt x="464" y="58"/>
                    </a:lnTo>
                    <a:lnTo>
                      <a:pt x="464" y="58"/>
                    </a:lnTo>
                    <a:lnTo>
                      <a:pt x="462" y="56"/>
                    </a:lnTo>
                    <a:lnTo>
                      <a:pt x="444" y="23"/>
                    </a:lnTo>
                    <a:lnTo>
                      <a:pt x="444" y="23"/>
                    </a:lnTo>
                    <a:lnTo>
                      <a:pt x="444" y="21"/>
                    </a:lnTo>
                    <a:lnTo>
                      <a:pt x="445" y="21"/>
                    </a:lnTo>
                    <a:lnTo>
                      <a:pt x="473" y="21"/>
                    </a:lnTo>
                    <a:lnTo>
                      <a:pt x="473" y="21"/>
                    </a:lnTo>
                    <a:lnTo>
                      <a:pt x="474" y="21"/>
                    </a:lnTo>
                    <a:lnTo>
                      <a:pt x="474" y="23"/>
                    </a:lnTo>
                    <a:lnTo>
                      <a:pt x="474" y="56"/>
                    </a:lnTo>
                    <a:close/>
                    <a:moveTo>
                      <a:pt x="602" y="178"/>
                    </a:moveTo>
                    <a:lnTo>
                      <a:pt x="511" y="178"/>
                    </a:lnTo>
                    <a:lnTo>
                      <a:pt x="511" y="178"/>
                    </a:lnTo>
                    <a:lnTo>
                      <a:pt x="507" y="176"/>
                    </a:lnTo>
                    <a:lnTo>
                      <a:pt x="506" y="175"/>
                    </a:lnTo>
                    <a:lnTo>
                      <a:pt x="506" y="174"/>
                    </a:lnTo>
                    <a:lnTo>
                      <a:pt x="506" y="136"/>
                    </a:lnTo>
                    <a:lnTo>
                      <a:pt x="506" y="136"/>
                    </a:lnTo>
                    <a:lnTo>
                      <a:pt x="506" y="133"/>
                    </a:lnTo>
                    <a:lnTo>
                      <a:pt x="507" y="132"/>
                    </a:lnTo>
                    <a:lnTo>
                      <a:pt x="511" y="131"/>
                    </a:lnTo>
                    <a:lnTo>
                      <a:pt x="581" y="131"/>
                    </a:lnTo>
                    <a:lnTo>
                      <a:pt x="581" y="131"/>
                    </a:lnTo>
                    <a:lnTo>
                      <a:pt x="584" y="132"/>
                    </a:lnTo>
                    <a:lnTo>
                      <a:pt x="585" y="133"/>
                    </a:lnTo>
                    <a:lnTo>
                      <a:pt x="586" y="136"/>
                    </a:lnTo>
                    <a:lnTo>
                      <a:pt x="607" y="174"/>
                    </a:lnTo>
                    <a:lnTo>
                      <a:pt x="607" y="174"/>
                    </a:lnTo>
                    <a:lnTo>
                      <a:pt x="607" y="175"/>
                    </a:lnTo>
                    <a:lnTo>
                      <a:pt x="606" y="176"/>
                    </a:lnTo>
                    <a:lnTo>
                      <a:pt x="602" y="178"/>
                    </a:lnTo>
                    <a:lnTo>
                      <a:pt x="602" y="178"/>
                    </a:lnTo>
                    <a:close/>
                    <a:moveTo>
                      <a:pt x="629" y="172"/>
                    </a:moveTo>
                    <a:lnTo>
                      <a:pt x="629" y="172"/>
                    </a:lnTo>
                    <a:lnTo>
                      <a:pt x="629" y="172"/>
                    </a:lnTo>
                    <a:lnTo>
                      <a:pt x="628" y="173"/>
                    </a:lnTo>
                    <a:lnTo>
                      <a:pt x="618" y="173"/>
                    </a:lnTo>
                    <a:lnTo>
                      <a:pt x="618" y="173"/>
                    </a:lnTo>
                    <a:lnTo>
                      <a:pt x="617" y="172"/>
                    </a:lnTo>
                    <a:lnTo>
                      <a:pt x="599" y="137"/>
                    </a:lnTo>
                    <a:lnTo>
                      <a:pt x="599" y="137"/>
                    </a:lnTo>
                    <a:lnTo>
                      <a:pt x="599" y="137"/>
                    </a:lnTo>
                    <a:lnTo>
                      <a:pt x="600" y="136"/>
                    </a:lnTo>
                    <a:lnTo>
                      <a:pt x="628" y="136"/>
                    </a:lnTo>
                    <a:lnTo>
                      <a:pt x="628" y="136"/>
                    </a:lnTo>
                    <a:lnTo>
                      <a:pt x="629" y="137"/>
                    </a:lnTo>
                    <a:lnTo>
                      <a:pt x="629" y="138"/>
                    </a:lnTo>
                    <a:lnTo>
                      <a:pt x="629" y="172"/>
                    </a:lnTo>
                    <a:close/>
                    <a:moveTo>
                      <a:pt x="629" y="114"/>
                    </a:moveTo>
                    <a:lnTo>
                      <a:pt x="629" y="114"/>
                    </a:lnTo>
                    <a:lnTo>
                      <a:pt x="629" y="114"/>
                    </a:lnTo>
                    <a:lnTo>
                      <a:pt x="628" y="115"/>
                    </a:lnTo>
                    <a:lnTo>
                      <a:pt x="618" y="115"/>
                    </a:lnTo>
                    <a:lnTo>
                      <a:pt x="618" y="115"/>
                    </a:lnTo>
                    <a:lnTo>
                      <a:pt x="617" y="114"/>
                    </a:lnTo>
                    <a:lnTo>
                      <a:pt x="599" y="79"/>
                    </a:lnTo>
                    <a:lnTo>
                      <a:pt x="599" y="79"/>
                    </a:lnTo>
                    <a:lnTo>
                      <a:pt x="599" y="79"/>
                    </a:lnTo>
                    <a:lnTo>
                      <a:pt x="600" y="78"/>
                    </a:lnTo>
                    <a:lnTo>
                      <a:pt x="628" y="78"/>
                    </a:lnTo>
                    <a:lnTo>
                      <a:pt x="628" y="78"/>
                    </a:lnTo>
                    <a:lnTo>
                      <a:pt x="629" y="79"/>
                    </a:lnTo>
                    <a:lnTo>
                      <a:pt x="629" y="80"/>
                    </a:lnTo>
                    <a:lnTo>
                      <a:pt x="629" y="114"/>
                    </a:lnTo>
                    <a:close/>
                    <a:moveTo>
                      <a:pt x="629" y="56"/>
                    </a:moveTo>
                    <a:lnTo>
                      <a:pt x="629" y="56"/>
                    </a:lnTo>
                    <a:lnTo>
                      <a:pt x="629" y="56"/>
                    </a:lnTo>
                    <a:lnTo>
                      <a:pt x="628" y="58"/>
                    </a:lnTo>
                    <a:lnTo>
                      <a:pt x="618" y="58"/>
                    </a:lnTo>
                    <a:lnTo>
                      <a:pt x="618" y="58"/>
                    </a:lnTo>
                    <a:lnTo>
                      <a:pt x="617" y="56"/>
                    </a:lnTo>
                    <a:lnTo>
                      <a:pt x="599" y="23"/>
                    </a:lnTo>
                    <a:lnTo>
                      <a:pt x="599" y="23"/>
                    </a:lnTo>
                    <a:lnTo>
                      <a:pt x="599" y="21"/>
                    </a:lnTo>
                    <a:lnTo>
                      <a:pt x="600" y="21"/>
                    </a:lnTo>
                    <a:lnTo>
                      <a:pt x="628" y="21"/>
                    </a:lnTo>
                    <a:lnTo>
                      <a:pt x="628" y="21"/>
                    </a:lnTo>
                    <a:lnTo>
                      <a:pt x="629" y="21"/>
                    </a:lnTo>
                    <a:lnTo>
                      <a:pt x="629" y="23"/>
                    </a:lnTo>
                    <a:lnTo>
                      <a:pt x="629" y="56"/>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endParaRPr lang="zh-CN" altLang="en-US" sz="750" dirty="0">
                  <a:solidFill>
                    <a:schemeClr val="bg1"/>
                  </a:solidFill>
                  <a:latin typeface="FrutigerNext LT Medium" panose="020B0603040504020204" pitchFamily="34" charset="0"/>
                  <a:ea typeface="微软雅黑" pitchFamily="34" charset="-122"/>
                  <a:cs typeface="Arial" pitchFamily="34" charset="0"/>
                </a:endParaRPr>
              </a:p>
            </p:txBody>
          </p:sp>
          <p:sp>
            <p:nvSpPr>
              <p:cNvPr id="18" name="Freeform 79"/>
              <p:cNvSpPr>
                <a:spLocks noEditPoints="1"/>
              </p:cNvSpPr>
              <p:nvPr/>
            </p:nvSpPr>
            <p:spPr bwMode="auto">
              <a:xfrm>
                <a:off x="3273046" y="4851684"/>
                <a:ext cx="743414" cy="148664"/>
              </a:xfrm>
              <a:custGeom>
                <a:avLst/>
                <a:gdLst>
                  <a:gd name="T0" fmla="*/ 0 w 662"/>
                  <a:gd name="T1" fmla="*/ 16 h 195"/>
                  <a:gd name="T2" fmla="*/ 19 w 662"/>
                  <a:gd name="T3" fmla="*/ 195 h 195"/>
                  <a:gd name="T4" fmla="*/ 662 w 662"/>
                  <a:gd name="T5" fmla="*/ 179 h 195"/>
                  <a:gd name="T6" fmla="*/ 644 w 662"/>
                  <a:gd name="T7" fmla="*/ 0 h 195"/>
                  <a:gd name="T8" fmla="*/ 584 w 662"/>
                  <a:gd name="T9" fmla="*/ 17 h 195"/>
                  <a:gd name="T10" fmla="*/ 511 w 662"/>
                  <a:gd name="T11" fmla="*/ 63 h 195"/>
                  <a:gd name="T12" fmla="*/ 506 w 662"/>
                  <a:gd name="T13" fmla="*/ 76 h 195"/>
                  <a:gd name="T14" fmla="*/ 607 w 662"/>
                  <a:gd name="T15" fmla="*/ 116 h 195"/>
                  <a:gd name="T16" fmla="*/ 506 w 662"/>
                  <a:gd name="T17" fmla="*/ 118 h 195"/>
                  <a:gd name="T18" fmla="*/ 426 w 662"/>
                  <a:gd name="T19" fmla="*/ 16 h 195"/>
                  <a:gd name="T20" fmla="*/ 451 w 662"/>
                  <a:gd name="T21" fmla="*/ 62 h 195"/>
                  <a:gd name="T22" fmla="*/ 351 w 662"/>
                  <a:gd name="T23" fmla="*/ 78 h 195"/>
                  <a:gd name="T24" fmla="*/ 430 w 662"/>
                  <a:gd name="T25" fmla="*/ 76 h 195"/>
                  <a:gd name="T26" fmla="*/ 355 w 662"/>
                  <a:gd name="T27" fmla="*/ 121 h 195"/>
                  <a:gd name="T28" fmla="*/ 198 w 662"/>
                  <a:gd name="T29" fmla="*/ 17 h 195"/>
                  <a:gd name="T30" fmla="*/ 298 w 662"/>
                  <a:gd name="T31" fmla="*/ 59 h 195"/>
                  <a:gd name="T32" fmla="*/ 197 w 662"/>
                  <a:gd name="T33" fmla="*/ 59 h 195"/>
                  <a:gd name="T34" fmla="*/ 271 w 662"/>
                  <a:gd name="T35" fmla="*/ 73 h 195"/>
                  <a:gd name="T36" fmla="*/ 293 w 662"/>
                  <a:gd name="T37" fmla="*/ 121 h 195"/>
                  <a:gd name="T38" fmla="*/ 42 w 662"/>
                  <a:gd name="T39" fmla="*/ 20 h 195"/>
                  <a:gd name="T40" fmla="*/ 122 w 662"/>
                  <a:gd name="T41" fmla="*/ 20 h 195"/>
                  <a:gd name="T42" fmla="*/ 43 w 662"/>
                  <a:gd name="T43" fmla="*/ 62 h 195"/>
                  <a:gd name="T44" fmla="*/ 46 w 662"/>
                  <a:gd name="T45" fmla="*/ 73 h 195"/>
                  <a:gd name="T46" fmla="*/ 143 w 662"/>
                  <a:gd name="T47" fmla="*/ 118 h 195"/>
                  <a:gd name="T48" fmla="*/ 42 w 662"/>
                  <a:gd name="T49" fmla="*/ 78 h 195"/>
                  <a:gd name="T50" fmla="*/ 42 w 662"/>
                  <a:gd name="T51" fmla="*/ 136 h 195"/>
                  <a:gd name="T52" fmla="*/ 122 w 662"/>
                  <a:gd name="T53" fmla="*/ 136 h 195"/>
                  <a:gd name="T54" fmla="*/ 165 w 662"/>
                  <a:gd name="T55" fmla="*/ 172 h 195"/>
                  <a:gd name="T56" fmla="*/ 135 w 662"/>
                  <a:gd name="T57" fmla="*/ 137 h 195"/>
                  <a:gd name="T58" fmla="*/ 165 w 662"/>
                  <a:gd name="T59" fmla="*/ 114 h 195"/>
                  <a:gd name="T60" fmla="*/ 135 w 662"/>
                  <a:gd name="T61" fmla="*/ 79 h 195"/>
                  <a:gd name="T62" fmla="*/ 165 w 662"/>
                  <a:gd name="T63" fmla="*/ 56 h 195"/>
                  <a:gd name="T64" fmla="*/ 135 w 662"/>
                  <a:gd name="T65" fmla="*/ 21 h 195"/>
                  <a:gd name="T66" fmla="*/ 202 w 662"/>
                  <a:gd name="T67" fmla="*/ 178 h 195"/>
                  <a:gd name="T68" fmla="*/ 198 w 662"/>
                  <a:gd name="T69" fmla="*/ 132 h 195"/>
                  <a:gd name="T70" fmla="*/ 298 w 662"/>
                  <a:gd name="T71" fmla="*/ 174 h 195"/>
                  <a:gd name="T72" fmla="*/ 318 w 662"/>
                  <a:gd name="T73" fmla="*/ 173 h 195"/>
                  <a:gd name="T74" fmla="*/ 318 w 662"/>
                  <a:gd name="T75" fmla="*/ 136 h 195"/>
                  <a:gd name="T76" fmla="*/ 318 w 662"/>
                  <a:gd name="T77" fmla="*/ 115 h 195"/>
                  <a:gd name="T78" fmla="*/ 318 w 662"/>
                  <a:gd name="T79" fmla="*/ 78 h 195"/>
                  <a:gd name="T80" fmla="*/ 318 w 662"/>
                  <a:gd name="T81" fmla="*/ 58 h 195"/>
                  <a:gd name="T82" fmla="*/ 318 w 662"/>
                  <a:gd name="T83" fmla="*/ 21 h 195"/>
                  <a:gd name="T84" fmla="*/ 353 w 662"/>
                  <a:gd name="T85" fmla="*/ 176 h 195"/>
                  <a:gd name="T86" fmla="*/ 426 w 662"/>
                  <a:gd name="T87" fmla="*/ 131 h 195"/>
                  <a:gd name="T88" fmla="*/ 451 w 662"/>
                  <a:gd name="T89" fmla="*/ 176 h 195"/>
                  <a:gd name="T90" fmla="*/ 464 w 662"/>
                  <a:gd name="T91" fmla="*/ 173 h 195"/>
                  <a:gd name="T92" fmla="*/ 474 w 662"/>
                  <a:gd name="T93" fmla="*/ 137 h 195"/>
                  <a:gd name="T94" fmla="*/ 464 w 662"/>
                  <a:gd name="T95" fmla="*/ 115 h 195"/>
                  <a:gd name="T96" fmla="*/ 474 w 662"/>
                  <a:gd name="T97" fmla="*/ 79 h 195"/>
                  <a:gd name="T98" fmla="*/ 464 w 662"/>
                  <a:gd name="T99" fmla="*/ 58 h 195"/>
                  <a:gd name="T100" fmla="*/ 474 w 662"/>
                  <a:gd name="T101" fmla="*/ 21 h 195"/>
                  <a:gd name="T102" fmla="*/ 506 w 662"/>
                  <a:gd name="T103" fmla="*/ 174 h 195"/>
                  <a:gd name="T104" fmla="*/ 584 w 662"/>
                  <a:gd name="T105" fmla="*/ 132 h 195"/>
                  <a:gd name="T106" fmla="*/ 602 w 662"/>
                  <a:gd name="T107" fmla="*/ 178 h 195"/>
                  <a:gd name="T108" fmla="*/ 599 w 662"/>
                  <a:gd name="T109" fmla="*/ 137 h 195"/>
                  <a:gd name="T110" fmla="*/ 629 w 662"/>
                  <a:gd name="T111" fmla="*/ 172 h 195"/>
                  <a:gd name="T112" fmla="*/ 599 w 662"/>
                  <a:gd name="T113" fmla="*/ 79 h 195"/>
                  <a:gd name="T114" fmla="*/ 629 w 662"/>
                  <a:gd name="T115" fmla="*/ 114 h 195"/>
                  <a:gd name="T116" fmla="*/ 599 w 662"/>
                  <a:gd name="T117" fmla="*/ 23 h 195"/>
                  <a:gd name="T118" fmla="*/ 629 w 662"/>
                  <a:gd name="T119" fmla="*/ 5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2" h="195">
                    <a:moveTo>
                      <a:pt x="644" y="0"/>
                    </a:moveTo>
                    <a:lnTo>
                      <a:pt x="19" y="0"/>
                    </a:lnTo>
                    <a:lnTo>
                      <a:pt x="19" y="0"/>
                    </a:lnTo>
                    <a:lnTo>
                      <a:pt x="13" y="1"/>
                    </a:lnTo>
                    <a:lnTo>
                      <a:pt x="6" y="4"/>
                    </a:lnTo>
                    <a:lnTo>
                      <a:pt x="2" y="10"/>
                    </a:lnTo>
                    <a:lnTo>
                      <a:pt x="1" y="12"/>
                    </a:lnTo>
                    <a:lnTo>
                      <a:pt x="0" y="16"/>
                    </a:lnTo>
                    <a:lnTo>
                      <a:pt x="0" y="179"/>
                    </a:lnTo>
                    <a:lnTo>
                      <a:pt x="0" y="179"/>
                    </a:lnTo>
                    <a:lnTo>
                      <a:pt x="1" y="181"/>
                    </a:lnTo>
                    <a:lnTo>
                      <a:pt x="2" y="184"/>
                    </a:lnTo>
                    <a:lnTo>
                      <a:pt x="6" y="190"/>
                    </a:lnTo>
                    <a:lnTo>
                      <a:pt x="13" y="193"/>
                    </a:lnTo>
                    <a:lnTo>
                      <a:pt x="16" y="195"/>
                    </a:lnTo>
                    <a:lnTo>
                      <a:pt x="19" y="195"/>
                    </a:lnTo>
                    <a:lnTo>
                      <a:pt x="644" y="195"/>
                    </a:lnTo>
                    <a:lnTo>
                      <a:pt x="644" y="195"/>
                    </a:lnTo>
                    <a:lnTo>
                      <a:pt x="647" y="195"/>
                    </a:lnTo>
                    <a:lnTo>
                      <a:pt x="651" y="193"/>
                    </a:lnTo>
                    <a:lnTo>
                      <a:pt x="658" y="190"/>
                    </a:lnTo>
                    <a:lnTo>
                      <a:pt x="661" y="184"/>
                    </a:lnTo>
                    <a:lnTo>
                      <a:pt x="662" y="181"/>
                    </a:lnTo>
                    <a:lnTo>
                      <a:pt x="662" y="179"/>
                    </a:lnTo>
                    <a:lnTo>
                      <a:pt x="662" y="16"/>
                    </a:lnTo>
                    <a:lnTo>
                      <a:pt x="662" y="16"/>
                    </a:lnTo>
                    <a:lnTo>
                      <a:pt x="662" y="12"/>
                    </a:lnTo>
                    <a:lnTo>
                      <a:pt x="661" y="10"/>
                    </a:lnTo>
                    <a:lnTo>
                      <a:pt x="658" y="4"/>
                    </a:lnTo>
                    <a:lnTo>
                      <a:pt x="651" y="1"/>
                    </a:lnTo>
                    <a:lnTo>
                      <a:pt x="644" y="0"/>
                    </a:lnTo>
                    <a:lnTo>
                      <a:pt x="644" y="0"/>
                    </a:lnTo>
                    <a:close/>
                    <a:moveTo>
                      <a:pt x="506" y="20"/>
                    </a:moveTo>
                    <a:lnTo>
                      <a:pt x="506" y="20"/>
                    </a:lnTo>
                    <a:lnTo>
                      <a:pt x="506" y="18"/>
                    </a:lnTo>
                    <a:lnTo>
                      <a:pt x="507" y="17"/>
                    </a:lnTo>
                    <a:lnTo>
                      <a:pt x="511" y="16"/>
                    </a:lnTo>
                    <a:lnTo>
                      <a:pt x="581" y="16"/>
                    </a:lnTo>
                    <a:lnTo>
                      <a:pt x="581" y="16"/>
                    </a:lnTo>
                    <a:lnTo>
                      <a:pt x="584" y="17"/>
                    </a:lnTo>
                    <a:lnTo>
                      <a:pt x="585" y="18"/>
                    </a:lnTo>
                    <a:lnTo>
                      <a:pt x="586" y="20"/>
                    </a:lnTo>
                    <a:lnTo>
                      <a:pt x="607" y="59"/>
                    </a:lnTo>
                    <a:lnTo>
                      <a:pt x="607" y="59"/>
                    </a:lnTo>
                    <a:lnTo>
                      <a:pt x="607" y="60"/>
                    </a:lnTo>
                    <a:lnTo>
                      <a:pt x="606" y="62"/>
                    </a:lnTo>
                    <a:lnTo>
                      <a:pt x="602" y="63"/>
                    </a:lnTo>
                    <a:lnTo>
                      <a:pt x="511" y="63"/>
                    </a:lnTo>
                    <a:lnTo>
                      <a:pt x="511" y="63"/>
                    </a:lnTo>
                    <a:lnTo>
                      <a:pt x="507" y="62"/>
                    </a:lnTo>
                    <a:lnTo>
                      <a:pt x="506" y="60"/>
                    </a:lnTo>
                    <a:lnTo>
                      <a:pt x="506" y="59"/>
                    </a:lnTo>
                    <a:lnTo>
                      <a:pt x="506" y="20"/>
                    </a:lnTo>
                    <a:close/>
                    <a:moveTo>
                      <a:pt x="506" y="78"/>
                    </a:moveTo>
                    <a:lnTo>
                      <a:pt x="506" y="78"/>
                    </a:lnTo>
                    <a:lnTo>
                      <a:pt x="506" y="76"/>
                    </a:lnTo>
                    <a:lnTo>
                      <a:pt x="507" y="75"/>
                    </a:lnTo>
                    <a:lnTo>
                      <a:pt x="511" y="73"/>
                    </a:lnTo>
                    <a:lnTo>
                      <a:pt x="581" y="73"/>
                    </a:lnTo>
                    <a:lnTo>
                      <a:pt x="581" y="73"/>
                    </a:lnTo>
                    <a:lnTo>
                      <a:pt x="584" y="75"/>
                    </a:lnTo>
                    <a:lnTo>
                      <a:pt x="585" y="76"/>
                    </a:lnTo>
                    <a:lnTo>
                      <a:pt x="586" y="78"/>
                    </a:lnTo>
                    <a:lnTo>
                      <a:pt x="607" y="116"/>
                    </a:lnTo>
                    <a:lnTo>
                      <a:pt x="607" y="116"/>
                    </a:lnTo>
                    <a:lnTo>
                      <a:pt x="607" y="118"/>
                    </a:lnTo>
                    <a:lnTo>
                      <a:pt x="606" y="119"/>
                    </a:lnTo>
                    <a:lnTo>
                      <a:pt x="602" y="121"/>
                    </a:lnTo>
                    <a:lnTo>
                      <a:pt x="511" y="121"/>
                    </a:lnTo>
                    <a:lnTo>
                      <a:pt x="511" y="121"/>
                    </a:lnTo>
                    <a:lnTo>
                      <a:pt x="507" y="119"/>
                    </a:lnTo>
                    <a:lnTo>
                      <a:pt x="506" y="118"/>
                    </a:lnTo>
                    <a:lnTo>
                      <a:pt x="506" y="116"/>
                    </a:lnTo>
                    <a:lnTo>
                      <a:pt x="506" y="78"/>
                    </a:lnTo>
                    <a:close/>
                    <a:moveTo>
                      <a:pt x="351" y="20"/>
                    </a:moveTo>
                    <a:lnTo>
                      <a:pt x="351" y="20"/>
                    </a:lnTo>
                    <a:lnTo>
                      <a:pt x="352" y="18"/>
                    </a:lnTo>
                    <a:lnTo>
                      <a:pt x="353" y="17"/>
                    </a:lnTo>
                    <a:lnTo>
                      <a:pt x="355" y="16"/>
                    </a:lnTo>
                    <a:lnTo>
                      <a:pt x="426" y="16"/>
                    </a:lnTo>
                    <a:lnTo>
                      <a:pt x="426" y="16"/>
                    </a:lnTo>
                    <a:lnTo>
                      <a:pt x="429" y="17"/>
                    </a:lnTo>
                    <a:lnTo>
                      <a:pt x="430" y="18"/>
                    </a:lnTo>
                    <a:lnTo>
                      <a:pt x="431" y="20"/>
                    </a:lnTo>
                    <a:lnTo>
                      <a:pt x="452" y="59"/>
                    </a:lnTo>
                    <a:lnTo>
                      <a:pt x="452" y="59"/>
                    </a:lnTo>
                    <a:lnTo>
                      <a:pt x="452" y="60"/>
                    </a:lnTo>
                    <a:lnTo>
                      <a:pt x="451" y="62"/>
                    </a:lnTo>
                    <a:lnTo>
                      <a:pt x="447" y="63"/>
                    </a:lnTo>
                    <a:lnTo>
                      <a:pt x="355" y="63"/>
                    </a:lnTo>
                    <a:lnTo>
                      <a:pt x="355" y="63"/>
                    </a:lnTo>
                    <a:lnTo>
                      <a:pt x="353" y="62"/>
                    </a:lnTo>
                    <a:lnTo>
                      <a:pt x="352" y="60"/>
                    </a:lnTo>
                    <a:lnTo>
                      <a:pt x="351" y="59"/>
                    </a:lnTo>
                    <a:lnTo>
                      <a:pt x="351" y="20"/>
                    </a:lnTo>
                    <a:close/>
                    <a:moveTo>
                      <a:pt x="351" y="78"/>
                    </a:moveTo>
                    <a:lnTo>
                      <a:pt x="351" y="78"/>
                    </a:lnTo>
                    <a:lnTo>
                      <a:pt x="352" y="76"/>
                    </a:lnTo>
                    <a:lnTo>
                      <a:pt x="353" y="75"/>
                    </a:lnTo>
                    <a:lnTo>
                      <a:pt x="355" y="73"/>
                    </a:lnTo>
                    <a:lnTo>
                      <a:pt x="426" y="73"/>
                    </a:lnTo>
                    <a:lnTo>
                      <a:pt x="426" y="73"/>
                    </a:lnTo>
                    <a:lnTo>
                      <a:pt x="429" y="75"/>
                    </a:lnTo>
                    <a:lnTo>
                      <a:pt x="430" y="76"/>
                    </a:lnTo>
                    <a:lnTo>
                      <a:pt x="431" y="78"/>
                    </a:lnTo>
                    <a:lnTo>
                      <a:pt x="452" y="116"/>
                    </a:lnTo>
                    <a:lnTo>
                      <a:pt x="452" y="116"/>
                    </a:lnTo>
                    <a:lnTo>
                      <a:pt x="452" y="118"/>
                    </a:lnTo>
                    <a:lnTo>
                      <a:pt x="451" y="119"/>
                    </a:lnTo>
                    <a:lnTo>
                      <a:pt x="447" y="121"/>
                    </a:lnTo>
                    <a:lnTo>
                      <a:pt x="355" y="121"/>
                    </a:lnTo>
                    <a:lnTo>
                      <a:pt x="355" y="121"/>
                    </a:lnTo>
                    <a:lnTo>
                      <a:pt x="353" y="119"/>
                    </a:lnTo>
                    <a:lnTo>
                      <a:pt x="352" y="118"/>
                    </a:lnTo>
                    <a:lnTo>
                      <a:pt x="351" y="116"/>
                    </a:lnTo>
                    <a:lnTo>
                      <a:pt x="351" y="78"/>
                    </a:lnTo>
                    <a:close/>
                    <a:moveTo>
                      <a:pt x="197" y="20"/>
                    </a:moveTo>
                    <a:lnTo>
                      <a:pt x="197" y="20"/>
                    </a:lnTo>
                    <a:lnTo>
                      <a:pt x="197" y="18"/>
                    </a:lnTo>
                    <a:lnTo>
                      <a:pt x="198" y="17"/>
                    </a:lnTo>
                    <a:lnTo>
                      <a:pt x="202" y="16"/>
                    </a:lnTo>
                    <a:lnTo>
                      <a:pt x="271" y="16"/>
                    </a:lnTo>
                    <a:lnTo>
                      <a:pt x="271" y="16"/>
                    </a:lnTo>
                    <a:lnTo>
                      <a:pt x="275" y="17"/>
                    </a:lnTo>
                    <a:lnTo>
                      <a:pt x="276" y="18"/>
                    </a:lnTo>
                    <a:lnTo>
                      <a:pt x="276" y="20"/>
                    </a:lnTo>
                    <a:lnTo>
                      <a:pt x="298" y="59"/>
                    </a:lnTo>
                    <a:lnTo>
                      <a:pt x="298" y="59"/>
                    </a:lnTo>
                    <a:lnTo>
                      <a:pt x="297" y="60"/>
                    </a:lnTo>
                    <a:lnTo>
                      <a:pt x="297" y="62"/>
                    </a:lnTo>
                    <a:lnTo>
                      <a:pt x="293" y="63"/>
                    </a:lnTo>
                    <a:lnTo>
                      <a:pt x="202" y="63"/>
                    </a:lnTo>
                    <a:lnTo>
                      <a:pt x="202" y="63"/>
                    </a:lnTo>
                    <a:lnTo>
                      <a:pt x="198" y="62"/>
                    </a:lnTo>
                    <a:lnTo>
                      <a:pt x="197" y="60"/>
                    </a:lnTo>
                    <a:lnTo>
                      <a:pt x="197" y="59"/>
                    </a:lnTo>
                    <a:lnTo>
                      <a:pt x="197" y="20"/>
                    </a:lnTo>
                    <a:close/>
                    <a:moveTo>
                      <a:pt x="197" y="78"/>
                    </a:moveTo>
                    <a:lnTo>
                      <a:pt x="197" y="78"/>
                    </a:lnTo>
                    <a:lnTo>
                      <a:pt x="197" y="76"/>
                    </a:lnTo>
                    <a:lnTo>
                      <a:pt x="198" y="75"/>
                    </a:lnTo>
                    <a:lnTo>
                      <a:pt x="202" y="73"/>
                    </a:lnTo>
                    <a:lnTo>
                      <a:pt x="271" y="73"/>
                    </a:lnTo>
                    <a:lnTo>
                      <a:pt x="271" y="73"/>
                    </a:lnTo>
                    <a:lnTo>
                      <a:pt x="275" y="75"/>
                    </a:lnTo>
                    <a:lnTo>
                      <a:pt x="276" y="76"/>
                    </a:lnTo>
                    <a:lnTo>
                      <a:pt x="276" y="78"/>
                    </a:lnTo>
                    <a:lnTo>
                      <a:pt x="298" y="116"/>
                    </a:lnTo>
                    <a:lnTo>
                      <a:pt x="298" y="116"/>
                    </a:lnTo>
                    <a:lnTo>
                      <a:pt x="297" y="118"/>
                    </a:lnTo>
                    <a:lnTo>
                      <a:pt x="297" y="119"/>
                    </a:lnTo>
                    <a:lnTo>
                      <a:pt x="293" y="121"/>
                    </a:lnTo>
                    <a:lnTo>
                      <a:pt x="202" y="121"/>
                    </a:lnTo>
                    <a:lnTo>
                      <a:pt x="202" y="121"/>
                    </a:lnTo>
                    <a:lnTo>
                      <a:pt x="198" y="119"/>
                    </a:lnTo>
                    <a:lnTo>
                      <a:pt x="197" y="118"/>
                    </a:lnTo>
                    <a:lnTo>
                      <a:pt x="197" y="116"/>
                    </a:lnTo>
                    <a:lnTo>
                      <a:pt x="197" y="78"/>
                    </a:lnTo>
                    <a:close/>
                    <a:moveTo>
                      <a:pt x="42" y="20"/>
                    </a:moveTo>
                    <a:lnTo>
                      <a:pt x="42" y="20"/>
                    </a:lnTo>
                    <a:lnTo>
                      <a:pt x="42" y="18"/>
                    </a:lnTo>
                    <a:lnTo>
                      <a:pt x="43" y="17"/>
                    </a:lnTo>
                    <a:lnTo>
                      <a:pt x="46" y="16"/>
                    </a:lnTo>
                    <a:lnTo>
                      <a:pt x="117" y="16"/>
                    </a:lnTo>
                    <a:lnTo>
                      <a:pt x="117" y="16"/>
                    </a:lnTo>
                    <a:lnTo>
                      <a:pt x="120" y="17"/>
                    </a:lnTo>
                    <a:lnTo>
                      <a:pt x="121" y="18"/>
                    </a:lnTo>
                    <a:lnTo>
                      <a:pt x="122" y="20"/>
                    </a:lnTo>
                    <a:lnTo>
                      <a:pt x="143" y="59"/>
                    </a:lnTo>
                    <a:lnTo>
                      <a:pt x="143" y="59"/>
                    </a:lnTo>
                    <a:lnTo>
                      <a:pt x="143" y="60"/>
                    </a:lnTo>
                    <a:lnTo>
                      <a:pt x="142" y="62"/>
                    </a:lnTo>
                    <a:lnTo>
                      <a:pt x="138" y="63"/>
                    </a:lnTo>
                    <a:lnTo>
                      <a:pt x="46" y="63"/>
                    </a:lnTo>
                    <a:lnTo>
                      <a:pt x="46" y="63"/>
                    </a:lnTo>
                    <a:lnTo>
                      <a:pt x="43" y="62"/>
                    </a:lnTo>
                    <a:lnTo>
                      <a:pt x="42" y="60"/>
                    </a:lnTo>
                    <a:lnTo>
                      <a:pt x="42" y="59"/>
                    </a:lnTo>
                    <a:lnTo>
                      <a:pt x="42" y="20"/>
                    </a:lnTo>
                    <a:close/>
                    <a:moveTo>
                      <a:pt x="42" y="78"/>
                    </a:moveTo>
                    <a:lnTo>
                      <a:pt x="42" y="78"/>
                    </a:lnTo>
                    <a:lnTo>
                      <a:pt x="42" y="76"/>
                    </a:lnTo>
                    <a:lnTo>
                      <a:pt x="43" y="75"/>
                    </a:lnTo>
                    <a:lnTo>
                      <a:pt x="46" y="73"/>
                    </a:lnTo>
                    <a:lnTo>
                      <a:pt x="117" y="73"/>
                    </a:lnTo>
                    <a:lnTo>
                      <a:pt x="117" y="73"/>
                    </a:lnTo>
                    <a:lnTo>
                      <a:pt x="120" y="75"/>
                    </a:lnTo>
                    <a:lnTo>
                      <a:pt x="121" y="76"/>
                    </a:lnTo>
                    <a:lnTo>
                      <a:pt x="122" y="78"/>
                    </a:lnTo>
                    <a:lnTo>
                      <a:pt x="143" y="116"/>
                    </a:lnTo>
                    <a:lnTo>
                      <a:pt x="143" y="116"/>
                    </a:lnTo>
                    <a:lnTo>
                      <a:pt x="143" y="118"/>
                    </a:lnTo>
                    <a:lnTo>
                      <a:pt x="142" y="119"/>
                    </a:lnTo>
                    <a:lnTo>
                      <a:pt x="138" y="121"/>
                    </a:lnTo>
                    <a:lnTo>
                      <a:pt x="46" y="121"/>
                    </a:lnTo>
                    <a:lnTo>
                      <a:pt x="46" y="121"/>
                    </a:lnTo>
                    <a:lnTo>
                      <a:pt x="43" y="119"/>
                    </a:lnTo>
                    <a:lnTo>
                      <a:pt x="42" y="118"/>
                    </a:lnTo>
                    <a:lnTo>
                      <a:pt x="42" y="116"/>
                    </a:lnTo>
                    <a:lnTo>
                      <a:pt x="42" y="78"/>
                    </a:lnTo>
                    <a:close/>
                    <a:moveTo>
                      <a:pt x="138" y="178"/>
                    </a:moveTo>
                    <a:lnTo>
                      <a:pt x="46" y="178"/>
                    </a:lnTo>
                    <a:lnTo>
                      <a:pt x="46" y="178"/>
                    </a:lnTo>
                    <a:lnTo>
                      <a:pt x="43" y="176"/>
                    </a:lnTo>
                    <a:lnTo>
                      <a:pt x="42" y="175"/>
                    </a:lnTo>
                    <a:lnTo>
                      <a:pt x="42" y="174"/>
                    </a:lnTo>
                    <a:lnTo>
                      <a:pt x="42" y="136"/>
                    </a:lnTo>
                    <a:lnTo>
                      <a:pt x="42" y="136"/>
                    </a:lnTo>
                    <a:lnTo>
                      <a:pt x="42" y="133"/>
                    </a:lnTo>
                    <a:lnTo>
                      <a:pt x="43" y="132"/>
                    </a:lnTo>
                    <a:lnTo>
                      <a:pt x="46" y="131"/>
                    </a:lnTo>
                    <a:lnTo>
                      <a:pt x="117" y="131"/>
                    </a:lnTo>
                    <a:lnTo>
                      <a:pt x="117" y="131"/>
                    </a:lnTo>
                    <a:lnTo>
                      <a:pt x="120" y="132"/>
                    </a:lnTo>
                    <a:lnTo>
                      <a:pt x="121" y="133"/>
                    </a:lnTo>
                    <a:lnTo>
                      <a:pt x="122" y="136"/>
                    </a:lnTo>
                    <a:lnTo>
                      <a:pt x="143" y="174"/>
                    </a:lnTo>
                    <a:lnTo>
                      <a:pt x="143" y="174"/>
                    </a:lnTo>
                    <a:lnTo>
                      <a:pt x="143" y="175"/>
                    </a:lnTo>
                    <a:lnTo>
                      <a:pt x="142" y="176"/>
                    </a:lnTo>
                    <a:lnTo>
                      <a:pt x="138" y="178"/>
                    </a:lnTo>
                    <a:lnTo>
                      <a:pt x="138" y="178"/>
                    </a:lnTo>
                    <a:close/>
                    <a:moveTo>
                      <a:pt x="165" y="172"/>
                    </a:moveTo>
                    <a:lnTo>
                      <a:pt x="165" y="172"/>
                    </a:lnTo>
                    <a:lnTo>
                      <a:pt x="165" y="172"/>
                    </a:lnTo>
                    <a:lnTo>
                      <a:pt x="164" y="173"/>
                    </a:lnTo>
                    <a:lnTo>
                      <a:pt x="154" y="173"/>
                    </a:lnTo>
                    <a:lnTo>
                      <a:pt x="154" y="173"/>
                    </a:lnTo>
                    <a:lnTo>
                      <a:pt x="153" y="172"/>
                    </a:lnTo>
                    <a:lnTo>
                      <a:pt x="135" y="137"/>
                    </a:lnTo>
                    <a:lnTo>
                      <a:pt x="135" y="137"/>
                    </a:lnTo>
                    <a:lnTo>
                      <a:pt x="135" y="137"/>
                    </a:lnTo>
                    <a:lnTo>
                      <a:pt x="136" y="136"/>
                    </a:lnTo>
                    <a:lnTo>
                      <a:pt x="164" y="136"/>
                    </a:lnTo>
                    <a:lnTo>
                      <a:pt x="164" y="136"/>
                    </a:lnTo>
                    <a:lnTo>
                      <a:pt x="165" y="137"/>
                    </a:lnTo>
                    <a:lnTo>
                      <a:pt x="165" y="138"/>
                    </a:lnTo>
                    <a:lnTo>
                      <a:pt x="165" y="172"/>
                    </a:lnTo>
                    <a:close/>
                    <a:moveTo>
                      <a:pt x="165" y="114"/>
                    </a:moveTo>
                    <a:lnTo>
                      <a:pt x="165" y="114"/>
                    </a:lnTo>
                    <a:lnTo>
                      <a:pt x="165" y="114"/>
                    </a:lnTo>
                    <a:lnTo>
                      <a:pt x="164" y="115"/>
                    </a:lnTo>
                    <a:lnTo>
                      <a:pt x="154" y="115"/>
                    </a:lnTo>
                    <a:lnTo>
                      <a:pt x="154" y="115"/>
                    </a:lnTo>
                    <a:lnTo>
                      <a:pt x="153" y="114"/>
                    </a:lnTo>
                    <a:lnTo>
                      <a:pt x="135" y="79"/>
                    </a:lnTo>
                    <a:lnTo>
                      <a:pt x="135" y="79"/>
                    </a:lnTo>
                    <a:lnTo>
                      <a:pt x="135" y="79"/>
                    </a:lnTo>
                    <a:lnTo>
                      <a:pt x="136" y="78"/>
                    </a:lnTo>
                    <a:lnTo>
                      <a:pt x="164" y="78"/>
                    </a:lnTo>
                    <a:lnTo>
                      <a:pt x="164" y="78"/>
                    </a:lnTo>
                    <a:lnTo>
                      <a:pt x="165" y="79"/>
                    </a:lnTo>
                    <a:lnTo>
                      <a:pt x="165" y="80"/>
                    </a:lnTo>
                    <a:lnTo>
                      <a:pt x="165" y="114"/>
                    </a:lnTo>
                    <a:close/>
                    <a:moveTo>
                      <a:pt x="165" y="56"/>
                    </a:moveTo>
                    <a:lnTo>
                      <a:pt x="165" y="56"/>
                    </a:lnTo>
                    <a:lnTo>
                      <a:pt x="165" y="56"/>
                    </a:lnTo>
                    <a:lnTo>
                      <a:pt x="164" y="58"/>
                    </a:lnTo>
                    <a:lnTo>
                      <a:pt x="154" y="58"/>
                    </a:lnTo>
                    <a:lnTo>
                      <a:pt x="154" y="58"/>
                    </a:lnTo>
                    <a:lnTo>
                      <a:pt x="153" y="56"/>
                    </a:lnTo>
                    <a:lnTo>
                      <a:pt x="135" y="23"/>
                    </a:lnTo>
                    <a:lnTo>
                      <a:pt x="135" y="23"/>
                    </a:lnTo>
                    <a:lnTo>
                      <a:pt x="135" y="21"/>
                    </a:lnTo>
                    <a:lnTo>
                      <a:pt x="136" y="21"/>
                    </a:lnTo>
                    <a:lnTo>
                      <a:pt x="164" y="21"/>
                    </a:lnTo>
                    <a:lnTo>
                      <a:pt x="164" y="21"/>
                    </a:lnTo>
                    <a:lnTo>
                      <a:pt x="165" y="21"/>
                    </a:lnTo>
                    <a:lnTo>
                      <a:pt x="165" y="23"/>
                    </a:lnTo>
                    <a:lnTo>
                      <a:pt x="165" y="56"/>
                    </a:lnTo>
                    <a:close/>
                    <a:moveTo>
                      <a:pt x="293" y="178"/>
                    </a:moveTo>
                    <a:lnTo>
                      <a:pt x="202" y="178"/>
                    </a:lnTo>
                    <a:lnTo>
                      <a:pt x="202" y="178"/>
                    </a:lnTo>
                    <a:lnTo>
                      <a:pt x="198" y="176"/>
                    </a:lnTo>
                    <a:lnTo>
                      <a:pt x="197" y="175"/>
                    </a:lnTo>
                    <a:lnTo>
                      <a:pt x="197" y="174"/>
                    </a:lnTo>
                    <a:lnTo>
                      <a:pt x="197" y="136"/>
                    </a:lnTo>
                    <a:lnTo>
                      <a:pt x="197" y="136"/>
                    </a:lnTo>
                    <a:lnTo>
                      <a:pt x="197" y="133"/>
                    </a:lnTo>
                    <a:lnTo>
                      <a:pt x="198" y="132"/>
                    </a:lnTo>
                    <a:lnTo>
                      <a:pt x="202" y="131"/>
                    </a:lnTo>
                    <a:lnTo>
                      <a:pt x="271" y="131"/>
                    </a:lnTo>
                    <a:lnTo>
                      <a:pt x="271" y="131"/>
                    </a:lnTo>
                    <a:lnTo>
                      <a:pt x="275" y="132"/>
                    </a:lnTo>
                    <a:lnTo>
                      <a:pt x="276" y="133"/>
                    </a:lnTo>
                    <a:lnTo>
                      <a:pt x="276" y="136"/>
                    </a:lnTo>
                    <a:lnTo>
                      <a:pt x="298" y="174"/>
                    </a:lnTo>
                    <a:lnTo>
                      <a:pt x="298" y="174"/>
                    </a:lnTo>
                    <a:lnTo>
                      <a:pt x="297" y="175"/>
                    </a:lnTo>
                    <a:lnTo>
                      <a:pt x="297" y="176"/>
                    </a:lnTo>
                    <a:lnTo>
                      <a:pt x="293" y="178"/>
                    </a:lnTo>
                    <a:lnTo>
                      <a:pt x="293" y="178"/>
                    </a:lnTo>
                    <a:close/>
                    <a:moveTo>
                      <a:pt x="320" y="172"/>
                    </a:moveTo>
                    <a:lnTo>
                      <a:pt x="320" y="172"/>
                    </a:lnTo>
                    <a:lnTo>
                      <a:pt x="319" y="172"/>
                    </a:lnTo>
                    <a:lnTo>
                      <a:pt x="318" y="173"/>
                    </a:lnTo>
                    <a:lnTo>
                      <a:pt x="309" y="173"/>
                    </a:lnTo>
                    <a:lnTo>
                      <a:pt x="309" y="173"/>
                    </a:lnTo>
                    <a:lnTo>
                      <a:pt x="307" y="172"/>
                    </a:lnTo>
                    <a:lnTo>
                      <a:pt x="290" y="137"/>
                    </a:lnTo>
                    <a:lnTo>
                      <a:pt x="290" y="137"/>
                    </a:lnTo>
                    <a:lnTo>
                      <a:pt x="290" y="137"/>
                    </a:lnTo>
                    <a:lnTo>
                      <a:pt x="290" y="136"/>
                    </a:lnTo>
                    <a:lnTo>
                      <a:pt x="318" y="136"/>
                    </a:lnTo>
                    <a:lnTo>
                      <a:pt x="318" y="136"/>
                    </a:lnTo>
                    <a:lnTo>
                      <a:pt x="319" y="137"/>
                    </a:lnTo>
                    <a:lnTo>
                      <a:pt x="320" y="138"/>
                    </a:lnTo>
                    <a:lnTo>
                      <a:pt x="320" y="172"/>
                    </a:lnTo>
                    <a:close/>
                    <a:moveTo>
                      <a:pt x="320" y="114"/>
                    </a:moveTo>
                    <a:lnTo>
                      <a:pt x="320" y="114"/>
                    </a:lnTo>
                    <a:lnTo>
                      <a:pt x="319" y="114"/>
                    </a:lnTo>
                    <a:lnTo>
                      <a:pt x="318" y="115"/>
                    </a:lnTo>
                    <a:lnTo>
                      <a:pt x="309" y="115"/>
                    </a:lnTo>
                    <a:lnTo>
                      <a:pt x="309" y="115"/>
                    </a:lnTo>
                    <a:lnTo>
                      <a:pt x="307" y="114"/>
                    </a:lnTo>
                    <a:lnTo>
                      <a:pt x="290" y="79"/>
                    </a:lnTo>
                    <a:lnTo>
                      <a:pt x="290" y="79"/>
                    </a:lnTo>
                    <a:lnTo>
                      <a:pt x="290" y="79"/>
                    </a:lnTo>
                    <a:lnTo>
                      <a:pt x="290" y="78"/>
                    </a:lnTo>
                    <a:lnTo>
                      <a:pt x="318" y="78"/>
                    </a:lnTo>
                    <a:lnTo>
                      <a:pt x="318" y="78"/>
                    </a:lnTo>
                    <a:lnTo>
                      <a:pt x="319" y="79"/>
                    </a:lnTo>
                    <a:lnTo>
                      <a:pt x="320" y="80"/>
                    </a:lnTo>
                    <a:lnTo>
                      <a:pt x="320" y="114"/>
                    </a:lnTo>
                    <a:close/>
                    <a:moveTo>
                      <a:pt x="320" y="56"/>
                    </a:moveTo>
                    <a:lnTo>
                      <a:pt x="320" y="56"/>
                    </a:lnTo>
                    <a:lnTo>
                      <a:pt x="319" y="56"/>
                    </a:lnTo>
                    <a:lnTo>
                      <a:pt x="318" y="58"/>
                    </a:lnTo>
                    <a:lnTo>
                      <a:pt x="309" y="58"/>
                    </a:lnTo>
                    <a:lnTo>
                      <a:pt x="309" y="58"/>
                    </a:lnTo>
                    <a:lnTo>
                      <a:pt x="307" y="56"/>
                    </a:lnTo>
                    <a:lnTo>
                      <a:pt x="290" y="23"/>
                    </a:lnTo>
                    <a:lnTo>
                      <a:pt x="290" y="23"/>
                    </a:lnTo>
                    <a:lnTo>
                      <a:pt x="290" y="21"/>
                    </a:lnTo>
                    <a:lnTo>
                      <a:pt x="290" y="21"/>
                    </a:lnTo>
                    <a:lnTo>
                      <a:pt x="318" y="21"/>
                    </a:lnTo>
                    <a:lnTo>
                      <a:pt x="318" y="21"/>
                    </a:lnTo>
                    <a:lnTo>
                      <a:pt x="319" y="21"/>
                    </a:lnTo>
                    <a:lnTo>
                      <a:pt x="320" y="23"/>
                    </a:lnTo>
                    <a:lnTo>
                      <a:pt x="320" y="56"/>
                    </a:lnTo>
                    <a:close/>
                    <a:moveTo>
                      <a:pt x="447" y="178"/>
                    </a:moveTo>
                    <a:lnTo>
                      <a:pt x="355" y="178"/>
                    </a:lnTo>
                    <a:lnTo>
                      <a:pt x="355" y="178"/>
                    </a:lnTo>
                    <a:lnTo>
                      <a:pt x="353" y="176"/>
                    </a:lnTo>
                    <a:lnTo>
                      <a:pt x="352" y="175"/>
                    </a:lnTo>
                    <a:lnTo>
                      <a:pt x="351" y="174"/>
                    </a:lnTo>
                    <a:lnTo>
                      <a:pt x="351" y="136"/>
                    </a:lnTo>
                    <a:lnTo>
                      <a:pt x="351" y="136"/>
                    </a:lnTo>
                    <a:lnTo>
                      <a:pt x="352" y="133"/>
                    </a:lnTo>
                    <a:lnTo>
                      <a:pt x="353" y="132"/>
                    </a:lnTo>
                    <a:lnTo>
                      <a:pt x="355" y="131"/>
                    </a:lnTo>
                    <a:lnTo>
                      <a:pt x="426" y="131"/>
                    </a:lnTo>
                    <a:lnTo>
                      <a:pt x="426" y="131"/>
                    </a:lnTo>
                    <a:lnTo>
                      <a:pt x="429" y="132"/>
                    </a:lnTo>
                    <a:lnTo>
                      <a:pt x="430" y="133"/>
                    </a:lnTo>
                    <a:lnTo>
                      <a:pt x="431" y="136"/>
                    </a:lnTo>
                    <a:lnTo>
                      <a:pt x="452" y="174"/>
                    </a:lnTo>
                    <a:lnTo>
                      <a:pt x="452" y="174"/>
                    </a:lnTo>
                    <a:lnTo>
                      <a:pt x="452" y="175"/>
                    </a:lnTo>
                    <a:lnTo>
                      <a:pt x="451" y="176"/>
                    </a:lnTo>
                    <a:lnTo>
                      <a:pt x="447" y="178"/>
                    </a:lnTo>
                    <a:lnTo>
                      <a:pt x="447" y="178"/>
                    </a:lnTo>
                    <a:close/>
                    <a:moveTo>
                      <a:pt x="474" y="172"/>
                    </a:moveTo>
                    <a:lnTo>
                      <a:pt x="474" y="172"/>
                    </a:lnTo>
                    <a:lnTo>
                      <a:pt x="474" y="172"/>
                    </a:lnTo>
                    <a:lnTo>
                      <a:pt x="473" y="173"/>
                    </a:lnTo>
                    <a:lnTo>
                      <a:pt x="464" y="173"/>
                    </a:lnTo>
                    <a:lnTo>
                      <a:pt x="464" y="173"/>
                    </a:lnTo>
                    <a:lnTo>
                      <a:pt x="462" y="172"/>
                    </a:lnTo>
                    <a:lnTo>
                      <a:pt x="444" y="137"/>
                    </a:lnTo>
                    <a:lnTo>
                      <a:pt x="444" y="137"/>
                    </a:lnTo>
                    <a:lnTo>
                      <a:pt x="444" y="137"/>
                    </a:lnTo>
                    <a:lnTo>
                      <a:pt x="445" y="136"/>
                    </a:lnTo>
                    <a:lnTo>
                      <a:pt x="473" y="136"/>
                    </a:lnTo>
                    <a:lnTo>
                      <a:pt x="473" y="136"/>
                    </a:lnTo>
                    <a:lnTo>
                      <a:pt x="474" y="137"/>
                    </a:lnTo>
                    <a:lnTo>
                      <a:pt x="474" y="138"/>
                    </a:lnTo>
                    <a:lnTo>
                      <a:pt x="474" y="172"/>
                    </a:lnTo>
                    <a:close/>
                    <a:moveTo>
                      <a:pt x="474" y="114"/>
                    </a:moveTo>
                    <a:lnTo>
                      <a:pt x="474" y="114"/>
                    </a:lnTo>
                    <a:lnTo>
                      <a:pt x="474" y="114"/>
                    </a:lnTo>
                    <a:lnTo>
                      <a:pt x="473" y="115"/>
                    </a:lnTo>
                    <a:lnTo>
                      <a:pt x="464" y="115"/>
                    </a:lnTo>
                    <a:lnTo>
                      <a:pt x="464" y="115"/>
                    </a:lnTo>
                    <a:lnTo>
                      <a:pt x="462" y="114"/>
                    </a:lnTo>
                    <a:lnTo>
                      <a:pt x="444" y="79"/>
                    </a:lnTo>
                    <a:lnTo>
                      <a:pt x="444" y="79"/>
                    </a:lnTo>
                    <a:lnTo>
                      <a:pt x="444" y="79"/>
                    </a:lnTo>
                    <a:lnTo>
                      <a:pt x="445" y="78"/>
                    </a:lnTo>
                    <a:lnTo>
                      <a:pt x="473" y="78"/>
                    </a:lnTo>
                    <a:lnTo>
                      <a:pt x="473" y="78"/>
                    </a:lnTo>
                    <a:lnTo>
                      <a:pt x="474" y="79"/>
                    </a:lnTo>
                    <a:lnTo>
                      <a:pt x="474" y="80"/>
                    </a:lnTo>
                    <a:lnTo>
                      <a:pt x="474" y="114"/>
                    </a:lnTo>
                    <a:close/>
                    <a:moveTo>
                      <a:pt x="474" y="56"/>
                    </a:moveTo>
                    <a:lnTo>
                      <a:pt x="474" y="56"/>
                    </a:lnTo>
                    <a:lnTo>
                      <a:pt x="474" y="56"/>
                    </a:lnTo>
                    <a:lnTo>
                      <a:pt x="473" y="58"/>
                    </a:lnTo>
                    <a:lnTo>
                      <a:pt x="464" y="58"/>
                    </a:lnTo>
                    <a:lnTo>
                      <a:pt x="464" y="58"/>
                    </a:lnTo>
                    <a:lnTo>
                      <a:pt x="462" y="56"/>
                    </a:lnTo>
                    <a:lnTo>
                      <a:pt x="444" y="23"/>
                    </a:lnTo>
                    <a:lnTo>
                      <a:pt x="444" y="23"/>
                    </a:lnTo>
                    <a:lnTo>
                      <a:pt x="444" y="21"/>
                    </a:lnTo>
                    <a:lnTo>
                      <a:pt x="445" y="21"/>
                    </a:lnTo>
                    <a:lnTo>
                      <a:pt x="473" y="21"/>
                    </a:lnTo>
                    <a:lnTo>
                      <a:pt x="473" y="21"/>
                    </a:lnTo>
                    <a:lnTo>
                      <a:pt x="474" y="21"/>
                    </a:lnTo>
                    <a:lnTo>
                      <a:pt x="474" y="23"/>
                    </a:lnTo>
                    <a:lnTo>
                      <a:pt x="474" y="56"/>
                    </a:lnTo>
                    <a:close/>
                    <a:moveTo>
                      <a:pt x="602" y="178"/>
                    </a:moveTo>
                    <a:lnTo>
                      <a:pt x="511" y="178"/>
                    </a:lnTo>
                    <a:lnTo>
                      <a:pt x="511" y="178"/>
                    </a:lnTo>
                    <a:lnTo>
                      <a:pt x="507" y="176"/>
                    </a:lnTo>
                    <a:lnTo>
                      <a:pt x="506" y="175"/>
                    </a:lnTo>
                    <a:lnTo>
                      <a:pt x="506" y="174"/>
                    </a:lnTo>
                    <a:lnTo>
                      <a:pt x="506" y="136"/>
                    </a:lnTo>
                    <a:lnTo>
                      <a:pt x="506" y="136"/>
                    </a:lnTo>
                    <a:lnTo>
                      <a:pt x="506" y="133"/>
                    </a:lnTo>
                    <a:lnTo>
                      <a:pt x="507" y="132"/>
                    </a:lnTo>
                    <a:lnTo>
                      <a:pt x="511" y="131"/>
                    </a:lnTo>
                    <a:lnTo>
                      <a:pt x="581" y="131"/>
                    </a:lnTo>
                    <a:lnTo>
                      <a:pt x="581" y="131"/>
                    </a:lnTo>
                    <a:lnTo>
                      <a:pt x="584" y="132"/>
                    </a:lnTo>
                    <a:lnTo>
                      <a:pt x="585" y="133"/>
                    </a:lnTo>
                    <a:lnTo>
                      <a:pt x="586" y="136"/>
                    </a:lnTo>
                    <a:lnTo>
                      <a:pt x="607" y="174"/>
                    </a:lnTo>
                    <a:lnTo>
                      <a:pt x="607" y="174"/>
                    </a:lnTo>
                    <a:lnTo>
                      <a:pt x="607" y="175"/>
                    </a:lnTo>
                    <a:lnTo>
                      <a:pt x="606" y="176"/>
                    </a:lnTo>
                    <a:lnTo>
                      <a:pt x="602" y="178"/>
                    </a:lnTo>
                    <a:lnTo>
                      <a:pt x="602" y="178"/>
                    </a:lnTo>
                    <a:close/>
                    <a:moveTo>
                      <a:pt x="629" y="172"/>
                    </a:moveTo>
                    <a:lnTo>
                      <a:pt x="629" y="172"/>
                    </a:lnTo>
                    <a:lnTo>
                      <a:pt x="629" y="172"/>
                    </a:lnTo>
                    <a:lnTo>
                      <a:pt x="628" y="173"/>
                    </a:lnTo>
                    <a:lnTo>
                      <a:pt x="618" y="173"/>
                    </a:lnTo>
                    <a:lnTo>
                      <a:pt x="618" y="173"/>
                    </a:lnTo>
                    <a:lnTo>
                      <a:pt x="617" y="172"/>
                    </a:lnTo>
                    <a:lnTo>
                      <a:pt x="599" y="137"/>
                    </a:lnTo>
                    <a:lnTo>
                      <a:pt x="599" y="137"/>
                    </a:lnTo>
                    <a:lnTo>
                      <a:pt x="599" y="137"/>
                    </a:lnTo>
                    <a:lnTo>
                      <a:pt x="600" y="136"/>
                    </a:lnTo>
                    <a:lnTo>
                      <a:pt x="628" y="136"/>
                    </a:lnTo>
                    <a:lnTo>
                      <a:pt x="628" y="136"/>
                    </a:lnTo>
                    <a:lnTo>
                      <a:pt x="629" y="137"/>
                    </a:lnTo>
                    <a:lnTo>
                      <a:pt x="629" y="138"/>
                    </a:lnTo>
                    <a:lnTo>
                      <a:pt x="629" y="172"/>
                    </a:lnTo>
                    <a:close/>
                    <a:moveTo>
                      <a:pt x="629" y="114"/>
                    </a:moveTo>
                    <a:lnTo>
                      <a:pt x="629" y="114"/>
                    </a:lnTo>
                    <a:lnTo>
                      <a:pt x="629" y="114"/>
                    </a:lnTo>
                    <a:lnTo>
                      <a:pt x="628" y="115"/>
                    </a:lnTo>
                    <a:lnTo>
                      <a:pt x="618" y="115"/>
                    </a:lnTo>
                    <a:lnTo>
                      <a:pt x="618" y="115"/>
                    </a:lnTo>
                    <a:lnTo>
                      <a:pt x="617" y="114"/>
                    </a:lnTo>
                    <a:lnTo>
                      <a:pt x="599" y="79"/>
                    </a:lnTo>
                    <a:lnTo>
                      <a:pt x="599" y="79"/>
                    </a:lnTo>
                    <a:lnTo>
                      <a:pt x="599" y="79"/>
                    </a:lnTo>
                    <a:lnTo>
                      <a:pt x="600" y="78"/>
                    </a:lnTo>
                    <a:lnTo>
                      <a:pt x="628" y="78"/>
                    </a:lnTo>
                    <a:lnTo>
                      <a:pt x="628" y="78"/>
                    </a:lnTo>
                    <a:lnTo>
                      <a:pt x="629" y="79"/>
                    </a:lnTo>
                    <a:lnTo>
                      <a:pt x="629" y="80"/>
                    </a:lnTo>
                    <a:lnTo>
                      <a:pt x="629" y="114"/>
                    </a:lnTo>
                    <a:close/>
                    <a:moveTo>
                      <a:pt x="629" y="56"/>
                    </a:moveTo>
                    <a:lnTo>
                      <a:pt x="629" y="56"/>
                    </a:lnTo>
                    <a:lnTo>
                      <a:pt x="629" y="56"/>
                    </a:lnTo>
                    <a:lnTo>
                      <a:pt x="628" y="58"/>
                    </a:lnTo>
                    <a:lnTo>
                      <a:pt x="618" y="58"/>
                    </a:lnTo>
                    <a:lnTo>
                      <a:pt x="618" y="58"/>
                    </a:lnTo>
                    <a:lnTo>
                      <a:pt x="617" y="56"/>
                    </a:lnTo>
                    <a:lnTo>
                      <a:pt x="599" y="23"/>
                    </a:lnTo>
                    <a:lnTo>
                      <a:pt x="599" y="23"/>
                    </a:lnTo>
                    <a:lnTo>
                      <a:pt x="599" y="21"/>
                    </a:lnTo>
                    <a:lnTo>
                      <a:pt x="600" y="21"/>
                    </a:lnTo>
                    <a:lnTo>
                      <a:pt x="628" y="21"/>
                    </a:lnTo>
                    <a:lnTo>
                      <a:pt x="628" y="21"/>
                    </a:lnTo>
                    <a:lnTo>
                      <a:pt x="629" y="21"/>
                    </a:lnTo>
                    <a:lnTo>
                      <a:pt x="629" y="23"/>
                    </a:lnTo>
                    <a:lnTo>
                      <a:pt x="629" y="56"/>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endParaRPr lang="zh-CN" altLang="en-US" sz="750" dirty="0">
                  <a:solidFill>
                    <a:schemeClr val="bg1"/>
                  </a:solidFill>
                  <a:latin typeface="FrutigerNext LT Medium" panose="020B0603040504020204" pitchFamily="34" charset="0"/>
                  <a:ea typeface="微软雅黑" pitchFamily="34" charset="-122"/>
                  <a:cs typeface="Arial" pitchFamily="34" charset="0"/>
                </a:endParaRPr>
              </a:p>
            </p:txBody>
          </p:sp>
          <p:sp>
            <p:nvSpPr>
              <p:cNvPr id="19" name="Freeform 71"/>
              <p:cNvSpPr>
                <a:spLocks noEditPoints="1"/>
              </p:cNvSpPr>
              <p:nvPr/>
            </p:nvSpPr>
            <p:spPr bwMode="auto">
              <a:xfrm>
                <a:off x="4566746" y="5042653"/>
                <a:ext cx="749159" cy="153208"/>
              </a:xfrm>
              <a:custGeom>
                <a:avLst/>
                <a:gdLst>
                  <a:gd name="T0" fmla="*/ 414 w 793"/>
                  <a:gd name="T1" fmla="*/ 157 h 192"/>
                  <a:gd name="T2" fmla="*/ 368 w 793"/>
                  <a:gd name="T3" fmla="*/ 118 h 192"/>
                  <a:gd name="T4" fmla="*/ 391 w 793"/>
                  <a:gd name="T5" fmla="*/ 114 h 192"/>
                  <a:gd name="T6" fmla="*/ 414 w 793"/>
                  <a:gd name="T7" fmla="*/ 157 h 192"/>
                  <a:gd name="T8" fmla="*/ 367 w 793"/>
                  <a:gd name="T9" fmla="*/ 52 h 192"/>
                  <a:gd name="T10" fmla="*/ 388 w 793"/>
                  <a:gd name="T11" fmla="*/ 44 h 192"/>
                  <a:gd name="T12" fmla="*/ 414 w 793"/>
                  <a:gd name="T13" fmla="*/ 54 h 192"/>
                  <a:gd name="T14" fmla="*/ 457 w 793"/>
                  <a:gd name="T15" fmla="*/ 120 h 192"/>
                  <a:gd name="T16" fmla="*/ 478 w 793"/>
                  <a:gd name="T17" fmla="*/ 114 h 192"/>
                  <a:gd name="T18" fmla="*/ 486 w 793"/>
                  <a:gd name="T19" fmla="*/ 123 h 192"/>
                  <a:gd name="T20" fmla="*/ 457 w 793"/>
                  <a:gd name="T21" fmla="*/ 54 h 192"/>
                  <a:gd name="T22" fmla="*/ 464 w 793"/>
                  <a:gd name="T23" fmla="*/ 44 h 192"/>
                  <a:gd name="T24" fmla="*/ 486 w 793"/>
                  <a:gd name="T25" fmla="*/ 52 h 192"/>
                  <a:gd name="T26" fmla="*/ 530 w 793"/>
                  <a:gd name="T27" fmla="*/ 123 h 192"/>
                  <a:gd name="T28" fmla="*/ 551 w 793"/>
                  <a:gd name="T29" fmla="*/ 114 h 192"/>
                  <a:gd name="T30" fmla="*/ 575 w 793"/>
                  <a:gd name="T31" fmla="*/ 118 h 192"/>
                  <a:gd name="T32" fmla="*/ 530 w 793"/>
                  <a:gd name="T33" fmla="*/ 87 h 192"/>
                  <a:gd name="T34" fmla="*/ 549 w 793"/>
                  <a:gd name="T35" fmla="*/ 47 h 192"/>
                  <a:gd name="T36" fmla="*/ 573 w 793"/>
                  <a:gd name="T37" fmla="*/ 47 h 192"/>
                  <a:gd name="T38" fmla="*/ 683 w 793"/>
                  <a:gd name="T39" fmla="*/ 157 h 192"/>
                  <a:gd name="T40" fmla="*/ 637 w 793"/>
                  <a:gd name="T41" fmla="*/ 118 h 192"/>
                  <a:gd name="T42" fmla="*/ 661 w 793"/>
                  <a:gd name="T43" fmla="*/ 114 h 192"/>
                  <a:gd name="T44" fmla="*/ 683 w 793"/>
                  <a:gd name="T45" fmla="*/ 157 h 192"/>
                  <a:gd name="T46" fmla="*/ 637 w 793"/>
                  <a:gd name="T47" fmla="*/ 52 h 192"/>
                  <a:gd name="T48" fmla="*/ 659 w 793"/>
                  <a:gd name="T49" fmla="*/ 44 h 192"/>
                  <a:gd name="T50" fmla="*/ 683 w 793"/>
                  <a:gd name="T51" fmla="*/ 54 h 192"/>
                  <a:gd name="T52" fmla="*/ 13 w 793"/>
                  <a:gd name="T53" fmla="*/ 1 h 192"/>
                  <a:gd name="T54" fmla="*/ 0 w 793"/>
                  <a:gd name="T55" fmla="*/ 22 h 192"/>
                  <a:gd name="T56" fmla="*/ 7 w 793"/>
                  <a:gd name="T57" fmla="*/ 186 h 192"/>
                  <a:gd name="T58" fmla="*/ 771 w 793"/>
                  <a:gd name="T59" fmla="*/ 192 h 192"/>
                  <a:gd name="T60" fmla="*/ 792 w 793"/>
                  <a:gd name="T61" fmla="*/ 178 h 192"/>
                  <a:gd name="T62" fmla="*/ 792 w 793"/>
                  <a:gd name="T63" fmla="*/ 13 h 192"/>
                  <a:gd name="T64" fmla="*/ 771 w 793"/>
                  <a:gd name="T65" fmla="*/ 0 h 192"/>
                  <a:gd name="T66" fmla="*/ 52 w 793"/>
                  <a:gd name="T67" fmla="*/ 134 h 192"/>
                  <a:gd name="T68" fmla="*/ 64 w 793"/>
                  <a:gd name="T69" fmla="*/ 116 h 192"/>
                  <a:gd name="T70" fmla="*/ 77 w 793"/>
                  <a:gd name="T71" fmla="*/ 129 h 192"/>
                  <a:gd name="T72" fmla="*/ 64 w 793"/>
                  <a:gd name="T73" fmla="*/ 76 h 192"/>
                  <a:gd name="T74" fmla="*/ 51 w 793"/>
                  <a:gd name="T75" fmla="*/ 63 h 192"/>
                  <a:gd name="T76" fmla="*/ 70 w 793"/>
                  <a:gd name="T77" fmla="*/ 52 h 192"/>
                  <a:gd name="T78" fmla="*/ 74 w 793"/>
                  <a:gd name="T79" fmla="*/ 72 h 192"/>
                  <a:gd name="T80" fmla="*/ 138 w 793"/>
                  <a:gd name="T81" fmla="*/ 140 h 192"/>
                  <a:gd name="T82" fmla="*/ 133 w 793"/>
                  <a:gd name="T83" fmla="*/ 120 h 192"/>
                  <a:gd name="T84" fmla="*/ 155 w 793"/>
                  <a:gd name="T85" fmla="*/ 124 h 192"/>
                  <a:gd name="T86" fmla="*/ 143 w 793"/>
                  <a:gd name="T87" fmla="*/ 142 h 192"/>
                  <a:gd name="T88" fmla="*/ 131 w 793"/>
                  <a:gd name="T89" fmla="*/ 68 h 192"/>
                  <a:gd name="T90" fmla="*/ 143 w 793"/>
                  <a:gd name="T91" fmla="*/ 51 h 192"/>
                  <a:gd name="T92" fmla="*/ 156 w 793"/>
                  <a:gd name="T93" fmla="*/ 63 h 192"/>
                  <a:gd name="T94" fmla="*/ 222 w 793"/>
                  <a:gd name="T95" fmla="*/ 142 h 192"/>
                  <a:gd name="T96" fmla="*/ 209 w 793"/>
                  <a:gd name="T97" fmla="*/ 129 h 192"/>
                  <a:gd name="T98" fmla="*/ 227 w 793"/>
                  <a:gd name="T99" fmla="*/ 116 h 192"/>
                  <a:gd name="T100" fmla="*/ 230 w 793"/>
                  <a:gd name="T101" fmla="*/ 138 h 192"/>
                  <a:gd name="T102" fmla="*/ 216 w 793"/>
                  <a:gd name="T103" fmla="*/ 75 h 192"/>
                  <a:gd name="T104" fmla="*/ 213 w 793"/>
                  <a:gd name="T105" fmla="*/ 54 h 192"/>
                  <a:gd name="T106" fmla="*/ 234 w 793"/>
                  <a:gd name="T107" fmla="*/ 58 h 192"/>
                  <a:gd name="T108" fmla="*/ 222 w 793"/>
                  <a:gd name="T109" fmla="*/ 76 h 192"/>
                  <a:gd name="T110" fmla="*/ 721 w 793"/>
                  <a:gd name="T111" fmla="*/ 176 h 192"/>
                  <a:gd name="T112" fmla="*/ 739 w 793"/>
                  <a:gd name="T113" fmla="*/ 100 h 192"/>
                  <a:gd name="T114" fmla="*/ 755 w 793"/>
                  <a:gd name="T115" fmla="*/ 82 h 192"/>
                  <a:gd name="T116" fmla="*/ 771 w 793"/>
                  <a:gd name="T117"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3" h="192">
                    <a:moveTo>
                      <a:pt x="708" y="33"/>
                    </a:moveTo>
                    <a:lnTo>
                      <a:pt x="318" y="33"/>
                    </a:lnTo>
                    <a:lnTo>
                      <a:pt x="318" y="166"/>
                    </a:lnTo>
                    <a:lnTo>
                      <a:pt x="708" y="166"/>
                    </a:lnTo>
                    <a:lnTo>
                      <a:pt x="708" y="33"/>
                    </a:lnTo>
                    <a:close/>
                    <a:moveTo>
                      <a:pt x="414" y="157"/>
                    </a:moveTo>
                    <a:lnTo>
                      <a:pt x="349" y="157"/>
                    </a:lnTo>
                    <a:lnTo>
                      <a:pt x="349" y="123"/>
                    </a:lnTo>
                    <a:lnTo>
                      <a:pt x="367" y="123"/>
                    </a:lnTo>
                    <a:lnTo>
                      <a:pt x="367" y="120"/>
                    </a:lnTo>
                    <a:lnTo>
                      <a:pt x="367" y="120"/>
                    </a:lnTo>
                    <a:lnTo>
                      <a:pt x="368" y="118"/>
                    </a:lnTo>
                    <a:lnTo>
                      <a:pt x="369" y="115"/>
                    </a:lnTo>
                    <a:lnTo>
                      <a:pt x="372" y="114"/>
                    </a:lnTo>
                    <a:lnTo>
                      <a:pt x="375" y="114"/>
                    </a:lnTo>
                    <a:lnTo>
                      <a:pt x="388" y="114"/>
                    </a:lnTo>
                    <a:lnTo>
                      <a:pt x="388" y="114"/>
                    </a:lnTo>
                    <a:lnTo>
                      <a:pt x="391" y="114"/>
                    </a:lnTo>
                    <a:lnTo>
                      <a:pt x="393" y="115"/>
                    </a:lnTo>
                    <a:lnTo>
                      <a:pt x="395" y="118"/>
                    </a:lnTo>
                    <a:lnTo>
                      <a:pt x="396" y="120"/>
                    </a:lnTo>
                    <a:lnTo>
                      <a:pt x="396" y="123"/>
                    </a:lnTo>
                    <a:lnTo>
                      <a:pt x="414" y="123"/>
                    </a:lnTo>
                    <a:lnTo>
                      <a:pt x="414" y="157"/>
                    </a:lnTo>
                    <a:close/>
                    <a:moveTo>
                      <a:pt x="414" y="87"/>
                    </a:moveTo>
                    <a:lnTo>
                      <a:pt x="349" y="87"/>
                    </a:lnTo>
                    <a:lnTo>
                      <a:pt x="349" y="54"/>
                    </a:lnTo>
                    <a:lnTo>
                      <a:pt x="367" y="54"/>
                    </a:lnTo>
                    <a:lnTo>
                      <a:pt x="367" y="52"/>
                    </a:lnTo>
                    <a:lnTo>
                      <a:pt x="367" y="52"/>
                    </a:lnTo>
                    <a:lnTo>
                      <a:pt x="368" y="48"/>
                    </a:lnTo>
                    <a:lnTo>
                      <a:pt x="369" y="47"/>
                    </a:lnTo>
                    <a:lnTo>
                      <a:pt x="372" y="44"/>
                    </a:lnTo>
                    <a:lnTo>
                      <a:pt x="375" y="44"/>
                    </a:lnTo>
                    <a:lnTo>
                      <a:pt x="388" y="44"/>
                    </a:lnTo>
                    <a:lnTo>
                      <a:pt x="388" y="44"/>
                    </a:lnTo>
                    <a:lnTo>
                      <a:pt x="391" y="44"/>
                    </a:lnTo>
                    <a:lnTo>
                      <a:pt x="393" y="47"/>
                    </a:lnTo>
                    <a:lnTo>
                      <a:pt x="395" y="48"/>
                    </a:lnTo>
                    <a:lnTo>
                      <a:pt x="396" y="52"/>
                    </a:lnTo>
                    <a:lnTo>
                      <a:pt x="396" y="54"/>
                    </a:lnTo>
                    <a:lnTo>
                      <a:pt x="414" y="54"/>
                    </a:lnTo>
                    <a:lnTo>
                      <a:pt x="414" y="87"/>
                    </a:lnTo>
                    <a:close/>
                    <a:moveTo>
                      <a:pt x="503" y="157"/>
                    </a:moveTo>
                    <a:lnTo>
                      <a:pt x="439" y="157"/>
                    </a:lnTo>
                    <a:lnTo>
                      <a:pt x="439" y="123"/>
                    </a:lnTo>
                    <a:lnTo>
                      <a:pt x="457" y="123"/>
                    </a:lnTo>
                    <a:lnTo>
                      <a:pt x="457" y="120"/>
                    </a:lnTo>
                    <a:lnTo>
                      <a:pt x="457" y="120"/>
                    </a:lnTo>
                    <a:lnTo>
                      <a:pt x="458" y="118"/>
                    </a:lnTo>
                    <a:lnTo>
                      <a:pt x="459" y="115"/>
                    </a:lnTo>
                    <a:lnTo>
                      <a:pt x="462" y="114"/>
                    </a:lnTo>
                    <a:lnTo>
                      <a:pt x="464" y="114"/>
                    </a:lnTo>
                    <a:lnTo>
                      <a:pt x="478" y="114"/>
                    </a:lnTo>
                    <a:lnTo>
                      <a:pt x="478" y="114"/>
                    </a:lnTo>
                    <a:lnTo>
                      <a:pt x="481" y="114"/>
                    </a:lnTo>
                    <a:lnTo>
                      <a:pt x="483" y="115"/>
                    </a:lnTo>
                    <a:lnTo>
                      <a:pt x="484" y="118"/>
                    </a:lnTo>
                    <a:lnTo>
                      <a:pt x="486" y="120"/>
                    </a:lnTo>
                    <a:lnTo>
                      <a:pt x="486" y="123"/>
                    </a:lnTo>
                    <a:lnTo>
                      <a:pt x="503" y="123"/>
                    </a:lnTo>
                    <a:lnTo>
                      <a:pt x="503" y="157"/>
                    </a:lnTo>
                    <a:close/>
                    <a:moveTo>
                      <a:pt x="503" y="87"/>
                    </a:moveTo>
                    <a:lnTo>
                      <a:pt x="439" y="87"/>
                    </a:lnTo>
                    <a:lnTo>
                      <a:pt x="439" y="54"/>
                    </a:lnTo>
                    <a:lnTo>
                      <a:pt x="457" y="54"/>
                    </a:lnTo>
                    <a:lnTo>
                      <a:pt x="457" y="52"/>
                    </a:lnTo>
                    <a:lnTo>
                      <a:pt x="457" y="52"/>
                    </a:lnTo>
                    <a:lnTo>
                      <a:pt x="458" y="48"/>
                    </a:lnTo>
                    <a:lnTo>
                      <a:pt x="459" y="47"/>
                    </a:lnTo>
                    <a:lnTo>
                      <a:pt x="462" y="44"/>
                    </a:lnTo>
                    <a:lnTo>
                      <a:pt x="464" y="44"/>
                    </a:lnTo>
                    <a:lnTo>
                      <a:pt x="478" y="44"/>
                    </a:lnTo>
                    <a:lnTo>
                      <a:pt x="478" y="44"/>
                    </a:lnTo>
                    <a:lnTo>
                      <a:pt x="481" y="44"/>
                    </a:lnTo>
                    <a:lnTo>
                      <a:pt x="483" y="47"/>
                    </a:lnTo>
                    <a:lnTo>
                      <a:pt x="484" y="48"/>
                    </a:lnTo>
                    <a:lnTo>
                      <a:pt x="486" y="52"/>
                    </a:lnTo>
                    <a:lnTo>
                      <a:pt x="486" y="54"/>
                    </a:lnTo>
                    <a:lnTo>
                      <a:pt x="503" y="54"/>
                    </a:lnTo>
                    <a:lnTo>
                      <a:pt x="503" y="87"/>
                    </a:lnTo>
                    <a:close/>
                    <a:moveTo>
                      <a:pt x="593" y="157"/>
                    </a:moveTo>
                    <a:lnTo>
                      <a:pt x="530" y="157"/>
                    </a:lnTo>
                    <a:lnTo>
                      <a:pt x="530" y="123"/>
                    </a:lnTo>
                    <a:lnTo>
                      <a:pt x="548" y="123"/>
                    </a:lnTo>
                    <a:lnTo>
                      <a:pt x="548" y="120"/>
                    </a:lnTo>
                    <a:lnTo>
                      <a:pt x="548" y="120"/>
                    </a:lnTo>
                    <a:lnTo>
                      <a:pt x="548" y="118"/>
                    </a:lnTo>
                    <a:lnTo>
                      <a:pt x="549" y="115"/>
                    </a:lnTo>
                    <a:lnTo>
                      <a:pt x="551" y="114"/>
                    </a:lnTo>
                    <a:lnTo>
                      <a:pt x="554" y="114"/>
                    </a:lnTo>
                    <a:lnTo>
                      <a:pt x="568" y="114"/>
                    </a:lnTo>
                    <a:lnTo>
                      <a:pt x="568" y="114"/>
                    </a:lnTo>
                    <a:lnTo>
                      <a:pt x="572" y="114"/>
                    </a:lnTo>
                    <a:lnTo>
                      <a:pt x="573" y="115"/>
                    </a:lnTo>
                    <a:lnTo>
                      <a:pt x="575" y="118"/>
                    </a:lnTo>
                    <a:lnTo>
                      <a:pt x="575" y="120"/>
                    </a:lnTo>
                    <a:lnTo>
                      <a:pt x="575" y="123"/>
                    </a:lnTo>
                    <a:lnTo>
                      <a:pt x="593" y="123"/>
                    </a:lnTo>
                    <a:lnTo>
                      <a:pt x="593" y="157"/>
                    </a:lnTo>
                    <a:close/>
                    <a:moveTo>
                      <a:pt x="593" y="87"/>
                    </a:moveTo>
                    <a:lnTo>
                      <a:pt x="530" y="87"/>
                    </a:lnTo>
                    <a:lnTo>
                      <a:pt x="530" y="54"/>
                    </a:lnTo>
                    <a:lnTo>
                      <a:pt x="548" y="54"/>
                    </a:lnTo>
                    <a:lnTo>
                      <a:pt x="548" y="52"/>
                    </a:lnTo>
                    <a:lnTo>
                      <a:pt x="548" y="52"/>
                    </a:lnTo>
                    <a:lnTo>
                      <a:pt x="548" y="48"/>
                    </a:lnTo>
                    <a:lnTo>
                      <a:pt x="549" y="47"/>
                    </a:lnTo>
                    <a:lnTo>
                      <a:pt x="551" y="44"/>
                    </a:lnTo>
                    <a:lnTo>
                      <a:pt x="554" y="44"/>
                    </a:lnTo>
                    <a:lnTo>
                      <a:pt x="568" y="44"/>
                    </a:lnTo>
                    <a:lnTo>
                      <a:pt x="568" y="44"/>
                    </a:lnTo>
                    <a:lnTo>
                      <a:pt x="572" y="44"/>
                    </a:lnTo>
                    <a:lnTo>
                      <a:pt x="573" y="47"/>
                    </a:lnTo>
                    <a:lnTo>
                      <a:pt x="575" y="48"/>
                    </a:lnTo>
                    <a:lnTo>
                      <a:pt x="575" y="52"/>
                    </a:lnTo>
                    <a:lnTo>
                      <a:pt x="575" y="54"/>
                    </a:lnTo>
                    <a:lnTo>
                      <a:pt x="593" y="54"/>
                    </a:lnTo>
                    <a:lnTo>
                      <a:pt x="593" y="87"/>
                    </a:lnTo>
                    <a:close/>
                    <a:moveTo>
                      <a:pt x="683" y="157"/>
                    </a:moveTo>
                    <a:lnTo>
                      <a:pt x="620" y="157"/>
                    </a:lnTo>
                    <a:lnTo>
                      <a:pt x="620" y="123"/>
                    </a:lnTo>
                    <a:lnTo>
                      <a:pt x="637" y="123"/>
                    </a:lnTo>
                    <a:lnTo>
                      <a:pt x="637" y="120"/>
                    </a:lnTo>
                    <a:lnTo>
                      <a:pt x="637" y="120"/>
                    </a:lnTo>
                    <a:lnTo>
                      <a:pt x="637" y="118"/>
                    </a:lnTo>
                    <a:lnTo>
                      <a:pt x="640" y="115"/>
                    </a:lnTo>
                    <a:lnTo>
                      <a:pt x="641" y="114"/>
                    </a:lnTo>
                    <a:lnTo>
                      <a:pt x="645" y="114"/>
                    </a:lnTo>
                    <a:lnTo>
                      <a:pt x="659" y="114"/>
                    </a:lnTo>
                    <a:lnTo>
                      <a:pt x="659" y="114"/>
                    </a:lnTo>
                    <a:lnTo>
                      <a:pt x="661" y="114"/>
                    </a:lnTo>
                    <a:lnTo>
                      <a:pt x="664" y="115"/>
                    </a:lnTo>
                    <a:lnTo>
                      <a:pt x="665" y="118"/>
                    </a:lnTo>
                    <a:lnTo>
                      <a:pt x="665" y="120"/>
                    </a:lnTo>
                    <a:lnTo>
                      <a:pt x="665" y="123"/>
                    </a:lnTo>
                    <a:lnTo>
                      <a:pt x="683" y="123"/>
                    </a:lnTo>
                    <a:lnTo>
                      <a:pt x="683" y="157"/>
                    </a:lnTo>
                    <a:close/>
                    <a:moveTo>
                      <a:pt x="683" y="87"/>
                    </a:moveTo>
                    <a:lnTo>
                      <a:pt x="620" y="87"/>
                    </a:lnTo>
                    <a:lnTo>
                      <a:pt x="620" y="54"/>
                    </a:lnTo>
                    <a:lnTo>
                      <a:pt x="637" y="54"/>
                    </a:lnTo>
                    <a:lnTo>
                      <a:pt x="637" y="52"/>
                    </a:lnTo>
                    <a:lnTo>
                      <a:pt x="637" y="52"/>
                    </a:lnTo>
                    <a:lnTo>
                      <a:pt x="637" y="48"/>
                    </a:lnTo>
                    <a:lnTo>
                      <a:pt x="640" y="47"/>
                    </a:lnTo>
                    <a:lnTo>
                      <a:pt x="641" y="44"/>
                    </a:lnTo>
                    <a:lnTo>
                      <a:pt x="645" y="44"/>
                    </a:lnTo>
                    <a:lnTo>
                      <a:pt x="659" y="44"/>
                    </a:lnTo>
                    <a:lnTo>
                      <a:pt x="659" y="44"/>
                    </a:lnTo>
                    <a:lnTo>
                      <a:pt x="661" y="44"/>
                    </a:lnTo>
                    <a:lnTo>
                      <a:pt x="664" y="47"/>
                    </a:lnTo>
                    <a:lnTo>
                      <a:pt x="665" y="48"/>
                    </a:lnTo>
                    <a:lnTo>
                      <a:pt x="665" y="52"/>
                    </a:lnTo>
                    <a:lnTo>
                      <a:pt x="665" y="54"/>
                    </a:lnTo>
                    <a:lnTo>
                      <a:pt x="683" y="54"/>
                    </a:lnTo>
                    <a:lnTo>
                      <a:pt x="683" y="87"/>
                    </a:lnTo>
                    <a:close/>
                    <a:moveTo>
                      <a:pt x="771" y="0"/>
                    </a:moveTo>
                    <a:lnTo>
                      <a:pt x="22" y="0"/>
                    </a:lnTo>
                    <a:lnTo>
                      <a:pt x="22" y="0"/>
                    </a:lnTo>
                    <a:lnTo>
                      <a:pt x="17" y="0"/>
                    </a:lnTo>
                    <a:lnTo>
                      <a:pt x="13" y="1"/>
                    </a:lnTo>
                    <a:lnTo>
                      <a:pt x="9" y="4"/>
                    </a:lnTo>
                    <a:lnTo>
                      <a:pt x="7" y="6"/>
                    </a:lnTo>
                    <a:lnTo>
                      <a:pt x="4" y="9"/>
                    </a:lnTo>
                    <a:lnTo>
                      <a:pt x="2" y="13"/>
                    </a:lnTo>
                    <a:lnTo>
                      <a:pt x="0" y="16"/>
                    </a:lnTo>
                    <a:lnTo>
                      <a:pt x="0" y="22"/>
                    </a:lnTo>
                    <a:lnTo>
                      <a:pt x="0" y="171"/>
                    </a:lnTo>
                    <a:lnTo>
                      <a:pt x="0" y="171"/>
                    </a:lnTo>
                    <a:lnTo>
                      <a:pt x="0" y="174"/>
                    </a:lnTo>
                    <a:lnTo>
                      <a:pt x="2" y="178"/>
                    </a:lnTo>
                    <a:lnTo>
                      <a:pt x="4" y="182"/>
                    </a:lnTo>
                    <a:lnTo>
                      <a:pt x="7" y="186"/>
                    </a:lnTo>
                    <a:lnTo>
                      <a:pt x="9" y="188"/>
                    </a:lnTo>
                    <a:lnTo>
                      <a:pt x="13" y="190"/>
                    </a:lnTo>
                    <a:lnTo>
                      <a:pt x="17" y="191"/>
                    </a:lnTo>
                    <a:lnTo>
                      <a:pt x="22" y="192"/>
                    </a:lnTo>
                    <a:lnTo>
                      <a:pt x="771" y="192"/>
                    </a:lnTo>
                    <a:lnTo>
                      <a:pt x="771" y="192"/>
                    </a:lnTo>
                    <a:lnTo>
                      <a:pt x="776" y="191"/>
                    </a:lnTo>
                    <a:lnTo>
                      <a:pt x="780" y="190"/>
                    </a:lnTo>
                    <a:lnTo>
                      <a:pt x="784" y="188"/>
                    </a:lnTo>
                    <a:lnTo>
                      <a:pt x="787" y="186"/>
                    </a:lnTo>
                    <a:lnTo>
                      <a:pt x="789" y="182"/>
                    </a:lnTo>
                    <a:lnTo>
                      <a:pt x="792" y="178"/>
                    </a:lnTo>
                    <a:lnTo>
                      <a:pt x="793" y="174"/>
                    </a:lnTo>
                    <a:lnTo>
                      <a:pt x="793" y="171"/>
                    </a:lnTo>
                    <a:lnTo>
                      <a:pt x="793" y="22"/>
                    </a:lnTo>
                    <a:lnTo>
                      <a:pt x="793" y="22"/>
                    </a:lnTo>
                    <a:lnTo>
                      <a:pt x="793" y="16"/>
                    </a:lnTo>
                    <a:lnTo>
                      <a:pt x="792" y="13"/>
                    </a:lnTo>
                    <a:lnTo>
                      <a:pt x="789" y="9"/>
                    </a:lnTo>
                    <a:lnTo>
                      <a:pt x="787" y="6"/>
                    </a:lnTo>
                    <a:lnTo>
                      <a:pt x="784" y="4"/>
                    </a:lnTo>
                    <a:lnTo>
                      <a:pt x="780" y="1"/>
                    </a:lnTo>
                    <a:lnTo>
                      <a:pt x="776" y="0"/>
                    </a:lnTo>
                    <a:lnTo>
                      <a:pt x="771" y="0"/>
                    </a:lnTo>
                    <a:lnTo>
                      <a:pt x="771" y="0"/>
                    </a:lnTo>
                    <a:close/>
                    <a:moveTo>
                      <a:pt x="64" y="142"/>
                    </a:moveTo>
                    <a:lnTo>
                      <a:pt x="64" y="142"/>
                    </a:lnTo>
                    <a:lnTo>
                      <a:pt x="58" y="140"/>
                    </a:lnTo>
                    <a:lnTo>
                      <a:pt x="55" y="138"/>
                    </a:lnTo>
                    <a:lnTo>
                      <a:pt x="52" y="134"/>
                    </a:lnTo>
                    <a:lnTo>
                      <a:pt x="51" y="129"/>
                    </a:lnTo>
                    <a:lnTo>
                      <a:pt x="51" y="129"/>
                    </a:lnTo>
                    <a:lnTo>
                      <a:pt x="52" y="124"/>
                    </a:lnTo>
                    <a:lnTo>
                      <a:pt x="55" y="120"/>
                    </a:lnTo>
                    <a:lnTo>
                      <a:pt x="58" y="116"/>
                    </a:lnTo>
                    <a:lnTo>
                      <a:pt x="64" y="116"/>
                    </a:lnTo>
                    <a:lnTo>
                      <a:pt x="64" y="116"/>
                    </a:lnTo>
                    <a:lnTo>
                      <a:pt x="70" y="116"/>
                    </a:lnTo>
                    <a:lnTo>
                      <a:pt x="74" y="120"/>
                    </a:lnTo>
                    <a:lnTo>
                      <a:pt x="76" y="124"/>
                    </a:lnTo>
                    <a:lnTo>
                      <a:pt x="77" y="129"/>
                    </a:lnTo>
                    <a:lnTo>
                      <a:pt x="77" y="129"/>
                    </a:lnTo>
                    <a:lnTo>
                      <a:pt x="76" y="134"/>
                    </a:lnTo>
                    <a:lnTo>
                      <a:pt x="74" y="138"/>
                    </a:lnTo>
                    <a:lnTo>
                      <a:pt x="70" y="140"/>
                    </a:lnTo>
                    <a:lnTo>
                      <a:pt x="64" y="142"/>
                    </a:lnTo>
                    <a:lnTo>
                      <a:pt x="64" y="142"/>
                    </a:lnTo>
                    <a:close/>
                    <a:moveTo>
                      <a:pt x="64" y="76"/>
                    </a:moveTo>
                    <a:lnTo>
                      <a:pt x="64" y="76"/>
                    </a:lnTo>
                    <a:lnTo>
                      <a:pt x="58" y="75"/>
                    </a:lnTo>
                    <a:lnTo>
                      <a:pt x="55" y="72"/>
                    </a:lnTo>
                    <a:lnTo>
                      <a:pt x="52" y="68"/>
                    </a:lnTo>
                    <a:lnTo>
                      <a:pt x="51" y="63"/>
                    </a:lnTo>
                    <a:lnTo>
                      <a:pt x="51" y="63"/>
                    </a:lnTo>
                    <a:lnTo>
                      <a:pt x="52" y="58"/>
                    </a:lnTo>
                    <a:lnTo>
                      <a:pt x="55" y="54"/>
                    </a:lnTo>
                    <a:lnTo>
                      <a:pt x="58" y="52"/>
                    </a:lnTo>
                    <a:lnTo>
                      <a:pt x="64" y="51"/>
                    </a:lnTo>
                    <a:lnTo>
                      <a:pt x="64" y="51"/>
                    </a:lnTo>
                    <a:lnTo>
                      <a:pt x="70" y="52"/>
                    </a:lnTo>
                    <a:lnTo>
                      <a:pt x="74" y="54"/>
                    </a:lnTo>
                    <a:lnTo>
                      <a:pt x="76" y="58"/>
                    </a:lnTo>
                    <a:lnTo>
                      <a:pt x="77" y="63"/>
                    </a:lnTo>
                    <a:lnTo>
                      <a:pt x="77" y="63"/>
                    </a:lnTo>
                    <a:lnTo>
                      <a:pt x="76" y="68"/>
                    </a:lnTo>
                    <a:lnTo>
                      <a:pt x="74" y="72"/>
                    </a:lnTo>
                    <a:lnTo>
                      <a:pt x="70" y="75"/>
                    </a:lnTo>
                    <a:lnTo>
                      <a:pt x="64" y="76"/>
                    </a:lnTo>
                    <a:lnTo>
                      <a:pt x="64" y="76"/>
                    </a:lnTo>
                    <a:close/>
                    <a:moveTo>
                      <a:pt x="143" y="142"/>
                    </a:moveTo>
                    <a:lnTo>
                      <a:pt x="143" y="142"/>
                    </a:lnTo>
                    <a:lnTo>
                      <a:pt x="138" y="140"/>
                    </a:lnTo>
                    <a:lnTo>
                      <a:pt x="133" y="138"/>
                    </a:lnTo>
                    <a:lnTo>
                      <a:pt x="131" y="134"/>
                    </a:lnTo>
                    <a:lnTo>
                      <a:pt x="129" y="129"/>
                    </a:lnTo>
                    <a:lnTo>
                      <a:pt x="129" y="129"/>
                    </a:lnTo>
                    <a:lnTo>
                      <a:pt x="131" y="124"/>
                    </a:lnTo>
                    <a:lnTo>
                      <a:pt x="133" y="120"/>
                    </a:lnTo>
                    <a:lnTo>
                      <a:pt x="138" y="116"/>
                    </a:lnTo>
                    <a:lnTo>
                      <a:pt x="143" y="116"/>
                    </a:lnTo>
                    <a:lnTo>
                      <a:pt x="143" y="116"/>
                    </a:lnTo>
                    <a:lnTo>
                      <a:pt x="148" y="116"/>
                    </a:lnTo>
                    <a:lnTo>
                      <a:pt x="152" y="120"/>
                    </a:lnTo>
                    <a:lnTo>
                      <a:pt x="155" y="124"/>
                    </a:lnTo>
                    <a:lnTo>
                      <a:pt x="156" y="129"/>
                    </a:lnTo>
                    <a:lnTo>
                      <a:pt x="156" y="129"/>
                    </a:lnTo>
                    <a:lnTo>
                      <a:pt x="155" y="134"/>
                    </a:lnTo>
                    <a:lnTo>
                      <a:pt x="152" y="138"/>
                    </a:lnTo>
                    <a:lnTo>
                      <a:pt x="148" y="140"/>
                    </a:lnTo>
                    <a:lnTo>
                      <a:pt x="143" y="142"/>
                    </a:lnTo>
                    <a:lnTo>
                      <a:pt x="143" y="142"/>
                    </a:lnTo>
                    <a:close/>
                    <a:moveTo>
                      <a:pt x="143" y="76"/>
                    </a:moveTo>
                    <a:lnTo>
                      <a:pt x="143" y="76"/>
                    </a:lnTo>
                    <a:lnTo>
                      <a:pt x="138" y="75"/>
                    </a:lnTo>
                    <a:lnTo>
                      <a:pt x="133" y="72"/>
                    </a:lnTo>
                    <a:lnTo>
                      <a:pt x="131" y="68"/>
                    </a:lnTo>
                    <a:lnTo>
                      <a:pt x="129" y="63"/>
                    </a:lnTo>
                    <a:lnTo>
                      <a:pt x="129" y="63"/>
                    </a:lnTo>
                    <a:lnTo>
                      <a:pt x="131" y="58"/>
                    </a:lnTo>
                    <a:lnTo>
                      <a:pt x="133" y="54"/>
                    </a:lnTo>
                    <a:lnTo>
                      <a:pt x="138" y="52"/>
                    </a:lnTo>
                    <a:lnTo>
                      <a:pt x="143" y="51"/>
                    </a:lnTo>
                    <a:lnTo>
                      <a:pt x="143" y="51"/>
                    </a:lnTo>
                    <a:lnTo>
                      <a:pt x="148" y="52"/>
                    </a:lnTo>
                    <a:lnTo>
                      <a:pt x="152" y="54"/>
                    </a:lnTo>
                    <a:lnTo>
                      <a:pt x="155" y="58"/>
                    </a:lnTo>
                    <a:lnTo>
                      <a:pt x="156" y="63"/>
                    </a:lnTo>
                    <a:lnTo>
                      <a:pt x="156" y="63"/>
                    </a:lnTo>
                    <a:lnTo>
                      <a:pt x="155" y="68"/>
                    </a:lnTo>
                    <a:lnTo>
                      <a:pt x="152" y="72"/>
                    </a:lnTo>
                    <a:lnTo>
                      <a:pt x="148" y="75"/>
                    </a:lnTo>
                    <a:lnTo>
                      <a:pt x="143" y="76"/>
                    </a:lnTo>
                    <a:lnTo>
                      <a:pt x="143" y="76"/>
                    </a:lnTo>
                    <a:close/>
                    <a:moveTo>
                      <a:pt x="222" y="142"/>
                    </a:moveTo>
                    <a:lnTo>
                      <a:pt x="222" y="142"/>
                    </a:lnTo>
                    <a:lnTo>
                      <a:pt x="216" y="140"/>
                    </a:lnTo>
                    <a:lnTo>
                      <a:pt x="213" y="138"/>
                    </a:lnTo>
                    <a:lnTo>
                      <a:pt x="209" y="134"/>
                    </a:lnTo>
                    <a:lnTo>
                      <a:pt x="209" y="129"/>
                    </a:lnTo>
                    <a:lnTo>
                      <a:pt x="209" y="129"/>
                    </a:lnTo>
                    <a:lnTo>
                      <a:pt x="209" y="124"/>
                    </a:lnTo>
                    <a:lnTo>
                      <a:pt x="213" y="120"/>
                    </a:lnTo>
                    <a:lnTo>
                      <a:pt x="216" y="116"/>
                    </a:lnTo>
                    <a:lnTo>
                      <a:pt x="222" y="116"/>
                    </a:lnTo>
                    <a:lnTo>
                      <a:pt x="222" y="116"/>
                    </a:lnTo>
                    <a:lnTo>
                      <a:pt x="227" y="116"/>
                    </a:lnTo>
                    <a:lnTo>
                      <a:pt x="230" y="120"/>
                    </a:lnTo>
                    <a:lnTo>
                      <a:pt x="234" y="124"/>
                    </a:lnTo>
                    <a:lnTo>
                      <a:pt x="234" y="129"/>
                    </a:lnTo>
                    <a:lnTo>
                      <a:pt x="234" y="129"/>
                    </a:lnTo>
                    <a:lnTo>
                      <a:pt x="234" y="134"/>
                    </a:lnTo>
                    <a:lnTo>
                      <a:pt x="230" y="138"/>
                    </a:lnTo>
                    <a:lnTo>
                      <a:pt x="227" y="140"/>
                    </a:lnTo>
                    <a:lnTo>
                      <a:pt x="222" y="142"/>
                    </a:lnTo>
                    <a:lnTo>
                      <a:pt x="222" y="142"/>
                    </a:lnTo>
                    <a:close/>
                    <a:moveTo>
                      <a:pt x="222" y="76"/>
                    </a:moveTo>
                    <a:lnTo>
                      <a:pt x="222" y="76"/>
                    </a:lnTo>
                    <a:lnTo>
                      <a:pt x="216" y="75"/>
                    </a:lnTo>
                    <a:lnTo>
                      <a:pt x="213" y="72"/>
                    </a:lnTo>
                    <a:lnTo>
                      <a:pt x="209" y="68"/>
                    </a:lnTo>
                    <a:lnTo>
                      <a:pt x="209" y="63"/>
                    </a:lnTo>
                    <a:lnTo>
                      <a:pt x="209" y="63"/>
                    </a:lnTo>
                    <a:lnTo>
                      <a:pt x="209" y="58"/>
                    </a:lnTo>
                    <a:lnTo>
                      <a:pt x="213" y="54"/>
                    </a:lnTo>
                    <a:lnTo>
                      <a:pt x="216" y="52"/>
                    </a:lnTo>
                    <a:lnTo>
                      <a:pt x="222" y="51"/>
                    </a:lnTo>
                    <a:lnTo>
                      <a:pt x="222" y="51"/>
                    </a:lnTo>
                    <a:lnTo>
                      <a:pt x="227" y="52"/>
                    </a:lnTo>
                    <a:lnTo>
                      <a:pt x="230" y="54"/>
                    </a:lnTo>
                    <a:lnTo>
                      <a:pt x="234" y="58"/>
                    </a:lnTo>
                    <a:lnTo>
                      <a:pt x="234" y="63"/>
                    </a:lnTo>
                    <a:lnTo>
                      <a:pt x="234" y="63"/>
                    </a:lnTo>
                    <a:lnTo>
                      <a:pt x="234" y="68"/>
                    </a:lnTo>
                    <a:lnTo>
                      <a:pt x="230" y="72"/>
                    </a:lnTo>
                    <a:lnTo>
                      <a:pt x="227" y="75"/>
                    </a:lnTo>
                    <a:lnTo>
                      <a:pt x="222" y="76"/>
                    </a:lnTo>
                    <a:lnTo>
                      <a:pt x="222" y="76"/>
                    </a:lnTo>
                    <a:close/>
                    <a:moveTo>
                      <a:pt x="721" y="176"/>
                    </a:moveTo>
                    <a:lnTo>
                      <a:pt x="305" y="176"/>
                    </a:lnTo>
                    <a:lnTo>
                      <a:pt x="305" y="23"/>
                    </a:lnTo>
                    <a:lnTo>
                      <a:pt x="721" y="23"/>
                    </a:lnTo>
                    <a:lnTo>
                      <a:pt x="721" y="176"/>
                    </a:lnTo>
                    <a:close/>
                    <a:moveTo>
                      <a:pt x="755" y="116"/>
                    </a:moveTo>
                    <a:lnTo>
                      <a:pt x="755" y="116"/>
                    </a:lnTo>
                    <a:lnTo>
                      <a:pt x="749" y="115"/>
                    </a:lnTo>
                    <a:lnTo>
                      <a:pt x="742" y="111"/>
                    </a:lnTo>
                    <a:lnTo>
                      <a:pt x="740" y="106"/>
                    </a:lnTo>
                    <a:lnTo>
                      <a:pt x="739" y="100"/>
                    </a:lnTo>
                    <a:lnTo>
                      <a:pt x="739" y="100"/>
                    </a:lnTo>
                    <a:lnTo>
                      <a:pt x="740" y="92"/>
                    </a:lnTo>
                    <a:lnTo>
                      <a:pt x="742" y="87"/>
                    </a:lnTo>
                    <a:lnTo>
                      <a:pt x="749" y="83"/>
                    </a:lnTo>
                    <a:lnTo>
                      <a:pt x="755" y="82"/>
                    </a:lnTo>
                    <a:lnTo>
                      <a:pt x="755" y="82"/>
                    </a:lnTo>
                    <a:lnTo>
                      <a:pt x="761" y="83"/>
                    </a:lnTo>
                    <a:lnTo>
                      <a:pt x="768" y="87"/>
                    </a:lnTo>
                    <a:lnTo>
                      <a:pt x="771" y="92"/>
                    </a:lnTo>
                    <a:lnTo>
                      <a:pt x="773" y="100"/>
                    </a:lnTo>
                    <a:lnTo>
                      <a:pt x="773" y="100"/>
                    </a:lnTo>
                    <a:lnTo>
                      <a:pt x="771" y="106"/>
                    </a:lnTo>
                    <a:lnTo>
                      <a:pt x="768" y="111"/>
                    </a:lnTo>
                    <a:lnTo>
                      <a:pt x="761" y="115"/>
                    </a:lnTo>
                    <a:lnTo>
                      <a:pt x="755" y="116"/>
                    </a:lnTo>
                    <a:lnTo>
                      <a:pt x="755" y="116"/>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endParaRPr lang="zh-CN" altLang="en-US" sz="750" dirty="0">
                  <a:solidFill>
                    <a:schemeClr val="bg1"/>
                  </a:solidFill>
                  <a:latin typeface="FrutigerNext LT Medium" panose="020B0603040504020204" pitchFamily="34" charset="0"/>
                  <a:ea typeface="微软雅黑" pitchFamily="34" charset="-122"/>
                  <a:cs typeface="Arial" pitchFamily="34" charset="0"/>
                </a:endParaRPr>
              </a:p>
            </p:txBody>
          </p:sp>
          <p:sp>
            <p:nvSpPr>
              <p:cNvPr id="20" name="Freeform 71"/>
              <p:cNvSpPr>
                <a:spLocks noEditPoints="1"/>
              </p:cNvSpPr>
              <p:nvPr/>
            </p:nvSpPr>
            <p:spPr bwMode="auto">
              <a:xfrm>
                <a:off x="4566746" y="4867559"/>
                <a:ext cx="749159" cy="153208"/>
              </a:xfrm>
              <a:custGeom>
                <a:avLst/>
                <a:gdLst>
                  <a:gd name="T0" fmla="*/ 414 w 793"/>
                  <a:gd name="T1" fmla="*/ 157 h 192"/>
                  <a:gd name="T2" fmla="*/ 368 w 793"/>
                  <a:gd name="T3" fmla="*/ 118 h 192"/>
                  <a:gd name="T4" fmla="*/ 391 w 793"/>
                  <a:gd name="T5" fmla="*/ 114 h 192"/>
                  <a:gd name="T6" fmla="*/ 414 w 793"/>
                  <a:gd name="T7" fmla="*/ 157 h 192"/>
                  <a:gd name="T8" fmla="*/ 367 w 793"/>
                  <a:gd name="T9" fmla="*/ 52 h 192"/>
                  <a:gd name="T10" fmla="*/ 388 w 793"/>
                  <a:gd name="T11" fmla="*/ 44 h 192"/>
                  <a:gd name="T12" fmla="*/ 414 w 793"/>
                  <a:gd name="T13" fmla="*/ 54 h 192"/>
                  <a:gd name="T14" fmla="*/ 457 w 793"/>
                  <a:gd name="T15" fmla="*/ 120 h 192"/>
                  <a:gd name="T16" fmla="*/ 478 w 793"/>
                  <a:gd name="T17" fmla="*/ 114 h 192"/>
                  <a:gd name="T18" fmla="*/ 486 w 793"/>
                  <a:gd name="T19" fmla="*/ 123 h 192"/>
                  <a:gd name="T20" fmla="*/ 457 w 793"/>
                  <a:gd name="T21" fmla="*/ 54 h 192"/>
                  <a:gd name="T22" fmla="*/ 464 w 793"/>
                  <a:gd name="T23" fmla="*/ 44 h 192"/>
                  <a:gd name="T24" fmla="*/ 486 w 793"/>
                  <a:gd name="T25" fmla="*/ 52 h 192"/>
                  <a:gd name="T26" fmla="*/ 530 w 793"/>
                  <a:gd name="T27" fmla="*/ 123 h 192"/>
                  <a:gd name="T28" fmla="*/ 551 w 793"/>
                  <a:gd name="T29" fmla="*/ 114 h 192"/>
                  <a:gd name="T30" fmla="*/ 575 w 793"/>
                  <a:gd name="T31" fmla="*/ 118 h 192"/>
                  <a:gd name="T32" fmla="*/ 530 w 793"/>
                  <a:gd name="T33" fmla="*/ 87 h 192"/>
                  <a:gd name="T34" fmla="*/ 549 w 793"/>
                  <a:gd name="T35" fmla="*/ 47 h 192"/>
                  <a:gd name="T36" fmla="*/ 573 w 793"/>
                  <a:gd name="T37" fmla="*/ 47 h 192"/>
                  <a:gd name="T38" fmla="*/ 683 w 793"/>
                  <a:gd name="T39" fmla="*/ 157 h 192"/>
                  <a:gd name="T40" fmla="*/ 637 w 793"/>
                  <a:gd name="T41" fmla="*/ 118 h 192"/>
                  <a:gd name="T42" fmla="*/ 661 w 793"/>
                  <a:gd name="T43" fmla="*/ 114 h 192"/>
                  <a:gd name="T44" fmla="*/ 683 w 793"/>
                  <a:gd name="T45" fmla="*/ 157 h 192"/>
                  <a:gd name="T46" fmla="*/ 637 w 793"/>
                  <a:gd name="T47" fmla="*/ 52 h 192"/>
                  <a:gd name="T48" fmla="*/ 659 w 793"/>
                  <a:gd name="T49" fmla="*/ 44 h 192"/>
                  <a:gd name="T50" fmla="*/ 683 w 793"/>
                  <a:gd name="T51" fmla="*/ 54 h 192"/>
                  <a:gd name="T52" fmla="*/ 13 w 793"/>
                  <a:gd name="T53" fmla="*/ 1 h 192"/>
                  <a:gd name="T54" fmla="*/ 0 w 793"/>
                  <a:gd name="T55" fmla="*/ 22 h 192"/>
                  <a:gd name="T56" fmla="*/ 7 w 793"/>
                  <a:gd name="T57" fmla="*/ 186 h 192"/>
                  <a:gd name="T58" fmla="*/ 771 w 793"/>
                  <a:gd name="T59" fmla="*/ 192 h 192"/>
                  <a:gd name="T60" fmla="*/ 792 w 793"/>
                  <a:gd name="T61" fmla="*/ 178 h 192"/>
                  <a:gd name="T62" fmla="*/ 792 w 793"/>
                  <a:gd name="T63" fmla="*/ 13 h 192"/>
                  <a:gd name="T64" fmla="*/ 771 w 793"/>
                  <a:gd name="T65" fmla="*/ 0 h 192"/>
                  <a:gd name="T66" fmla="*/ 52 w 793"/>
                  <a:gd name="T67" fmla="*/ 134 h 192"/>
                  <a:gd name="T68" fmla="*/ 64 w 793"/>
                  <a:gd name="T69" fmla="*/ 116 h 192"/>
                  <a:gd name="T70" fmla="*/ 77 w 793"/>
                  <a:gd name="T71" fmla="*/ 129 h 192"/>
                  <a:gd name="T72" fmla="*/ 64 w 793"/>
                  <a:gd name="T73" fmla="*/ 76 h 192"/>
                  <a:gd name="T74" fmla="*/ 51 w 793"/>
                  <a:gd name="T75" fmla="*/ 63 h 192"/>
                  <a:gd name="T76" fmla="*/ 70 w 793"/>
                  <a:gd name="T77" fmla="*/ 52 h 192"/>
                  <a:gd name="T78" fmla="*/ 74 w 793"/>
                  <a:gd name="T79" fmla="*/ 72 h 192"/>
                  <a:gd name="T80" fmla="*/ 138 w 793"/>
                  <a:gd name="T81" fmla="*/ 140 h 192"/>
                  <a:gd name="T82" fmla="*/ 133 w 793"/>
                  <a:gd name="T83" fmla="*/ 120 h 192"/>
                  <a:gd name="T84" fmla="*/ 155 w 793"/>
                  <a:gd name="T85" fmla="*/ 124 h 192"/>
                  <a:gd name="T86" fmla="*/ 143 w 793"/>
                  <a:gd name="T87" fmla="*/ 142 h 192"/>
                  <a:gd name="T88" fmla="*/ 131 w 793"/>
                  <a:gd name="T89" fmla="*/ 68 h 192"/>
                  <a:gd name="T90" fmla="*/ 143 w 793"/>
                  <a:gd name="T91" fmla="*/ 51 h 192"/>
                  <a:gd name="T92" fmla="*/ 156 w 793"/>
                  <a:gd name="T93" fmla="*/ 63 h 192"/>
                  <a:gd name="T94" fmla="*/ 222 w 793"/>
                  <a:gd name="T95" fmla="*/ 142 h 192"/>
                  <a:gd name="T96" fmla="*/ 209 w 793"/>
                  <a:gd name="T97" fmla="*/ 129 h 192"/>
                  <a:gd name="T98" fmla="*/ 227 w 793"/>
                  <a:gd name="T99" fmla="*/ 116 h 192"/>
                  <a:gd name="T100" fmla="*/ 230 w 793"/>
                  <a:gd name="T101" fmla="*/ 138 h 192"/>
                  <a:gd name="T102" fmla="*/ 216 w 793"/>
                  <a:gd name="T103" fmla="*/ 75 h 192"/>
                  <a:gd name="T104" fmla="*/ 213 w 793"/>
                  <a:gd name="T105" fmla="*/ 54 h 192"/>
                  <a:gd name="T106" fmla="*/ 234 w 793"/>
                  <a:gd name="T107" fmla="*/ 58 h 192"/>
                  <a:gd name="T108" fmla="*/ 222 w 793"/>
                  <a:gd name="T109" fmla="*/ 76 h 192"/>
                  <a:gd name="T110" fmla="*/ 721 w 793"/>
                  <a:gd name="T111" fmla="*/ 176 h 192"/>
                  <a:gd name="T112" fmla="*/ 739 w 793"/>
                  <a:gd name="T113" fmla="*/ 100 h 192"/>
                  <a:gd name="T114" fmla="*/ 755 w 793"/>
                  <a:gd name="T115" fmla="*/ 82 h 192"/>
                  <a:gd name="T116" fmla="*/ 771 w 793"/>
                  <a:gd name="T117"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3" h="192">
                    <a:moveTo>
                      <a:pt x="708" y="33"/>
                    </a:moveTo>
                    <a:lnTo>
                      <a:pt x="318" y="33"/>
                    </a:lnTo>
                    <a:lnTo>
                      <a:pt x="318" y="166"/>
                    </a:lnTo>
                    <a:lnTo>
                      <a:pt x="708" y="166"/>
                    </a:lnTo>
                    <a:lnTo>
                      <a:pt x="708" y="33"/>
                    </a:lnTo>
                    <a:close/>
                    <a:moveTo>
                      <a:pt x="414" y="157"/>
                    </a:moveTo>
                    <a:lnTo>
                      <a:pt x="349" y="157"/>
                    </a:lnTo>
                    <a:lnTo>
                      <a:pt x="349" y="123"/>
                    </a:lnTo>
                    <a:lnTo>
                      <a:pt x="367" y="123"/>
                    </a:lnTo>
                    <a:lnTo>
                      <a:pt x="367" y="120"/>
                    </a:lnTo>
                    <a:lnTo>
                      <a:pt x="367" y="120"/>
                    </a:lnTo>
                    <a:lnTo>
                      <a:pt x="368" y="118"/>
                    </a:lnTo>
                    <a:lnTo>
                      <a:pt x="369" y="115"/>
                    </a:lnTo>
                    <a:lnTo>
                      <a:pt x="372" y="114"/>
                    </a:lnTo>
                    <a:lnTo>
                      <a:pt x="375" y="114"/>
                    </a:lnTo>
                    <a:lnTo>
                      <a:pt x="388" y="114"/>
                    </a:lnTo>
                    <a:lnTo>
                      <a:pt x="388" y="114"/>
                    </a:lnTo>
                    <a:lnTo>
                      <a:pt x="391" y="114"/>
                    </a:lnTo>
                    <a:lnTo>
                      <a:pt x="393" y="115"/>
                    </a:lnTo>
                    <a:lnTo>
                      <a:pt x="395" y="118"/>
                    </a:lnTo>
                    <a:lnTo>
                      <a:pt x="396" y="120"/>
                    </a:lnTo>
                    <a:lnTo>
                      <a:pt x="396" y="123"/>
                    </a:lnTo>
                    <a:lnTo>
                      <a:pt x="414" y="123"/>
                    </a:lnTo>
                    <a:lnTo>
                      <a:pt x="414" y="157"/>
                    </a:lnTo>
                    <a:close/>
                    <a:moveTo>
                      <a:pt x="414" y="87"/>
                    </a:moveTo>
                    <a:lnTo>
                      <a:pt x="349" y="87"/>
                    </a:lnTo>
                    <a:lnTo>
                      <a:pt x="349" y="54"/>
                    </a:lnTo>
                    <a:lnTo>
                      <a:pt x="367" y="54"/>
                    </a:lnTo>
                    <a:lnTo>
                      <a:pt x="367" y="52"/>
                    </a:lnTo>
                    <a:lnTo>
                      <a:pt x="367" y="52"/>
                    </a:lnTo>
                    <a:lnTo>
                      <a:pt x="368" y="48"/>
                    </a:lnTo>
                    <a:lnTo>
                      <a:pt x="369" y="47"/>
                    </a:lnTo>
                    <a:lnTo>
                      <a:pt x="372" y="44"/>
                    </a:lnTo>
                    <a:lnTo>
                      <a:pt x="375" y="44"/>
                    </a:lnTo>
                    <a:lnTo>
                      <a:pt x="388" y="44"/>
                    </a:lnTo>
                    <a:lnTo>
                      <a:pt x="388" y="44"/>
                    </a:lnTo>
                    <a:lnTo>
                      <a:pt x="391" y="44"/>
                    </a:lnTo>
                    <a:lnTo>
                      <a:pt x="393" y="47"/>
                    </a:lnTo>
                    <a:lnTo>
                      <a:pt x="395" y="48"/>
                    </a:lnTo>
                    <a:lnTo>
                      <a:pt x="396" y="52"/>
                    </a:lnTo>
                    <a:lnTo>
                      <a:pt x="396" y="54"/>
                    </a:lnTo>
                    <a:lnTo>
                      <a:pt x="414" y="54"/>
                    </a:lnTo>
                    <a:lnTo>
                      <a:pt x="414" y="87"/>
                    </a:lnTo>
                    <a:close/>
                    <a:moveTo>
                      <a:pt x="503" y="157"/>
                    </a:moveTo>
                    <a:lnTo>
                      <a:pt x="439" y="157"/>
                    </a:lnTo>
                    <a:lnTo>
                      <a:pt x="439" y="123"/>
                    </a:lnTo>
                    <a:lnTo>
                      <a:pt x="457" y="123"/>
                    </a:lnTo>
                    <a:lnTo>
                      <a:pt x="457" y="120"/>
                    </a:lnTo>
                    <a:lnTo>
                      <a:pt x="457" y="120"/>
                    </a:lnTo>
                    <a:lnTo>
                      <a:pt x="458" y="118"/>
                    </a:lnTo>
                    <a:lnTo>
                      <a:pt x="459" y="115"/>
                    </a:lnTo>
                    <a:lnTo>
                      <a:pt x="462" y="114"/>
                    </a:lnTo>
                    <a:lnTo>
                      <a:pt x="464" y="114"/>
                    </a:lnTo>
                    <a:lnTo>
                      <a:pt x="478" y="114"/>
                    </a:lnTo>
                    <a:lnTo>
                      <a:pt x="478" y="114"/>
                    </a:lnTo>
                    <a:lnTo>
                      <a:pt x="481" y="114"/>
                    </a:lnTo>
                    <a:lnTo>
                      <a:pt x="483" y="115"/>
                    </a:lnTo>
                    <a:lnTo>
                      <a:pt x="484" y="118"/>
                    </a:lnTo>
                    <a:lnTo>
                      <a:pt x="486" y="120"/>
                    </a:lnTo>
                    <a:lnTo>
                      <a:pt x="486" y="123"/>
                    </a:lnTo>
                    <a:lnTo>
                      <a:pt x="503" y="123"/>
                    </a:lnTo>
                    <a:lnTo>
                      <a:pt x="503" y="157"/>
                    </a:lnTo>
                    <a:close/>
                    <a:moveTo>
                      <a:pt x="503" y="87"/>
                    </a:moveTo>
                    <a:lnTo>
                      <a:pt x="439" y="87"/>
                    </a:lnTo>
                    <a:lnTo>
                      <a:pt x="439" y="54"/>
                    </a:lnTo>
                    <a:lnTo>
                      <a:pt x="457" y="54"/>
                    </a:lnTo>
                    <a:lnTo>
                      <a:pt x="457" y="52"/>
                    </a:lnTo>
                    <a:lnTo>
                      <a:pt x="457" y="52"/>
                    </a:lnTo>
                    <a:lnTo>
                      <a:pt x="458" y="48"/>
                    </a:lnTo>
                    <a:lnTo>
                      <a:pt x="459" y="47"/>
                    </a:lnTo>
                    <a:lnTo>
                      <a:pt x="462" y="44"/>
                    </a:lnTo>
                    <a:lnTo>
                      <a:pt x="464" y="44"/>
                    </a:lnTo>
                    <a:lnTo>
                      <a:pt x="478" y="44"/>
                    </a:lnTo>
                    <a:lnTo>
                      <a:pt x="478" y="44"/>
                    </a:lnTo>
                    <a:lnTo>
                      <a:pt x="481" y="44"/>
                    </a:lnTo>
                    <a:lnTo>
                      <a:pt x="483" y="47"/>
                    </a:lnTo>
                    <a:lnTo>
                      <a:pt x="484" y="48"/>
                    </a:lnTo>
                    <a:lnTo>
                      <a:pt x="486" y="52"/>
                    </a:lnTo>
                    <a:lnTo>
                      <a:pt x="486" y="54"/>
                    </a:lnTo>
                    <a:lnTo>
                      <a:pt x="503" y="54"/>
                    </a:lnTo>
                    <a:lnTo>
                      <a:pt x="503" y="87"/>
                    </a:lnTo>
                    <a:close/>
                    <a:moveTo>
                      <a:pt x="593" y="157"/>
                    </a:moveTo>
                    <a:lnTo>
                      <a:pt x="530" y="157"/>
                    </a:lnTo>
                    <a:lnTo>
                      <a:pt x="530" y="123"/>
                    </a:lnTo>
                    <a:lnTo>
                      <a:pt x="548" y="123"/>
                    </a:lnTo>
                    <a:lnTo>
                      <a:pt x="548" y="120"/>
                    </a:lnTo>
                    <a:lnTo>
                      <a:pt x="548" y="120"/>
                    </a:lnTo>
                    <a:lnTo>
                      <a:pt x="548" y="118"/>
                    </a:lnTo>
                    <a:lnTo>
                      <a:pt x="549" y="115"/>
                    </a:lnTo>
                    <a:lnTo>
                      <a:pt x="551" y="114"/>
                    </a:lnTo>
                    <a:lnTo>
                      <a:pt x="554" y="114"/>
                    </a:lnTo>
                    <a:lnTo>
                      <a:pt x="568" y="114"/>
                    </a:lnTo>
                    <a:lnTo>
                      <a:pt x="568" y="114"/>
                    </a:lnTo>
                    <a:lnTo>
                      <a:pt x="572" y="114"/>
                    </a:lnTo>
                    <a:lnTo>
                      <a:pt x="573" y="115"/>
                    </a:lnTo>
                    <a:lnTo>
                      <a:pt x="575" y="118"/>
                    </a:lnTo>
                    <a:lnTo>
                      <a:pt x="575" y="120"/>
                    </a:lnTo>
                    <a:lnTo>
                      <a:pt x="575" y="123"/>
                    </a:lnTo>
                    <a:lnTo>
                      <a:pt x="593" y="123"/>
                    </a:lnTo>
                    <a:lnTo>
                      <a:pt x="593" y="157"/>
                    </a:lnTo>
                    <a:close/>
                    <a:moveTo>
                      <a:pt x="593" y="87"/>
                    </a:moveTo>
                    <a:lnTo>
                      <a:pt x="530" y="87"/>
                    </a:lnTo>
                    <a:lnTo>
                      <a:pt x="530" y="54"/>
                    </a:lnTo>
                    <a:lnTo>
                      <a:pt x="548" y="54"/>
                    </a:lnTo>
                    <a:lnTo>
                      <a:pt x="548" y="52"/>
                    </a:lnTo>
                    <a:lnTo>
                      <a:pt x="548" y="52"/>
                    </a:lnTo>
                    <a:lnTo>
                      <a:pt x="548" y="48"/>
                    </a:lnTo>
                    <a:lnTo>
                      <a:pt x="549" y="47"/>
                    </a:lnTo>
                    <a:lnTo>
                      <a:pt x="551" y="44"/>
                    </a:lnTo>
                    <a:lnTo>
                      <a:pt x="554" y="44"/>
                    </a:lnTo>
                    <a:lnTo>
                      <a:pt x="568" y="44"/>
                    </a:lnTo>
                    <a:lnTo>
                      <a:pt x="568" y="44"/>
                    </a:lnTo>
                    <a:lnTo>
                      <a:pt x="572" y="44"/>
                    </a:lnTo>
                    <a:lnTo>
                      <a:pt x="573" y="47"/>
                    </a:lnTo>
                    <a:lnTo>
                      <a:pt x="575" y="48"/>
                    </a:lnTo>
                    <a:lnTo>
                      <a:pt x="575" y="52"/>
                    </a:lnTo>
                    <a:lnTo>
                      <a:pt x="575" y="54"/>
                    </a:lnTo>
                    <a:lnTo>
                      <a:pt x="593" y="54"/>
                    </a:lnTo>
                    <a:lnTo>
                      <a:pt x="593" y="87"/>
                    </a:lnTo>
                    <a:close/>
                    <a:moveTo>
                      <a:pt x="683" y="157"/>
                    </a:moveTo>
                    <a:lnTo>
                      <a:pt x="620" y="157"/>
                    </a:lnTo>
                    <a:lnTo>
                      <a:pt x="620" y="123"/>
                    </a:lnTo>
                    <a:lnTo>
                      <a:pt x="637" y="123"/>
                    </a:lnTo>
                    <a:lnTo>
                      <a:pt x="637" y="120"/>
                    </a:lnTo>
                    <a:lnTo>
                      <a:pt x="637" y="120"/>
                    </a:lnTo>
                    <a:lnTo>
                      <a:pt x="637" y="118"/>
                    </a:lnTo>
                    <a:lnTo>
                      <a:pt x="640" y="115"/>
                    </a:lnTo>
                    <a:lnTo>
                      <a:pt x="641" y="114"/>
                    </a:lnTo>
                    <a:lnTo>
                      <a:pt x="645" y="114"/>
                    </a:lnTo>
                    <a:lnTo>
                      <a:pt x="659" y="114"/>
                    </a:lnTo>
                    <a:lnTo>
                      <a:pt x="659" y="114"/>
                    </a:lnTo>
                    <a:lnTo>
                      <a:pt x="661" y="114"/>
                    </a:lnTo>
                    <a:lnTo>
                      <a:pt x="664" y="115"/>
                    </a:lnTo>
                    <a:lnTo>
                      <a:pt x="665" y="118"/>
                    </a:lnTo>
                    <a:lnTo>
                      <a:pt x="665" y="120"/>
                    </a:lnTo>
                    <a:lnTo>
                      <a:pt x="665" y="123"/>
                    </a:lnTo>
                    <a:lnTo>
                      <a:pt x="683" y="123"/>
                    </a:lnTo>
                    <a:lnTo>
                      <a:pt x="683" y="157"/>
                    </a:lnTo>
                    <a:close/>
                    <a:moveTo>
                      <a:pt x="683" y="87"/>
                    </a:moveTo>
                    <a:lnTo>
                      <a:pt x="620" y="87"/>
                    </a:lnTo>
                    <a:lnTo>
                      <a:pt x="620" y="54"/>
                    </a:lnTo>
                    <a:lnTo>
                      <a:pt x="637" y="54"/>
                    </a:lnTo>
                    <a:lnTo>
                      <a:pt x="637" y="52"/>
                    </a:lnTo>
                    <a:lnTo>
                      <a:pt x="637" y="52"/>
                    </a:lnTo>
                    <a:lnTo>
                      <a:pt x="637" y="48"/>
                    </a:lnTo>
                    <a:lnTo>
                      <a:pt x="640" y="47"/>
                    </a:lnTo>
                    <a:lnTo>
                      <a:pt x="641" y="44"/>
                    </a:lnTo>
                    <a:lnTo>
                      <a:pt x="645" y="44"/>
                    </a:lnTo>
                    <a:lnTo>
                      <a:pt x="659" y="44"/>
                    </a:lnTo>
                    <a:lnTo>
                      <a:pt x="659" y="44"/>
                    </a:lnTo>
                    <a:lnTo>
                      <a:pt x="661" y="44"/>
                    </a:lnTo>
                    <a:lnTo>
                      <a:pt x="664" y="47"/>
                    </a:lnTo>
                    <a:lnTo>
                      <a:pt x="665" y="48"/>
                    </a:lnTo>
                    <a:lnTo>
                      <a:pt x="665" y="52"/>
                    </a:lnTo>
                    <a:lnTo>
                      <a:pt x="665" y="54"/>
                    </a:lnTo>
                    <a:lnTo>
                      <a:pt x="683" y="54"/>
                    </a:lnTo>
                    <a:lnTo>
                      <a:pt x="683" y="87"/>
                    </a:lnTo>
                    <a:close/>
                    <a:moveTo>
                      <a:pt x="771" y="0"/>
                    </a:moveTo>
                    <a:lnTo>
                      <a:pt x="22" y="0"/>
                    </a:lnTo>
                    <a:lnTo>
                      <a:pt x="22" y="0"/>
                    </a:lnTo>
                    <a:lnTo>
                      <a:pt x="17" y="0"/>
                    </a:lnTo>
                    <a:lnTo>
                      <a:pt x="13" y="1"/>
                    </a:lnTo>
                    <a:lnTo>
                      <a:pt x="9" y="4"/>
                    </a:lnTo>
                    <a:lnTo>
                      <a:pt x="7" y="6"/>
                    </a:lnTo>
                    <a:lnTo>
                      <a:pt x="4" y="9"/>
                    </a:lnTo>
                    <a:lnTo>
                      <a:pt x="2" y="13"/>
                    </a:lnTo>
                    <a:lnTo>
                      <a:pt x="0" y="16"/>
                    </a:lnTo>
                    <a:lnTo>
                      <a:pt x="0" y="22"/>
                    </a:lnTo>
                    <a:lnTo>
                      <a:pt x="0" y="171"/>
                    </a:lnTo>
                    <a:lnTo>
                      <a:pt x="0" y="171"/>
                    </a:lnTo>
                    <a:lnTo>
                      <a:pt x="0" y="174"/>
                    </a:lnTo>
                    <a:lnTo>
                      <a:pt x="2" y="178"/>
                    </a:lnTo>
                    <a:lnTo>
                      <a:pt x="4" y="182"/>
                    </a:lnTo>
                    <a:lnTo>
                      <a:pt x="7" y="186"/>
                    </a:lnTo>
                    <a:lnTo>
                      <a:pt x="9" y="188"/>
                    </a:lnTo>
                    <a:lnTo>
                      <a:pt x="13" y="190"/>
                    </a:lnTo>
                    <a:lnTo>
                      <a:pt x="17" y="191"/>
                    </a:lnTo>
                    <a:lnTo>
                      <a:pt x="22" y="192"/>
                    </a:lnTo>
                    <a:lnTo>
                      <a:pt x="771" y="192"/>
                    </a:lnTo>
                    <a:lnTo>
                      <a:pt x="771" y="192"/>
                    </a:lnTo>
                    <a:lnTo>
                      <a:pt x="776" y="191"/>
                    </a:lnTo>
                    <a:lnTo>
                      <a:pt x="780" y="190"/>
                    </a:lnTo>
                    <a:lnTo>
                      <a:pt x="784" y="188"/>
                    </a:lnTo>
                    <a:lnTo>
                      <a:pt x="787" y="186"/>
                    </a:lnTo>
                    <a:lnTo>
                      <a:pt x="789" y="182"/>
                    </a:lnTo>
                    <a:lnTo>
                      <a:pt x="792" y="178"/>
                    </a:lnTo>
                    <a:lnTo>
                      <a:pt x="793" y="174"/>
                    </a:lnTo>
                    <a:lnTo>
                      <a:pt x="793" y="171"/>
                    </a:lnTo>
                    <a:lnTo>
                      <a:pt x="793" y="22"/>
                    </a:lnTo>
                    <a:lnTo>
                      <a:pt x="793" y="22"/>
                    </a:lnTo>
                    <a:lnTo>
                      <a:pt x="793" y="16"/>
                    </a:lnTo>
                    <a:lnTo>
                      <a:pt x="792" y="13"/>
                    </a:lnTo>
                    <a:lnTo>
                      <a:pt x="789" y="9"/>
                    </a:lnTo>
                    <a:lnTo>
                      <a:pt x="787" y="6"/>
                    </a:lnTo>
                    <a:lnTo>
                      <a:pt x="784" y="4"/>
                    </a:lnTo>
                    <a:lnTo>
                      <a:pt x="780" y="1"/>
                    </a:lnTo>
                    <a:lnTo>
                      <a:pt x="776" y="0"/>
                    </a:lnTo>
                    <a:lnTo>
                      <a:pt x="771" y="0"/>
                    </a:lnTo>
                    <a:lnTo>
                      <a:pt x="771" y="0"/>
                    </a:lnTo>
                    <a:close/>
                    <a:moveTo>
                      <a:pt x="64" y="142"/>
                    </a:moveTo>
                    <a:lnTo>
                      <a:pt x="64" y="142"/>
                    </a:lnTo>
                    <a:lnTo>
                      <a:pt x="58" y="140"/>
                    </a:lnTo>
                    <a:lnTo>
                      <a:pt x="55" y="138"/>
                    </a:lnTo>
                    <a:lnTo>
                      <a:pt x="52" y="134"/>
                    </a:lnTo>
                    <a:lnTo>
                      <a:pt x="51" y="129"/>
                    </a:lnTo>
                    <a:lnTo>
                      <a:pt x="51" y="129"/>
                    </a:lnTo>
                    <a:lnTo>
                      <a:pt x="52" y="124"/>
                    </a:lnTo>
                    <a:lnTo>
                      <a:pt x="55" y="120"/>
                    </a:lnTo>
                    <a:lnTo>
                      <a:pt x="58" y="116"/>
                    </a:lnTo>
                    <a:lnTo>
                      <a:pt x="64" y="116"/>
                    </a:lnTo>
                    <a:lnTo>
                      <a:pt x="64" y="116"/>
                    </a:lnTo>
                    <a:lnTo>
                      <a:pt x="70" y="116"/>
                    </a:lnTo>
                    <a:lnTo>
                      <a:pt x="74" y="120"/>
                    </a:lnTo>
                    <a:lnTo>
                      <a:pt x="76" y="124"/>
                    </a:lnTo>
                    <a:lnTo>
                      <a:pt x="77" y="129"/>
                    </a:lnTo>
                    <a:lnTo>
                      <a:pt x="77" y="129"/>
                    </a:lnTo>
                    <a:lnTo>
                      <a:pt x="76" y="134"/>
                    </a:lnTo>
                    <a:lnTo>
                      <a:pt x="74" y="138"/>
                    </a:lnTo>
                    <a:lnTo>
                      <a:pt x="70" y="140"/>
                    </a:lnTo>
                    <a:lnTo>
                      <a:pt x="64" y="142"/>
                    </a:lnTo>
                    <a:lnTo>
                      <a:pt x="64" y="142"/>
                    </a:lnTo>
                    <a:close/>
                    <a:moveTo>
                      <a:pt x="64" y="76"/>
                    </a:moveTo>
                    <a:lnTo>
                      <a:pt x="64" y="76"/>
                    </a:lnTo>
                    <a:lnTo>
                      <a:pt x="58" y="75"/>
                    </a:lnTo>
                    <a:lnTo>
                      <a:pt x="55" y="72"/>
                    </a:lnTo>
                    <a:lnTo>
                      <a:pt x="52" y="68"/>
                    </a:lnTo>
                    <a:lnTo>
                      <a:pt x="51" y="63"/>
                    </a:lnTo>
                    <a:lnTo>
                      <a:pt x="51" y="63"/>
                    </a:lnTo>
                    <a:lnTo>
                      <a:pt x="52" y="58"/>
                    </a:lnTo>
                    <a:lnTo>
                      <a:pt x="55" y="54"/>
                    </a:lnTo>
                    <a:lnTo>
                      <a:pt x="58" y="52"/>
                    </a:lnTo>
                    <a:lnTo>
                      <a:pt x="64" y="51"/>
                    </a:lnTo>
                    <a:lnTo>
                      <a:pt x="64" y="51"/>
                    </a:lnTo>
                    <a:lnTo>
                      <a:pt x="70" y="52"/>
                    </a:lnTo>
                    <a:lnTo>
                      <a:pt x="74" y="54"/>
                    </a:lnTo>
                    <a:lnTo>
                      <a:pt x="76" y="58"/>
                    </a:lnTo>
                    <a:lnTo>
                      <a:pt x="77" y="63"/>
                    </a:lnTo>
                    <a:lnTo>
                      <a:pt x="77" y="63"/>
                    </a:lnTo>
                    <a:lnTo>
                      <a:pt x="76" y="68"/>
                    </a:lnTo>
                    <a:lnTo>
                      <a:pt x="74" y="72"/>
                    </a:lnTo>
                    <a:lnTo>
                      <a:pt x="70" y="75"/>
                    </a:lnTo>
                    <a:lnTo>
                      <a:pt x="64" y="76"/>
                    </a:lnTo>
                    <a:lnTo>
                      <a:pt x="64" y="76"/>
                    </a:lnTo>
                    <a:close/>
                    <a:moveTo>
                      <a:pt x="143" y="142"/>
                    </a:moveTo>
                    <a:lnTo>
                      <a:pt x="143" y="142"/>
                    </a:lnTo>
                    <a:lnTo>
                      <a:pt x="138" y="140"/>
                    </a:lnTo>
                    <a:lnTo>
                      <a:pt x="133" y="138"/>
                    </a:lnTo>
                    <a:lnTo>
                      <a:pt x="131" y="134"/>
                    </a:lnTo>
                    <a:lnTo>
                      <a:pt x="129" y="129"/>
                    </a:lnTo>
                    <a:lnTo>
                      <a:pt x="129" y="129"/>
                    </a:lnTo>
                    <a:lnTo>
                      <a:pt x="131" y="124"/>
                    </a:lnTo>
                    <a:lnTo>
                      <a:pt x="133" y="120"/>
                    </a:lnTo>
                    <a:lnTo>
                      <a:pt x="138" y="116"/>
                    </a:lnTo>
                    <a:lnTo>
                      <a:pt x="143" y="116"/>
                    </a:lnTo>
                    <a:lnTo>
                      <a:pt x="143" y="116"/>
                    </a:lnTo>
                    <a:lnTo>
                      <a:pt x="148" y="116"/>
                    </a:lnTo>
                    <a:lnTo>
                      <a:pt x="152" y="120"/>
                    </a:lnTo>
                    <a:lnTo>
                      <a:pt x="155" y="124"/>
                    </a:lnTo>
                    <a:lnTo>
                      <a:pt x="156" y="129"/>
                    </a:lnTo>
                    <a:lnTo>
                      <a:pt x="156" y="129"/>
                    </a:lnTo>
                    <a:lnTo>
                      <a:pt x="155" y="134"/>
                    </a:lnTo>
                    <a:lnTo>
                      <a:pt x="152" y="138"/>
                    </a:lnTo>
                    <a:lnTo>
                      <a:pt x="148" y="140"/>
                    </a:lnTo>
                    <a:lnTo>
                      <a:pt x="143" y="142"/>
                    </a:lnTo>
                    <a:lnTo>
                      <a:pt x="143" y="142"/>
                    </a:lnTo>
                    <a:close/>
                    <a:moveTo>
                      <a:pt x="143" y="76"/>
                    </a:moveTo>
                    <a:lnTo>
                      <a:pt x="143" y="76"/>
                    </a:lnTo>
                    <a:lnTo>
                      <a:pt x="138" y="75"/>
                    </a:lnTo>
                    <a:lnTo>
                      <a:pt x="133" y="72"/>
                    </a:lnTo>
                    <a:lnTo>
                      <a:pt x="131" y="68"/>
                    </a:lnTo>
                    <a:lnTo>
                      <a:pt x="129" y="63"/>
                    </a:lnTo>
                    <a:lnTo>
                      <a:pt x="129" y="63"/>
                    </a:lnTo>
                    <a:lnTo>
                      <a:pt x="131" y="58"/>
                    </a:lnTo>
                    <a:lnTo>
                      <a:pt x="133" y="54"/>
                    </a:lnTo>
                    <a:lnTo>
                      <a:pt x="138" y="52"/>
                    </a:lnTo>
                    <a:lnTo>
                      <a:pt x="143" y="51"/>
                    </a:lnTo>
                    <a:lnTo>
                      <a:pt x="143" y="51"/>
                    </a:lnTo>
                    <a:lnTo>
                      <a:pt x="148" y="52"/>
                    </a:lnTo>
                    <a:lnTo>
                      <a:pt x="152" y="54"/>
                    </a:lnTo>
                    <a:lnTo>
                      <a:pt x="155" y="58"/>
                    </a:lnTo>
                    <a:lnTo>
                      <a:pt x="156" y="63"/>
                    </a:lnTo>
                    <a:lnTo>
                      <a:pt x="156" y="63"/>
                    </a:lnTo>
                    <a:lnTo>
                      <a:pt x="155" y="68"/>
                    </a:lnTo>
                    <a:lnTo>
                      <a:pt x="152" y="72"/>
                    </a:lnTo>
                    <a:lnTo>
                      <a:pt x="148" y="75"/>
                    </a:lnTo>
                    <a:lnTo>
                      <a:pt x="143" y="76"/>
                    </a:lnTo>
                    <a:lnTo>
                      <a:pt x="143" y="76"/>
                    </a:lnTo>
                    <a:close/>
                    <a:moveTo>
                      <a:pt x="222" y="142"/>
                    </a:moveTo>
                    <a:lnTo>
                      <a:pt x="222" y="142"/>
                    </a:lnTo>
                    <a:lnTo>
                      <a:pt x="216" y="140"/>
                    </a:lnTo>
                    <a:lnTo>
                      <a:pt x="213" y="138"/>
                    </a:lnTo>
                    <a:lnTo>
                      <a:pt x="209" y="134"/>
                    </a:lnTo>
                    <a:lnTo>
                      <a:pt x="209" y="129"/>
                    </a:lnTo>
                    <a:lnTo>
                      <a:pt x="209" y="129"/>
                    </a:lnTo>
                    <a:lnTo>
                      <a:pt x="209" y="124"/>
                    </a:lnTo>
                    <a:lnTo>
                      <a:pt x="213" y="120"/>
                    </a:lnTo>
                    <a:lnTo>
                      <a:pt x="216" y="116"/>
                    </a:lnTo>
                    <a:lnTo>
                      <a:pt x="222" y="116"/>
                    </a:lnTo>
                    <a:lnTo>
                      <a:pt x="222" y="116"/>
                    </a:lnTo>
                    <a:lnTo>
                      <a:pt x="227" y="116"/>
                    </a:lnTo>
                    <a:lnTo>
                      <a:pt x="230" y="120"/>
                    </a:lnTo>
                    <a:lnTo>
                      <a:pt x="234" y="124"/>
                    </a:lnTo>
                    <a:lnTo>
                      <a:pt x="234" y="129"/>
                    </a:lnTo>
                    <a:lnTo>
                      <a:pt x="234" y="129"/>
                    </a:lnTo>
                    <a:lnTo>
                      <a:pt x="234" y="134"/>
                    </a:lnTo>
                    <a:lnTo>
                      <a:pt x="230" y="138"/>
                    </a:lnTo>
                    <a:lnTo>
                      <a:pt x="227" y="140"/>
                    </a:lnTo>
                    <a:lnTo>
                      <a:pt x="222" y="142"/>
                    </a:lnTo>
                    <a:lnTo>
                      <a:pt x="222" y="142"/>
                    </a:lnTo>
                    <a:close/>
                    <a:moveTo>
                      <a:pt x="222" y="76"/>
                    </a:moveTo>
                    <a:lnTo>
                      <a:pt x="222" y="76"/>
                    </a:lnTo>
                    <a:lnTo>
                      <a:pt x="216" y="75"/>
                    </a:lnTo>
                    <a:lnTo>
                      <a:pt x="213" y="72"/>
                    </a:lnTo>
                    <a:lnTo>
                      <a:pt x="209" y="68"/>
                    </a:lnTo>
                    <a:lnTo>
                      <a:pt x="209" y="63"/>
                    </a:lnTo>
                    <a:lnTo>
                      <a:pt x="209" y="63"/>
                    </a:lnTo>
                    <a:lnTo>
                      <a:pt x="209" y="58"/>
                    </a:lnTo>
                    <a:lnTo>
                      <a:pt x="213" y="54"/>
                    </a:lnTo>
                    <a:lnTo>
                      <a:pt x="216" y="52"/>
                    </a:lnTo>
                    <a:lnTo>
                      <a:pt x="222" y="51"/>
                    </a:lnTo>
                    <a:lnTo>
                      <a:pt x="222" y="51"/>
                    </a:lnTo>
                    <a:lnTo>
                      <a:pt x="227" y="52"/>
                    </a:lnTo>
                    <a:lnTo>
                      <a:pt x="230" y="54"/>
                    </a:lnTo>
                    <a:lnTo>
                      <a:pt x="234" y="58"/>
                    </a:lnTo>
                    <a:lnTo>
                      <a:pt x="234" y="63"/>
                    </a:lnTo>
                    <a:lnTo>
                      <a:pt x="234" y="63"/>
                    </a:lnTo>
                    <a:lnTo>
                      <a:pt x="234" y="68"/>
                    </a:lnTo>
                    <a:lnTo>
                      <a:pt x="230" y="72"/>
                    </a:lnTo>
                    <a:lnTo>
                      <a:pt x="227" y="75"/>
                    </a:lnTo>
                    <a:lnTo>
                      <a:pt x="222" y="76"/>
                    </a:lnTo>
                    <a:lnTo>
                      <a:pt x="222" y="76"/>
                    </a:lnTo>
                    <a:close/>
                    <a:moveTo>
                      <a:pt x="721" y="176"/>
                    </a:moveTo>
                    <a:lnTo>
                      <a:pt x="305" y="176"/>
                    </a:lnTo>
                    <a:lnTo>
                      <a:pt x="305" y="23"/>
                    </a:lnTo>
                    <a:lnTo>
                      <a:pt x="721" y="23"/>
                    </a:lnTo>
                    <a:lnTo>
                      <a:pt x="721" y="176"/>
                    </a:lnTo>
                    <a:close/>
                    <a:moveTo>
                      <a:pt x="755" y="116"/>
                    </a:moveTo>
                    <a:lnTo>
                      <a:pt x="755" y="116"/>
                    </a:lnTo>
                    <a:lnTo>
                      <a:pt x="749" y="115"/>
                    </a:lnTo>
                    <a:lnTo>
                      <a:pt x="742" y="111"/>
                    </a:lnTo>
                    <a:lnTo>
                      <a:pt x="740" y="106"/>
                    </a:lnTo>
                    <a:lnTo>
                      <a:pt x="739" y="100"/>
                    </a:lnTo>
                    <a:lnTo>
                      <a:pt x="739" y="100"/>
                    </a:lnTo>
                    <a:lnTo>
                      <a:pt x="740" y="92"/>
                    </a:lnTo>
                    <a:lnTo>
                      <a:pt x="742" y="87"/>
                    </a:lnTo>
                    <a:lnTo>
                      <a:pt x="749" y="83"/>
                    </a:lnTo>
                    <a:lnTo>
                      <a:pt x="755" y="82"/>
                    </a:lnTo>
                    <a:lnTo>
                      <a:pt x="755" y="82"/>
                    </a:lnTo>
                    <a:lnTo>
                      <a:pt x="761" y="83"/>
                    </a:lnTo>
                    <a:lnTo>
                      <a:pt x="768" y="87"/>
                    </a:lnTo>
                    <a:lnTo>
                      <a:pt x="771" y="92"/>
                    </a:lnTo>
                    <a:lnTo>
                      <a:pt x="773" y="100"/>
                    </a:lnTo>
                    <a:lnTo>
                      <a:pt x="773" y="100"/>
                    </a:lnTo>
                    <a:lnTo>
                      <a:pt x="771" y="106"/>
                    </a:lnTo>
                    <a:lnTo>
                      <a:pt x="768" y="111"/>
                    </a:lnTo>
                    <a:lnTo>
                      <a:pt x="761" y="115"/>
                    </a:lnTo>
                    <a:lnTo>
                      <a:pt x="755" y="116"/>
                    </a:lnTo>
                    <a:lnTo>
                      <a:pt x="755" y="116"/>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pPr>
                  <a:buClrTx/>
                  <a:buFontTx/>
                  <a:buNone/>
                </a:pPr>
                <a:endParaRPr lang="zh-CN" altLang="en-US" sz="750" dirty="0">
                  <a:solidFill>
                    <a:schemeClr val="bg1"/>
                  </a:solidFill>
                  <a:latin typeface="FrutigerNext LT Medium" panose="020B0603040504020204" pitchFamily="34" charset="0"/>
                  <a:ea typeface="微软雅黑" pitchFamily="34" charset="-122"/>
                  <a:cs typeface="Arial" pitchFamily="34" charset="0"/>
                </a:endParaRPr>
              </a:p>
            </p:txBody>
          </p:sp>
          <p:sp>
            <p:nvSpPr>
              <p:cNvPr id="21" name="矩形 20"/>
              <p:cNvSpPr/>
              <p:nvPr/>
            </p:nvSpPr>
            <p:spPr>
              <a:xfrm>
                <a:off x="3940046" y="4617133"/>
                <a:ext cx="678393" cy="341522"/>
              </a:xfrm>
              <a:prstGeom prst="rect">
                <a:avLst/>
              </a:prstGeom>
            </p:spPr>
            <p:txBody>
              <a:bodyPr wrap="none">
                <a:spAutoFit/>
              </a:bodyPr>
              <a:lstStyle/>
              <a:p>
                <a:pPr algn="ctr" defTabSz="444740">
                  <a:lnSpc>
                    <a:spcPts val="1081"/>
                  </a:lnSpc>
                  <a:buClr>
                    <a:srgbClr val="C00000"/>
                  </a:buClr>
                  <a:buSzPct val="60000"/>
                  <a:defRPr/>
                </a:pPr>
                <a:r>
                  <a:rPr kumimoji="1" lang="en-US" altLang="zh-CN" sz="1200" dirty="0">
                    <a:solidFill>
                      <a:schemeClr val="bg1"/>
                    </a:solidFill>
                    <a:latin typeface="FrutigerNext LT Medium" panose="020B0603040504020204" pitchFamily="34" charset="0"/>
                    <a:ea typeface="微软雅黑" pitchFamily="34" charset="-122"/>
                    <a:cs typeface="Arial" pitchFamily="34" charset="0"/>
                  </a:rPr>
                  <a:t>DC</a:t>
                </a:r>
                <a:endParaRPr kumimoji="1" lang="zh-CN" altLang="en-US" sz="750" dirty="0">
                  <a:solidFill>
                    <a:schemeClr val="bg1"/>
                  </a:solidFill>
                  <a:latin typeface="FrutigerNext LT Medium" panose="020B0603040504020204" pitchFamily="34" charset="0"/>
                  <a:ea typeface="微软雅黑" pitchFamily="34" charset="-122"/>
                  <a:cs typeface="Arial" pitchFamily="34" charset="0"/>
                </a:endParaRPr>
              </a:p>
            </p:txBody>
          </p:sp>
          <p:cxnSp>
            <p:nvCxnSpPr>
              <p:cNvPr id="22" name="直接连接符 21"/>
              <p:cNvCxnSpPr/>
              <p:nvPr/>
            </p:nvCxnSpPr>
            <p:spPr>
              <a:xfrm>
                <a:off x="3433291" y="3906423"/>
                <a:ext cx="0" cy="258703"/>
              </a:xfrm>
              <a:prstGeom prst="line">
                <a:avLst/>
              </a:prstGeom>
              <a:ln w="25400">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4257337" y="3906423"/>
                <a:ext cx="0" cy="258703"/>
              </a:xfrm>
              <a:prstGeom prst="line">
                <a:avLst/>
              </a:prstGeom>
              <a:ln w="25400">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5027445" y="3906423"/>
                <a:ext cx="0" cy="258703"/>
              </a:xfrm>
              <a:prstGeom prst="line">
                <a:avLst/>
              </a:prstGeom>
              <a:ln w="25400">
                <a:solidFill>
                  <a:srgbClr val="F2F2F2"/>
                </a:solidFill>
              </a:ln>
            </p:spPr>
            <p:style>
              <a:lnRef idx="1">
                <a:schemeClr val="accent1"/>
              </a:lnRef>
              <a:fillRef idx="0">
                <a:schemeClr val="accent1"/>
              </a:fillRef>
              <a:effectRef idx="0">
                <a:schemeClr val="accent1"/>
              </a:effectRef>
              <a:fontRef idx="minor">
                <a:schemeClr val="tx1"/>
              </a:fontRef>
            </p:style>
          </p:cxnSp>
          <p:sp>
            <p:nvSpPr>
              <p:cNvPr id="25" name="圆角矩形 36"/>
              <p:cNvSpPr/>
              <p:nvPr/>
            </p:nvSpPr>
            <p:spPr bwMode="auto">
              <a:xfrm>
                <a:off x="3145259" y="4055898"/>
                <a:ext cx="2268000" cy="479714"/>
              </a:xfrm>
              <a:prstGeom prst="roundRect">
                <a:avLst>
                  <a:gd name="adj" fmla="val 6839"/>
                </a:avLst>
              </a:prstGeom>
              <a:solidFill>
                <a:srgbClr val="FFC000">
                  <a:alpha val="30000"/>
                </a:srgbClr>
              </a:soli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wrap="none" lIns="0" tIns="26998" rIns="0" bIns="0" rtlCol="0" anchor="ctr"/>
              <a:lstStyle/>
              <a:p>
                <a:pPr algn="ctr"/>
                <a:r>
                  <a:rPr lang="en-US" altLang="zh-CN" sz="1200" dirty="0">
                    <a:latin typeface="FrutigerNext LT Medium" panose="020B0603040504020204" pitchFamily="34" charset="0"/>
                  </a:rPr>
                  <a:t>Cloud OS</a:t>
                </a:r>
                <a:endParaRPr kumimoji="1" lang="en-US" altLang="zh-CN" sz="1050" dirty="0">
                  <a:solidFill>
                    <a:schemeClr val="bg1"/>
                  </a:solidFill>
                  <a:latin typeface="FrutigerNext LT Medium" panose="020B0603040504020204" pitchFamily="34" charset="0"/>
                  <a:ea typeface="微软雅黑" pitchFamily="34" charset="-122"/>
                  <a:cs typeface="Arial" pitchFamily="34" charset="0"/>
                </a:endParaRPr>
              </a:p>
            </p:txBody>
          </p:sp>
          <p:grpSp>
            <p:nvGrpSpPr>
              <p:cNvPr id="26" name="组合 103"/>
              <p:cNvGrpSpPr/>
              <p:nvPr/>
            </p:nvGrpSpPr>
            <p:grpSpPr>
              <a:xfrm>
                <a:off x="3171385" y="2519428"/>
                <a:ext cx="648000" cy="1386995"/>
                <a:chOff x="4081427" y="2493690"/>
                <a:chExt cx="648000" cy="1386995"/>
              </a:xfrm>
            </p:grpSpPr>
            <p:sp>
              <p:nvSpPr>
                <p:cNvPr id="43" name="圆角矩形 36"/>
                <p:cNvSpPr/>
                <p:nvPr/>
              </p:nvSpPr>
              <p:spPr bwMode="auto">
                <a:xfrm>
                  <a:off x="4081427" y="2493690"/>
                  <a:ext cx="648000" cy="1386995"/>
                </a:xfrm>
                <a:prstGeom prst="roundRect">
                  <a:avLst>
                    <a:gd name="adj" fmla="val 6839"/>
                  </a:avLst>
                </a:prstGeom>
                <a:solidFill>
                  <a:srgbClr val="FFC000">
                    <a:alpha val="30000"/>
                  </a:srgbClr>
                </a:soli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wrap="none" lIns="0" tIns="26998" rIns="0" bIns="0" rtlCol="0" anchor="t" anchorCtr="0"/>
                <a:lstStyle/>
                <a:p>
                  <a:pPr algn="ctr"/>
                  <a:r>
                    <a:rPr kumimoji="1" lang="en-US" altLang="zh-CN" sz="1200" dirty="0" err="1">
                      <a:solidFill>
                        <a:schemeClr val="bg1"/>
                      </a:solidFill>
                      <a:latin typeface="FrutigerNext LT Medium" panose="020B0603040504020204" pitchFamily="34" charset="0"/>
                      <a:ea typeface="微软雅黑" pitchFamily="34" charset="-122"/>
                      <a:cs typeface="Arial" pitchFamily="34" charset="0"/>
                    </a:rPr>
                    <a:t>vEPC</a:t>
                  </a:r>
                  <a:endParaRPr kumimoji="1" lang="zh-CN" altLang="en-US" dirty="0">
                    <a:solidFill>
                      <a:schemeClr val="bg1"/>
                    </a:solidFill>
                    <a:latin typeface="FrutigerNext LT Medium" panose="020B0603040504020204" pitchFamily="34" charset="0"/>
                    <a:ea typeface="微软雅黑" pitchFamily="34" charset="-122"/>
                    <a:cs typeface="Arial" pitchFamily="34" charset="0"/>
                  </a:endParaRPr>
                </a:p>
                <a:p>
                  <a:pPr algn="ctr"/>
                  <a:endParaRPr lang="zh-CN" altLang="en-US" dirty="0">
                    <a:latin typeface="FrutigerNext LT Medium" panose="020B0603040504020204" pitchFamily="34" charset="0"/>
                  </a:endParaRPr>
                </a:p>
              </p:txBody>
            </p:sp>
            <p:grpSp>
              <p:nvGrpSpPr>
                <p:cNvPr id="44" name="组合 82"/>
                <p:cNvGrpSpPr/>
                <p:nvPr/>
              </p:nvGrpSpPr>
              <p:grpSpPr>
                <a:xfrm>
                  <a:off x="4101306" y="3064642"/>
                  <a:ext cx="570775" cy="331257"/>
                  <a:chOff x="4101306" y="3064642"/>
                  <a:chExt cx="570775" cy="331257"/>
                </a:xfrm>
              </p:grpSpPr>
              <p:pic>
                <p:nvPicPr>
                  <p:cNvPr id="45" name="Picture 3" descr="C:\Users\l55998.CHINA\Desktop\imagesCAN41YDM.jpg"/>
                  <p:cNvPicPr>
                    <a:picLocks noChangeAspect="1" noChangeArrowheads="1"/>
                  </p:cNvPicPr>
                  <p:nvPr/>
                </p:nvPicPr>
                <p:blipFill>
                  <a:blip r:embed="rId6" cstate="screen">
                    <a:duotone>
                      <a:schemeClr val="bg2">
                        <a:shade val="45000"/>
                        <a:satMod val="135000"/>
                      </a:schemeClr>
                      <a:prstClr val="white"/>
                    </a:duotone>
                  </a:blip>
                  <a:srcRect/>
                  <a:stretch>
                    <a:fillRect/>
                  </a:stretch>
                </p:blipFill>
                <p:spPr bwMode="auto">
                  <a:xfrm>
                    <a:off x="4101306" y="3064642"/>
                    <a:ext cx="274710" cy="331257"/>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46" name="Freeform 131"/>
                  <p:cNvSpPr>
                    <a:spLocks noEditPoints="1"/>
                  </p:cNvSpPr>
                  <p:nvPr/>
                </p:nvSpPr>
                <p:spPr bwMode="auto">
                  <a:xfrm>
                    <a:off x="4351280" y="3084738"/>
                    <a:ext cx="320801" cy="303774"/>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pPr>
                      <a:buClrTx/>
                      <a:buFontTx/>
                      <a:buNone/>
                    </a:pPr>
                    <a:endParaRPr lang="zh-CN" altLang="en-US" dirty="0">
                      <a:solidFill>
                        <a:srgbClr val="000000"/>
                      </a:solidFill>
                      <a:latin typeface="FrutigerNext LT Medium" panose="020B0603040504020204" pitchFamily="34" charset="0"/>
                      <a:ea typeface="微软雅黑" pitchFamily="34" charset="-122"/>
                      <a:cs typeface="Arial" pitchFamily="34" charset="0"/>
                    </a:endParaRPr>
                  </a:p>
                </p:txBody>
              </p:sp>
              <p:pic>
                <p:nvPicPr>
                  <p:cNvPr id="47" name="图片 46" descr="locked.png"/>
                  <p:cNvPicPr>
                    <a:picLocks noChangeAspect="1"/>
                  </p:cNvPicPr>
                  <p:nvPr/>
                </p:nvPicPr>
                <p:blipFill>
                  <a:blip r:embed="rId7" cstate="screen">
                    <a:duotone>
                      <a:schemeClr val="bg2">
                        <a:shade val="45000"/>
                        <a:satMod val="135000"/>
                      </a:schemeClr>
                      <a:prstClr val="white"/>
                    </a:duotone>
                  </a:blip>
                  <a:stretch>
                    <a:fillRect/>
                  </a:stretch>
                </p:blipFill>
                <p:spPr>
                  <a:xfrm>
                    <a:off x="4225379" y="3141762"/>
                    <a:ext cx="225576" cy="221421"/>
                  </a:xfrm>
                  <a:prstGeom prst="rect">
                    <a:avLst/>
                  </a:prstGeom>
                </p:spPr>
              </p:pic>
            </p:grpSp>
          </p:grpSp>
          <p:grpSp>
            <p:nvGrpSpPr>
              <p:cNvPr id="27" name="组合 104"/>
              <p:cNvGrpSpPr/>
              <p:nvPr/>
            </p:nvGrpSpPr>
            <p:grpSpPr>
              <a:xfrm>
                <a:off x="3950446" y="2519428"/>
                <a:ext cx="648000" cy="1386995"/>
                <a:chOff x="4876858" y="2493690"/>
                <a:chExt cx="648000" cy="1386995"/>
              </a:xfrm>
            </p:grpSpPr>
            <p:sp>
              <p:nvSpPr>
                <p:cNvPr id="38" name="圆角矩形 36"/>
                <p:cNvSpPr/>
                <p:nvPr/>
              </p:nvSpPr>
              <p:spPr bwMode="auto">
                <a:xfrm>
                  <a:off x="4876858" y="2493690"/>
                  <a:ext cx="648000" cy="1386995"/>
                </a:xfrm>
                <a:prstGeom prst="roundRect">
                  <a:avLst>
                    <a:gd name="adj" fmla="val 6839"/>
                  </a:avLst>
                </a:prstGeom>
                <a:solidFill>
                  <a:srgbClr val="FFC000">
                    <a:alpha val="30000"/>
                  </a:srgbClr>
                </a:soli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wrap="none" lIns="0" tIns="26998" rIns="0" bIns="0" rtlCol="0" anchor="t" anchorCtr="0"/>
                <a:lstStyle/>
                <a:p>
                  <a:pPr algn="ctr"/>
                  <a:r>
                    <a:rPr kumimoji="1" lang="en-US" altLang="zh-CN" sz="1200" dirty="0" err="1">
                      <a:solidFill>
                        <a:schemeClr val="bg1"/>
                      </a:solidFill>
                      <a:latin typeface="FrutigerNext LT Medium" panose="020B0603040504020204" pitchFamily="34" charset="0"/>
                      <a:ea typeface="微软雅黑" pitchFamily="34" charset="-122"/>
                      <a:cs typeface="Arial" pitchFamily="34" charset="0"/>
                    </a:rPr>
                    <a:t>vIMS</a:t>
                  </a:r>
                  <a:endParaRPr kumimoji="1" lang="zh-CN" altLang="en-US" dirty="0">
                    <a:solidFill>
                      <a:schemeClr val="bg1"/>
                    </a:solidFill>
                    <a:latin typeface="FrutigerNext LT Medium" panose="020B0603040504020204" pitchFamily="34" charset="0"/>
                    <a:ea typeface="微软雅黑" pitchFamily="34" charset="-122"/>
                    <a:cs typeface="Arial" pitchFamily="34" charset="0"/>
                  </a:endParaRPr>
                </a:p>
                <a:p>
                  <a:pPr algn="ctr"/>
                  <a:endParaRPr lang="zh-CN" altLang="en-US" dirty="0">
                    <a:latin typeface="FrutigerNext LT Medium" panose="020B0603040504020204" pitchFamily="34" charset="0"/>
                  </a:endParaRPr>
                </a:p>
              </p:txBody>
            </p:sp>
            <p:grpSp>
              <p:nvGrpSpPr>
                <p:cNvPr id="39" name="组合 83"/>
                <p:cNvGrpSpPr/>
                <p:nvPr/>
              </p:nvGrpSpPr>
              <p:grpSpPr>
                <a:xfrm>
                  <a:off x="4915470" y="3051413"/>
                  <a:ext cx="570775" cy="331257"/>
                  <a:chOff x="4101306" y="3064642"/>
                  <a:chExt cx="570775" cy="331257"/>
                </a:xfrm>
              </p:grpSpPr>
              <p:pic>
                <p:nvPicPr>
                  <p:cNvPr id="40" name="Picture 3" descr="C:\Users\l55998.CHINA\Desktop\imagesCAN41YDM.jpg"/>
                  <p:cNvPicPr>
                    <a:picLocks noChangeAspect="1" noChangeArrowheads="1"/>
                  </p:cNvPicPr>
                  <p:nvPr/>
                </p:nvPicPr>
                <p:blipFill>
                  <a:blip r:embed="rId6" cstate="screen">
                    <a:duotone>
                      <a:schemeClr val="bg2">
                        <a:shade val="45000"/>
                        <a:satMod val="135000"/>
                      </a:schemeClr>
                      <a:prstClr val="white"/>
                    </a:duotone>
                  </a:blip>
                  <a:srcRect/>
                  <a:stretch>
                    <a:fillRect/>
                  </a:stretch>
                </p:blipFill>
                <p:spPr bwMode="auto">
                  <a:xfrm>
                    <a:off x="4101306" y="3064642"/>
                    <a:ext cx="274710" cy="331257"/>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41" name="Freeform 131"/>
                  <p:cNvSpPr>
                    <a:spLocks noEditPoints="1"/>
                  </p:cNvSpPr>
                  <p:nvPr/>
                </p:nvSpPr>
                <p:spPr bwMode="auto">
                  <a:xfrm>
                    <a:off x="4351280" y="3084738"/>
                    <a:ext cx="320801" cy="303774"/>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pPr>
                      <a:buClrTx/>
                      <a:buFontTx/>
                      <a:buNone/>
                    </a:pPr>
                    <a:endParaRPr lang="zh-CN" altLang="en-US" dirty="0">
                      <a:solidFill>
                        <a:srgbClr val="000000"/>
                      </a:solidFill>
                      <a:latin typeface="FrutigerNext LT Medium" panose="020B0603040504020204" pitchFamily="34" charset="0"/>
                      <a:ea typeface="微软雅黑" pitchFamily="34" charset="-122"/>
                      <a:cs typeface="Arial" pitchFamily="34" charset="0"/>
                    </a:endParaRPr>
                  </a:p>
                </p:txBody>
              </p:sp>
              <p:pic>
                <p:nvPicPr>
                  <p:cNvPr id="42" name="图片 41" descr="locked.png"/>
                  <p:cNvPicPr>
                    <a:picLocks noChangeAspect="1"/>
                  </p:cNvPicPr>
                  <p:nvPr/>
                </p:nvPicPr>
                <p:blipFill>
                  <a:blip r:embed="rId7" cstate="screen">
                    <a:duotone>
                      <a:schemeClr val="bg2">
                        <a:shade val="45000"/>
                        <a:satMod val="135000"/>
                      </a:schemeClr>
                      <a:prstClr val="white"/>
                    </a:duotone>
                  </a:blip>
                  <a:stretch>
                    <a:fillRect/>
                  </a:stretch>
                </p:blipFill>
                <p:spPr>
                  <a:xfrm>
                    <a:off x="4225379" y="3141762"/>
                    <a:ext cx="225576" cy="221421"/>
                  </a:xfrm>
                  <a:prstGeom prst="rect">
                    <a:avLst/>
                  </a:prstGeom>
                </p:spPr>
              </p:pic>
            </p:grpSp>
          </p:grpSp>
          <p:grpSp>
            <p:nvGrpSpPr>
              <p:cNvPr id="28" name="组合 105"/>
              <p:cNvGrpSpPr/>
              <p:nvPr/>
            </p:nvGrpSpPr>
            <p:grpSpPr>
              <a:xfrm>
                <a:off x="4729507" y="2519428"/>
                <a:ext cx="648000" cy="1386995"/>
                <a:chOff x="5639549" y="2493690"/>
                <a:chExt cx="648000" cy="1386995"/>
              </a:xfrm>
            </p:grpSpPr>
            <p:sp>
              <p:nvSpPr>
                <p:cNvPr id="33" name="圆角矩形 36"/>
                <p:cNvSpPr/>
                <p:nvPr/>
              </p:nvSpPr>
              <p:spPr bwMode="auto">
                <a:xfrm>
                  <a:off x="5639549" y="2493690"/>
                  <a:ext cx="648000" cy="1386995"/>
                </a:xfrm>
                <a:prstGeom prst="roundRect">
                  <a:avLst>
                    <a:gd name="adj" fmla="val 6839"/>
                  </a:avLst>
                </a:prstGeom>
                <a:solidFill>
                  <a:srgbClr val="FFC000">
                    <a:alpha val="30000"/>
                  </a:srgbClr>
                </a:soli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wrap="none" lIns="0" tIns="26998" rIns="0" bIns="0" rtlCol="0" anchor="t" anchorCtr="0"/>
                <a:lstStyle/>
                <a:p>
                  <a:pPr algn="ctr"/>
                  <a:r>
                    <a:rPr kumimoji="1" lang="en-US" altLang="zh-CN" sz="1200" dirty="0">
                      <a:solidFill>
                        <a:schemeClr val="bg1"/>
                      </a:solidFill>
                      <a:latin typeface="FrutigerNext LT Medium" panose="020B0603040504020204" pitchFamily="34" charset="0"/>
                      <a:ea typeface="微软雅黑" pitchFamily="34" charset="-122"/>
                      <a:cs typeface="Arial" pitchFamily="34" charset="0"/>
                    </a:rPr>
                    <a:t>vMSE</a:t>
                  </a:r>
                  <a:endParaRPr kumimoji="1" lang="zh-CN" altLang="en-US" dirty="0">
                    <a:solidFill>
                      <a:schemeClr val="bg1"/>
                    </a:solidFill>
                    <a:latin typeface="FrutigerNext LT Medium" panose="020B0603040504020204" pitchFamily="34" charset="0"/>
                    <a:ea typeface="微软雅黑" pitchFamily="34" charset="-122"/>
                    <a:cs typeface="Arial" pitchFamily="34" charset="0"/>
                  </a:endParaRPr>
                </a:p>
                <a:p>
                  <a:pPr algn="ctr"/>
                  <a:endParaRPr lang="zh-CN" altLang="en-US" dirty="0">
                    <a:latin typeface="FrutigerNext LT Medium" panose="020B0603040504020204" pitchFamily="34" charset="0"/>
                  </a:endParaRPr>
                </a:p>
              </p:txBody>
            </p:sp>
            <p:grpSp>
              <p:nvGrpSpPr>
                <p:cNvPr id="34" name="组合 87"/>
                <p:cNvGrpSpPr/>
                <p:nvPr/>
              </p:nvGrpSpPr>
              <p:grpSpPr>
                <a:xfrm>
                  <a:off x="5703182" y="3040714"/>
                  <a:ext cx="570775" cy="331257"/>
                  <a:chOff x="4101306" y="3064642"/>
                  <a:chExt cx="570775" cy="331257"/>
                </a:xfrm>
              </p:grpSpPr>
              <p:pic>
                <p:nvPicPr>
                  <p:cNvPr id="35" name="Picture 3" descr="C:\Users\l55998.CHINA\Desktop\imagesCAN41YDM.jpg"/>
                  <p:cNvPicPr>
                    <a:picLocks noChangeAspect="1" noChangeArrowheads="1"/>
                  </p:cNvPicPr>
                  <p:nvPr/>
                </p:nvPicPr>
                <p:blipFill>
                  <a:blip r:embed="rId6" cstate="screen">
                    <a:duotone>
                      <a:schemeClr val="bg2">
                        <a:shade val="45000"/>
                        <a:satMod val="135000"/>
                      </a:schemeClr>
                      <a:prstClr val="white"/>
                    </a:duotone>
                  </a:blip>
                  <a:srcRect/>
                  <a:stretch>
                    <a:fillRect/>
                  </a:stretch>
                </p:blipFill>
                <p:spPr bwMode="auto">
                  <a:xfrm>
                    <a:off x="4101306" y="3064642"/>
                    <a:ext cx="274710" cy="331257"/>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36" name="Freeform 131"/>
                  <p:cNvSpPr>
                    <a:spLocks noEditPoints="1"/>
                  </p:cNvSpPr>
                  <p:nvPr/>
                </p:nvSpPr>
                <p:spPr bwMode="auto">
                  <a:xfrm>
                    <a:off x="4351280" y="3084738"/>
                    <a:ext cx="320801" cy="303774"/>
                  </a:xfrm>
                  <a:custGeom>
                    <a:avLst/>
                    <a:gdLst>
                      <a:gd name="T0" fmla="*/ 100 w 291"/>
                      <a:gd name="T1" fmla="*/ 4 h 362"/>
                      <a:gd name="T2" fmla="*/ 40 w 291"/>
                      <a:gd name="T3" fmla="*/ 19 h 362"/>
                      <a:gd name="T4" fmla="*/ 6 w 291"/>
                      <a:gd name="T5" fmla="*/ 45 h 362"/>
                      <a:gd name="T6" fmla="*/ 0 w 291"/>
                      <a:gd name="T7" fmla="*/ 112 h 362"/>
                      <a:gd name="T8" fmla="*/ 16 w 291"/>
                      <a:gd name="T9" fmla="*/ 143 h 362"/>
                      <a:gd name="T10" fmla="*/ 61 w 291"/>
                      <a:gd name="T11" fmla="*/ 165 h 362"/>
                      <a:gd name="T12" fmla="*/ 129 w 291"/>
                      <a:gd name="T13" fmla="*/ 176 h 362"/>
                      <a:gd name="T14" fmla="*/ 191 w 291"/>
                      <a:gd name="T15" fmla="*/ 173 h 362"/>
                      <a:gd name="T16" fmla="*/ 250 w 291"/>
                      <a:gd name="T17" fmla="*/ 157 h 362"/>
                      <a:gd name="T18" fmla="*/ 284 w 291"/>
                      <a:gd name="T19" fmla="*/ 131 h 362"/>
                      <a:gd name="T20" fmla="*/ 291 w 291"/>
                      <a:gd name="T21" fmla="*/ 64 h 362"/>
                      <a:gd name="T22" fmla="*/ 274 w 291"/>
                      <a:gd name="T23" fmla="*/ 34 h 362"/>
                      <a:gd name="T24" fmla="*/ 229 w 291"/>
                      <a:gd name="T25" fmla="*/ 11 h 362"/>
                      <a:gd name="T26" fmla="*/ 161 w 291"/>
                      <a:gd name="T27" fmla="*/ 1 h 362"/>
                      <a:gd name="T28" fmla="*/ 57 w 291"/>
                      <a:gd name="T29" fmla="*/ 143 h 362"/>
                      <a:gd name="T30" fmla="*/ 50 w 291"/>
                      <a:gd name="T31" fmla="*/ 126 h 362"/>
                      <a:gd name="T32" fmla="*/ 66 w 291"/>
                      <a:gd name="T33" fmla="*/ 120 h 362"/>
                      <a:gd name="T34" fmla="*/ 72 w 291"/>
                      <a:gd name="T35" fmla="*/ 136 h 362"/>
                      <a:gd name="T36" fmla="*/ 145 w 291"/>
                      <a:gd name="T37" fmla="*/ 113 h 362"/>
                      <a:gd name="T38" fmla="*/ 57 w 291"/>
                      <a:gd name="T39" fmla="*/ 99 h 362"/>
                      <a:gd name="T40" fmla="*/ 2 w 291"/>
                      <a:gd name="T41" fmla="*/ 60 h 362"/>
                      <a:gd name="T42" fmla="*/ 60 w 291"/>
                      <a:gd name="T43" fmla="*/ 94 h 362"/>
                      <a:gd name="T44" fmla="*/ 145 w 291"/>
                      <a:gd name="T45" fmla="*/ 107 h 362"/>
                      <a:gd name="T46" fmla="*/ 248 w 291"/>
                      <a:gd name="T47" fmla="*/ 87 h 362"/>
                      <a:gd name="T48" fmla="*/ 284 w 291"/>
                      <a:gd name="T49" fmla="*/ 65 h 362"/>
                      <a:gd name="T50" fmla="*/ 215 w 291"/>
                      <a:gd name="T51" fmla="*/ 105 h 362"/>
                      <a:gd name="T52" fmla="*/ 145 w 291"/>
                      <a:gd name="T53" fmla="*/ 297 h 362"/>
                      <a:gd name="T54" fmla="*/ 48 w 291"/>
                      <a:gd name="T55" fmla="*/ 281 h 362"/>
                      <a:gd name="T56" fmla="*/ 12 w 291"/>
                      <a:gd name="T57" fmla="*/ 258 h 362"/>
                      <a:gd name="T58" fmla="*/ 0 w 291"/>
                      <a:gd name="T59" fmla="*/ 246 h 362"/>
                      <a:gd name="T60" fmla="*/ 3 w 291"/>
                      <a:gd name="T61" fmla="*/ 312 h 362"/>
                      <a:gd name="T62" fmla="*/ 32 w 291"/>
                      <a:gd name="T63" fmla="*/ 339 h 362"/>
                      <a:gd name="T64" fmla="*/ 87 w 291"/>
                      <a:gd name="T65" fmla="*/ 358 h 362"/>
                      <a:gd name="T66" fmla="*/ 145 w 291"/>
                      <a:gd name="T67" fmla="*/ 362 h 362"/>
                      <a:gd name="T68" fmla="*/ 217 w 291"/>
                      <a:gd name="T69" fmla="*/ 355 h 362"/>
                      <a:gd name="T70" fmla="*/ 268 w 291"/>
                      <a:gd name="T71" fmla="*/ 335 h 362"/>
                      <a:gd name="T72" fmla="*/ 290 w 291"/>
                      <a:gd name="T73" fmla="*/ 305 h 362"/>
                      <a:gd name="T74" fmla="*/ 288 w 291"/>
                      <a:gd name="T75" fmla="*/ 242 h 362"/>
                      <a:gd name="T76" fmla="*/ 273 w 291"/>
                      <a:gd name="T77" fmla="*/ 264 h 362"/>
                      <a:gd name="T78" fmla="*/ 223 w 291"/>
                      <a:gd name="T79" fmla="*/ 288 h 362"/>
                      <a:gd name="T80" fmla="*/ 61 w 291"/>
                      <a:gd name="T81" fmla="*/ 334 h 362"/>
                      <a:gd name="T82" fmla="*/ 49 w 291"/>
                      <a:gd name="T83" fmla="*/ 322 h 362"/>
                      <a:gd name="T84" fmla="*/ 61 w 291"/>
                      <a:gd name="T85" fmla="*/ 309 h 362"/>
                      <a:gd name="T86" fmla="*/ 73 w 291"/>
                      <a:gd name="T87" fmla="*/ 322 h 362"/>
                      <a:gd name="T88" fmla="*/ 61 w 291"/>
                      <a:gd name="T89" fmla="*/ 334 h 362"/>
                      <a:gd name="T90" fmla="*/ 92 w 291"/>
                      <a:gd name="T91" fmla="*/ 199 h 362"/>
                      <a:gd name="T92" fmla="*/ 17 w 291"/>
                      <a:gd name="T93" fmla="*/ 170 h 362"/>
                      <a:gd name="T94" fmla="*/ 2 w 291"/>
                      <a:gd name="T95" fmla="*/ 148 h 362"/>
                      <a:gd name="T96" fmla="*/ 1 w 291"/>
                      <a:gd name="T97" fmla="*/ 212 h 362"/>
                      <a:gd name="T98" fmla="*/ 23 w 291"/>
                      <a:gd name="T99" fmla="*/ 242 h 362"/>
                      <a:gd name="T100" fmla="*/ 73 w 291"/>
                      <a:gd name="T101" fmla="*/ 261 h 362"/>
                      <a:gd name="T102" fmla="*/ 145 w 291"/>
                      <a:gd name="T103" fmla="*/ 269 h 362"/>
                      <a:gd name="T104" fmla="*/ 204 w 291"/>
                      <a:gd name="T105" fmla="*/ 265 h 362"/>
                      <a:gd name="T106" fmla="*/ 259 w 291"/>
                      <a:gd name="T107" fmla="*/ 246 h 362"/>
                      <a:gd name="T108" fmla="*/ 287 w 291"/>
                      <a:gd name="T109" fmla="*/ 219 h 362"/>
                      <a:gd name="T110" fmla="*/ 290 w 291"/>
                      <a:gd name="T111" fmla="*/ 153 h 362"/>
                      <a:gd name="T112" fmla="*/ 279 w 291"/>
                      <a:gd name="T113" fmla="*/ 165 h 362"/>
                      <a:gd name="T114" fmla="*/ 222 w 291"/>
                      <a:gd name="T115" fmla="*/ 193 h 362"/>
                      <a:gd name="T116" fmla="*/ 61 w 291"/>
                      <a:gd name="T117" fmla="*/ 238 h 362"/>
                      <a:gd name="T118" fmla="*/ 49 w 291"/>
                      <a:gd name="T119" fmla="*/ 225 h 362"/>
                      <a:gd name="T120" fmla="*/ 61 w 291"/>
                      <a:gd name="T121" fmla="*/ 213 h 362"/>
                      <a:gd name="T122" fmla="*/ 73 w 291"/>
                      <a:gd name="T123" fmla="*/ 225 h 362"/>
                      <a:gd name="T124" fmla="*/ 61 w 291"/>
                      <a:gd name="T125" fmla="*/ 23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62">
                        <a:moveTo>
                          <a:pt x="145" y="0"/>
                        </a:moveTo>
                        <a:lnTo>
                          <a:pt x="145" y="0"/>
                        </a:lnTo>
                        <a:lnTo>
                          <a:pt x="129" y="1"/>
                        </a:lnTo>
                        <a:lnTo>
                          <a:pt x="114" y="1"/>
                        </a:lnTo>
                        <a:lnTo>
                          <a:pt x="100" y="4"/>
                        </a:lnTo>
                        <a:lnTo>
                          <a:pt x="87" y="6"/>
                        </a:lnTo>
                        <a:lnTo>
                          <a:pt x="73" y="8"/>
                        </a:lnTo>
                        <a:lnTo>
                          <a:pt x="61" y="11"/>
                        </a:lnTo>
                        <a:lnTo>
                          <a:pt x="50" y="15"/>
                        </a:lnTo>
                        <a:lnTo>
                          <a:pt x="40" y="19"/>
                        </a:lnTo>
                        <a:lnTo>
                          <a:pt x="32" y="23"/>
                        </a:lnTo>
                        <a:lnTo>
                          <a:pt x="23" y="29"/>
                        </a:lnTo>
                        <a:lnTo>
                          <a:pt x="16" y="34"/>
                        </a:lnTo>
                        <a:lnTo>
                          <a:pt x="11" y="40"/>
                        </a:lnTo>
                        <a:lnTo>
                          <a:pt x="6" y="45"/>
                        </a:lnTo>
                        <a:lnTo>
                          <a:pt x="3" y="52"/>
                        </a:lnTo>
                        <a:lnTo>
                          <a:pt x="1" y="57"/>
                        </a:lnTo>
                        <a:lnTo>
                          <a:pt x="0" y="64"/>
                        </a:lnTo>
                        <a:lnTo>
                          <a:pt x="0" y="112"/>
                        </a:lnTo>
                        <a:lnTo>
                          <a:pt x="0" y="112"/>
                        </a:lnTo>
                        <a:lnTo>
                          <a:pt x="1" y="119"/>
                        </a:lnTo>
                        <a:lnTo>
                          <a:pt x="3" y="125"/>
                        </a:lnTo>
                        <a:lnTo>
                          <a:pt x="6" y="131"/>
                        </a:lnTo>
                        <a:lnTo>
                          <a:pt x="11" y="137"/>
                        </a:lnTo>
                        <a:lnTo>
                          <a:pt x="16" y="143"/>
                        </a:lnTo>
                        <a:lnTo>
                          <a:pt x="23" y="147"/>
                        </a:lnTo>
                        <a:lnTo>
                          <a:pt x="32" y="153"/>
                        </a:lnTo>
                        <a:lnTo>
                          <a:pt x="40" y="157"/>
                        </a:lnTo>
                        <a:lnTo>
                          <a:pt x="50" y="162"/>
                        </a:lnTo>
                        <a:lnTo>
                          <a:pt x="61" y="165"/>
                        </a:lnTo>
                        <a:lnTo>
                          <a:pt x="73" y="168"/>
                        </a:lnTo>
                        <a:lnTo>
                          <a:pt x="87" y="170"/>
                        </a:lnTo>
                        <a:lnTo>
                          <a:pt x="100" y="173"/>
                        </a:lnTo>
                        <a:lnTo>
                          <a:pt x="114" y="175"/>
                        </a:lnTo>
                        <a:lnTo>
                          <a:pt x="129" y="176"/>
                        </a:lnTo>
                        <a:lnTo>
                          <a:pt x="145" y="176"/>
                        </a:lnTo>
                        <a:lnTo>
                          <a:pt x="145" y="176"/>
                        </a:lnTo>
                        <a:lnTo>
                          <a:pt x="161" y="176"/>
                        </a:lnTo>
                        <a:lnTo>
                          <a:pt x="175" y="175"/>
                        </a:lnTo>
                        <a:lnTo>
                          <a:pt x="191" y="173"/>
                        </a:lnTo>
                        <a:lnTo>
                          <a:pt x="204" y="170"/>
                        </a:lnTo>
                        <a:lnTo>
                          <a:pt x="217" y="168"/>
                        </a:lnTo>
                        <a:lnTo>
                          <a:pt x="229" y="165"/>
                        </a:lnTo>
                        <a:lnTo>
                          <a:pt x="240" y="162"/>
                        </a:lnTo>
                        <a:lnTo>
                          <a:pt x="250" y="157"/>
                        </a:lnTo>
                        <a:lnTo>
                          <a:pt x="259" y="153"/>
                        </a:lnTo>
                        <a:lnTo>
                          <a:pt x="268" y="147"/>
                        </a:lnTo>
                        <a:lnTo>
                          <a:pt x="274" y="143"/>
                        </a:lnTo>
                        <a:lnTo>
                          <a:pt x="280" y="137"/>
                        </a:lnTo>
                        <a:lnTo>
                          <a:pt x="284" y="131"/>
                        </a:lnTo>
                        <a:lnTo>
                          <a:pt x="287" y="125"/>
                        </a:lnTo>
                        <a:lnTo>
                          <a:pt x="290" y="119"/>
                        </a:lnTo>
                        <a:lnTo>
                          <a:pt x="291" y="112"/>
                        </a:lnTo>
                        <a:lnTo>
                          <a:pt x="291" y="64"/>
                        </a:lnTo>
                        <a:lnTo>
                          <a:pt x="291" y="64"/>
                        </a:lnTo>
                        <a:lnTo>
                          <a:pt x="290" y="57"/>
                        </a:lnTo>
                        <a:lnTo>
                          <a:pt x="287" y="52"/>
                        </a:lnTo>
                        <a:lnTo>
                          <a:pt x="284" y="45"/>
                        </a:lnTo>
                        <a:lnTo>
                          <a:pt x="280" y="40"/>
                        </a:lnTo>
                        <a:lnTo>
                          <a:pt x="274" y="34"/>
                        </a:lnTo>
                        <a:lnTo>
                          <a:pt x="268" y="29"/>
                        </a:lnTo>
                        <a:lnTo>
                          <a:pt x="259" y="23"/>
                        </a:lnTo>
                        <a:lnTo>
                          <a:pt x="250" y="19"/>
                        </a:lnTo>
                        <a:lnTo>
                          <a:pt x="240" y="15"/>
                        </a:lnTo>
                        <a:lnTo>
                          <a:pt x="229" y="11"/>
                        </a:lnTo>
                        <a:lnTo>
                          <a:pt x="217" y="8"/>
                        </a:lnTo>
                        <a:lnTo>
                          <a:pt x="204" y="6"/>
                        </a:lnTo>
                        <a:lnTo>
                          <a:pt x="191" y="4"/>
                        </a:lnTo>
                        <a:lnTo>
                          <a:pt x="175" y="1"/>
                        </a:lnTo>
                        <a:lnTo>
                          <a:pt x="161" y="1"/>
                        </a:lnTo>
                        <a:lnTo>
                          <a:pt x="145" y="0"/>
                        </a:lnTo>
                        <a:lnTo>
                          <a:pt x="145" y="0"/>
                        </a:lnTo>
                        <a:close/>
                        <a:moveTo>
                          <a:pt x="61" y="144"/>
                        </a:moveTo>
                        <a:lnTo>
                          <a:pt x="61" y="144"/>
                        </a:lnTo>
                        <a:lnTo>
                          <a:pt x="57" y="143"/>
                        </a:lnTo>
                        <a:lnTo>
                          <a:pt x="53" y="140"/>
                        </a:lnTo>
                        <a:lnTo>
                          <a:pt x="50" y="136"/>
                        </a:lnTo>
                        <a:lnTo>
                          <a:pt x="49" y="131"/>
                        </a:lnTo>
                        <a:lnTo>
                          <a:pt x="49" y="131"/>
                        </a:lnTo>
                        <a:lnTo>
                          <a:pt x="50" y="126"/>
                        </a:lnTo>
                        <a:lnTo>
                          <a:pt x="53" y="123"/>
                        </a:lnTo>
                        <a:lnTo>
                          <a:pt x="57" y="120"/>
                        </a:lnTo>
                        <a:lnTo>
                          <a:pt x="61" y="119"/>
                        </a:lnTo>
                        <a:lnTo>
                          <a:pt x="61" y="119"/>
                        </a:lnTo>
                        <a:lnTo>
                          <a:pt x="66" y="120"/>
                        </a:lnTo>
                        <a:lnTo>
                          <a:pt x="70" y="123"/>
                        </a:lnTo>
                        <a:lnTo>
                          <a:pt x="72" y="126"/>
                        </a:lnTo>
                        <a:lnTo>
                          <a:pt x="73" y="131"/>
                        </a:lnTo>
                        <a:lnTo>
                          <a:pt x="73" y="131"/>
                        </a:lnTo>
                        <a:lnTo>
                          <a:pt x="72" y="136"/>
                        </a:lnTo>
                        <a:lnTo>
                          <a:pt x="70" y="140"/>
                        </a:lnTo>
                        <a:lnTo>
                          <a:pt x="66" y="143"/>
                        </a:lnTo>
                        <a:lnTo>
                          <a:pt x="61" y="144"/>
                        </a:lnTo>
                        <a:lnTo>
                          <a:pt x="61" y="144"/>
                        </a:lnTo>
                        <a:close/>
                        <a:moveTo>
                          <a:pt x="145" y="113"/>
                        </a:moveTo>
                        <a:lnTo>
                          <a:pt x="145" y="113"/>
                        </a:lnTo>
                        <a:lnTo>
                          <a:pt x="121" y="113"/>
                        </a:lnTo>
                        <a:lnTo>
                          <a:pt x="98" y="110"/>
                        </a:lnTo>
                        <a:lnTo>
                          <a:pt x="76" y="105"/>
                        </a:lnTo>
                        <a:lnTo>
                          <a:pt x="57" y="99"/>
                        </a:lnTo>
                        <a:lnTo>
                          <a:pt x="39" y="90"/>
                        </a:lnTo>
                        <a:lnTo>
                          <a:pt x="24" y="81"/>
                        </a:lnTo>
                        <a:lnTo>
                          <a:pt x="12" y="72"/>
                        </a:lnTo>
                        <a:lnTo>
                          <a:pt x="6" y="65"/>
                        </a:lnTo>
                        <a:lnTo>
                          <a:pt x="2" y="60"/>
                        </a:lnTo>
                        <a:lnTo>
                          <a:pt x="2" y="60"/>
                        </a:lnTo>
                        <a:lnTo>
                          <a:pt x="14" y="69"/>
                        </a:lnTo>
                        <a:lnTo>
                          <a:pt x="27" y="79"/>
                        </a:lnTo>
                        <a:lnTo>
                          <a:pt x="43" y="87"/>
                        </a:lnTo>
                        <a:lnTo>
                          <a:pt x="60" y="94"/>
                        </a:lnTo>
                        <a:lnTo>
                          <a:pt x="79" y="99"/>
                        </a:lnTo>
                        <a:lnTo>
                          <a:pt x="100" y="103"/>
                        </a:lnTo>
                        <a:lnTo>
                          <a:pt x="122" y="106"/>
                        </a:lnTo>
                        <a:lnTo>
                          <a:pt x="145" y="107"/>
                        </a:lnTo>
                        <a:lnTo>
                          <a:pt x="145" y="107"/>
                        </a:lnTo>
                        <a:lnTo>
                          <a:pt x="169" y="106"/>
                        </a:lnTo>
                        <a:lnTo>
                          <a:pt x="191" y="103"/>
                        </a:lnTo>
                        <a:lnTo>
                          <a:pt x="212" y="99"/>
                        </a:lnTo>
                        <a:lnTo>
                          <a:pt x="230" y="94"/>
                        </a:lnTo>
                        <a:lnTo>
                          <a:pt x="248" y="87"/>
                        </a:lnTo>
                        <a:lnTo>
                          <a:pt x="263" y="79"/>
                        </a:lnTo>
                        <a:lnTo>
                          <a:pt x="276" y="69"/>
                        </a:lnTo>
                        <a:lnTo>
                          <a:pt x="288" y="60"/>
                        </a:lnTo>
                        <a:lnTo>
                          <a:pt x="288" y="60"/>
                        </a:lnTo>
                        <a:lnTo>
                          <a:pt x="284" y="65"/>
                        </a:lnTo>
                        <a:lnTo>
                          <a:pt x="279" y="72"/>
                        </a:lnTo>
                        <a:lnTo>
                          <a:pt x="266" y="81"/>
                        </a:lnTo>
                        <a:lnTo>
                          <a:pt x="251" y="90"/>
                        </a:lnTo>
                        <a:lnTo>
                          <a:pt x="234" y="99"/>
                        </a:lnTo>
                        <a:lnTo>
                          <a:pt x="215" y="105"/>
                        </a:lnTo>
                        <a:lnTo>
                          <a:pt x="193" y="110"/>
                        </a:lnTo>
                        <a:lnTo>
                          <a:pt x="170" y="113"/>
                        </a:lnTo>
                        <a:lnTo>
                          <a:pt x="145" y="113"/>
                        </a:lnTo>
                        <a:lnTo>
                          <a:pt x="145" y="113"/>
                        </a:lnTo>
                        <a:close/>
                        <a:moveTo>
                          <a:pt x="145" y="297"/>
                        </a:moveTo>
                        <a:lnTo>
                          <a:pt x="145" y="297"/>
                        </a:lnTo>
                        <a:lnTo>
                          <a:pt x="117" y="295"/>
                        </a:lnTo>
                        <a:lnTo>
                          <a:pt x="91" y="292"/>
                        </a:lnTo>
                        <a:lnTo>
                          <a:pt x="68" y="288"/>
                        </a:lnTo>
                        <a:lnTo>
                          <a:pt x="48" y="281"/>
                        </a:lnTo>
                        <a:lnTo>
                          <a:pt x="39" y="277"/>
                        </a:lnTo>
                        <a:lnTo>
                          <a:pt x="31" y="272"/>
                        </a:lnTo>
                        <a:lnTo>
                          <a:pt x="24" y="268"/>
                        </a:lnTo>
                        <a:lnTo>
                          <a:pt x="17" y="264"/>
                        </a:lnTo>
                        <a:lnTo>
                          <a:pt x="12" y="258"/>
                        </a:lnTo>
                        <a:lnTo>
                          <a:pt x="8" y="253"/>
                        </a:lnTo>
                        <a:lnTo>
                          <a:pt x="4" y="247"/>
                        </a:lnTo>
                        <a:lnTo>
                          <a:pt x="2" y="242"/>
                        </a:lnTo>
                        <a:lnTo>
                          <a:pt x="2" y="242"/>
                        </a:lnTo>
                        <a:lnTo>
                          <a:pt x="0" y="246"/>
                        </a:lnTo>
                        <a:lnTo>
                          <a:pt x="0" y="252"/>
                        </a:lnTo>
                        <a:lnTo>
                          <a:pt x="0" y="299"/>
                        </a:lnTo>
                        <a:lnTo>
                          <a:pt x="0" y="299"/>
                        </a:lnTo>
                        <a:lnTo>
                          <a:pt x="1" y="305"/>
                        </a:lnTo>
                        <a:lnTo>
                          <a:pt x="3" y="312"/>
                        </a:lnTo>
                        <a:lnTo>
                          <a:pt x="6" y="319"/>
                        </a:lnTo>
                        <a:lnTo>
                          <a:pt x="11" y="324"/>
                        </a:lnTo>
                        <a:lnTo>
                          <a:pt x="16" y="330"/>
                        </a:lnTo>
                        <a:lnTo>
                          <a:pt x="23" y="335"/>
                        </a:lnTo>
                        <a:lnTo>
                          <a:pt x="32" y="339"/>
                        </a:lnTo>
                        <a:lnTo>
                          <a:pt x="40" y="344"/>
                        </a:lnTo>
                        <a:lnTo>
                          <a:pt x="50" y="348"/>
                        </a:lnTo>
                        <a:lnTo>
                          <a:pt x="61" y="351"/>
                        </a:lnTo>
                        <a:lnTo>
                          <a:pt x="73" y="355"/>
                        </a:lnTo>
                        <a:lnTo>
                          <a:pt x="87" y="358"/>
                        </a:lnTo>
                        <a:lnTo>
                          <a:pt x="100" y="360"/>
                        </a:lnTo>
                        <a:lnTo>
                          <a:pt x="114" y="361"/>
                        </a:lnTo>
                        <a:lnTo>
                          <a:pt x="129" y="362"/>
                        </a:lnTo>
                        <a:lnTo>
                          <a:pt x="145" y="362"/>
                        </a:lnTo>
                        <a:lnTo>
                          <a:pt x="145" y="362"/>
                        </a:lnTo>
                        <a:lnTo>
                          <a:pt x="161" y="362"/>
                        </a:lnTo>
                        <a:lnTo>
                          <a:pt x="175" y="361"/>
                        </a:lnTo>
                        <a:lnTo>
                          <a:pt x="191" y="360"/>
                        </a:lnTo>
                        <a:lnTo>
                          <a:pt x="204" y="358"/>
                        </a:lnTo>
                        <a:lnTo>
                          <a:pt x="217" y="355"/>
                        </a:lnTo>
                        <a:lnTo>
                          <a:pt x="229" y="351"/>
                        </a:lnTo>
                        <a:lnTo>
                          <a:pt x="240" y="348"/>
                        </a:lnTo>
                        <a:lnTo>
                          <a:pt x="250" y="344"/>
                        </a:lnTo>
                        <a:lnTo>
                          <a:pt x="259" y="339"/>
                        </a:lnTo>
                        <a:lnTo>
                          <a:pt x="268" y="335"/>
                        </a:lnTo>
                        <a:lnTo>
                          <a:pt x="274" y="330"/>
                        </a:lnTo>
                        <a:lnTo>
                          <a:pt x="280" y="324"/>
                        </a:lnTo>
                        <a:lnTo>
                          <a:pt x="284" y="319"/>
                        </a:lnTo>
                        <a:lnTo>
                          <a:pt x="287" y="312"/>
                        </a:lnTo>
                        <a:lnTo>
                          <a:pt x="290" y="305"/>
                        </a:lnTo>
                        <a:lnTo>
                          <a:pt x="291" y="299"/>
                        </a:lnTo>
                        <a:lnTo>
                          <a:pt x="291" y="252"/>
                        </a:lnTo>
                        <a:lnTo>
                          <a:pt x="291" y="252"/>
                        </a:lnTo>
                        <a:lnTo>
                          <a:pt x="291" y="246"/>
                        </a:lnTo>
                        <a:lnTo>
                          <a:pt x="288" y="242"/>
                        </a:lnTo>
                        <a:lnTo>
                          <a:pt x="288" y="242"/>
                        </a:lnTo>
                        <a:lnTo>
                          <a:pt x="286" y="247"/>
                        </a:lnTo>
                        <a:lnTo>
                          <a:pt x="283" y="253"/>
                        </a:lnTo>
                        <a:lnTo>
                          <a:pt x="279" y="258"/>
                        </a:lnTo>
                        <a:lnTo>
                          <a:pt x="273" y="264"/>
                        </a:lnTo>
                        <a:lnTo>
                          <a:pt x="266" y="268"/>
                        </a:lnTo>
                        <a:lnTo>
                          <a:pt x="260" y="272"/>
                        </a:lnTo>
                        <a:lnTo>
                          <a:pt x="251" y="277"/>
                        </a:lnTo>
                        <a:lnTo>
                          <a:pt x="242" y="281"/>
                        </a:lnTo>
                        <a:lnTo>
                          <a:pt x="223" y="288"/>
                        </a:lnTo>
                        <a:lnTo>
                          <a:pt x="200" y="292"/>
                        </a:lnTo>
                        <a:lnTo>
                          <a:pt x="173" y="295"/>
                        </a:lnTo>
                        <a:lnTo>
                          <a:pt x="145" y="297"/>
                        </a:lnTo>
                        <a:lnTo>
                          <a:pt x="145" y="297"/>
                        </a:lnTo>
                        <a:close/>
                        <a:moveTo>
                          <a:pt x="61" y="334"/>
                        </a:moveTo>
                        <a:lnTo>
                          <a:pt x="61" y="334"/>
                        </a:lnTo>
                        <a:lnTo>
                          <a:pt x="57" y="333"/>
                        </a:lnTo>
                        <a:lnTo>
                          <a:pt x="53" y="330"/>
                        </a:lnTo>
                        <a:lnTo>
                          <a:pt x="50" y="326"/>
                        </a:lnTo>
                        <a:lnTo>
                          <a:pt x="49" y="322"/>
                        </a:lnTo>
                        <a:lnTo>
                          <a:pt x="49" y="322"/>
                        </a:lnTo>
                        <a:lnTo>
                          <a:pt x="50" y="316"/>
                        </a:lnTo>
                        <a:lnTo>
                          <a:pt x="53" y="313"/>
                        </a:lnTo>
                        <a:lnTo>
                          <a:pt x="57" y="310"/>
                        </a:lnTo>
                        <a:lnTo>
                          <a:pt x="61" y="309"/>
                        </a:lnTo>
                        <a:lnTo>
                          <a:pt x="61" y="309"/>
                        </a:lnTo>
                        <a:lnTo>
                          <a:pt x="66" y="310"/>
                        </a:lnTo>
                        <a:lnTo>
                          <a:pt x="70" y="313"/>
                        </a:lnTo>
                        <a:lnTo>
                          <a:pt x="72" y="316"/>
                        </a:lnTo>
                        <a:lnTo>
                          <a:pt x="73" y="322"/>
                        </a:lnTo>
                        <a:lnTo>
                          <a:pt x="73" y="322"/>
                        </a:lnTo>
                        <a:lnTo>
                          <a:pt x="72" y="326"/>
                        </a:lnTo>
                        <a:lnTo>
                          <a:pt x="70" y="330"/>
                        </a:lnTo>
                        <a:lnTo>
                          <a:pt x="66" y="333"/>
                        </a:lnTo>
                        <a:lnTo>
                          <a:pt x="61" y="334"/>
                        </a:lnTo>
                        <a:lnTo>
                          <a:pt x="61" y="334"/>
                        </a:lnTo>
                        <a:close/>
                        <a:moveTo>
                          <a:pt x="145" y="203"/>
                        </a:moveTo>
                        <a:lnTo>
                          <a:pt x="145" y="203"/>
                        </a:lnTo>
                        <a:lnTo>
                          <a:pt x="117" y="202"/>
                        </a:lnTo>
                        <a:lnTo>
                          <a:pt x="92" y="199"/>
                        </a:lnTo>
                        <a:lnTo>
                          <a:pt x="69" y="193"/>
                        </a:lnTo>
                        <a:lnTo>
                          <a:pt x="48" y="187"/>
                        </a:lnTo>
                        <a:lnTo>
                          <a:pt x="32" y="179"/>
                        </a:lnTo>
                        <a:lnTo>
                          <a:pt x="24" y="175"/>
                        </a:lnTo>
                        <a:lnTo>
                          <a:pt x="17" y="170"/>
                        </a:lnTo>
                        <a:lnTo>
                          <a:pt x="12" y="165"/>
                        </a:lnTo>
                        <a:lnTo>
                          <a:pt x="8" y="159"/>
                        </a:lnTo>
                        <a:lnTo>
                          <a:pt x="4" y="154"/>
                        </a:lnTo>
                        <a:lnTo>
                          <a:pt x="2" y="148"/>
                        </a:lnTo>
                        <a:lnTo>
                          <a:pt x="2" y="148"/>
                        </a:lnTo>
                        <a:lnTo>
                          <a:pt x="0" y="153"/>
                        </a:lnTo>
                        <a:lnTo>
                          <a:pt x="0" y="157"/>
                        </a:lnTo>
                        <a:lnTo>
                          <a:pt x="0" y="205"/>
                        </a:lnTo>
                        <a:lnTo>
                          <a:pt x="0" y="205"/>
                        </a:lnTo>
                        <a:lnTo>
                          <a:pt x="1" y="212"/>
                        </a:lnTo>
                        <a:lnTo>
                          <a:pt x="3" y="219"/>
                        </a:lnTo>
                        <a:lnTo>
                          <a:pt x="6" y="224"/>
                        </a:lnTo>
                        <a:lnTo>
                          <a:pt x="11" y="231"/>
                        </a:lnTo>
                        <a:lnTo>
                          <a:pt x="16" y="236"/>
                        </a:lnTo>
                        <a:lnTo>
                          <a:pt x="23" y="242"/>
                        </a:lnTo>
                        <a:lnTo>
                          <a:pt x="32" y="246"/>
                        </a:lnTo>
                        <a:lnTo>
                          <a:pt x="40" y="250"/>
                        </a:lnTo>
                        <a:lnTo>
                          <a:pt x="50" y="255"/>
                        </a:lnTo>
                        <a:lnTo>
                          <a:pt x="61" y="258"/>
                        </a:lnTo>
                        <a:lnTo>
                          <a:pt x="73" y="261"/>
                        </a:lnTo>
                        <a:lnTo>
                          <a:pt x="87" y="265"/>
                        </a:lnTo>
                        <a:lnTo>
                          <a:pt x="100" y="267"/>
                        </a:lnTo>
                        <a:lnTo>
                          <a:pt x="114" y="268"/>
                        </a:lnTo>
                        <a:lnTo>
                          <a:pt x="129" y="269"/>
                        </a:lnTo>
                        <a:lnTo>
                          <a:pt x="145" y="269"/>
                        </a:lnTo>
                        <a:lnTo>
                          <a:pt x="145" y="269"/>
                        </a:lnTo>
                        <a:lnTo>
                          <a:pt x="161" y="269"/>
                        </a:lnTo>
                        <a:lnTo>
                          <a:pt x="175" y="268"/>
                        </a:lnTo>
                        <a:lnTo>
                          <a:pt x="191" y="267"/>
                        </a:lnTo>
                        <a:lnTo>
                          <a:pt x="204" y="265"/>
                        </a:lnTo>
                        <a:lnTo>
                          <a:pt x="217" y="261"/>
                        </a:lnTo>
                        <a:lnTo>
                          <a:pt x="229" y="258"/>
                        </a:lnTo>
                        <a:lnTo>
                          <a:pt x="240" y="255"/>
                        </a:lnTo>
                        <a:lnTo>
                          <a:pt x="250" y="250"/>
                        </a:lnTo>
                        <a:lnTo>
                          <a:pt x="259" y="246"/>
                        </a:lnTo>
                        <a:lnTo>
                          <a:pt x="268" y="242"/>
                        </a:lnTo>
                        <a:lnTo>
                          <a:pt x="274" y="236"/>
                        </a:lnTo>
                        <a:lnTo>
                          <a:pt x="280" y="231"/>
                        </a:lnTo>
                        <a:lnTo>
                          <a:pt x="284" y="224"/>
                        </a:lnTo>
                        <a:lnTo>
                          <a:pt x="287" y="219"/>
                        </a:lnTo>
                        <a:lnTo>
                          <a:pt x="290" y="212"/>
                        </a:lnTo>
                        <a:lnTo>
                          <a:pt x="291" y="205"/>
                        </a:lnTo>
                        <a:lnTo>
                          <a:pt x="291" y="157"/>
                        </a:lnTo>
                        <a:lnTo>
                          <a:pt x="291" y="157"/>
                        </a:lnTo>
                        <a:lnTo>
                          <a:pt x="290" y="153"/>
                        </a:lnTo>
                        <a:lnTo>
                          <a:pt x="288" y="148"/>
                        </a:lnTo>
                        <a:lnTo>
                          <a:pt x="288" y="148"/>
                        </a:lnTo>
                        <a:lnTo>
                          <a:pt x="286" y="154"/>
                        </a:lnTo>
                        <a:lnTo>
                          <a:pt x="283" y="159"/>
                        </a:lnTo>
                        <a:lnTo>
                          <a:pt x="279" y="165"/>
                        </a:lnTo>
                        <a:lnTo>
                          <a:pt x="273" y="170"/>
                        </a:lnTo>
                        <a:lnTo>
                          <a:pt x="266" y="175"/>
                        </a:lnTo>
                        <a:lnTo>
                          <a:pt x="259" y="179"/>
                        </a:lnTo>
                        <a:lnTo>
                          <a:pt x="242" y="187"/>
                        </a:lnTo>
                        <a:lnTo>
                          <a:pt x="222" y="193"/>
                        </a:lnTo>
                        <a:lnTo>
                          <a:pt x="198" y="199"/>
                        </a:lnTo>
                        <a:lnTo>
                          <a:pt x="173" y="202"/>
                        </a:lnTo>
                        <a:lnTo>
                          <a:pt x="145" y="203"/>
                        </a:lnTo>
                        <a:lnTo>
                          <a:pt x="145" y="203"/>
                        </a:lnTo>
                        <a:close/>
                        <a:moveTo>
                          <a:pt x="61" y="238"/>
                        </a:moveTo>
                        <a:lnTo>
                          <a:pt x="61" y="238"/>
                        </a:lnTo>
                        <a:lnTo>
                          <a:pt x="57" y="237"/>
                        </a:lnTo>
                        <a:lnTo>
                          <a:pt x="53" y="234"/>
                        </a:lnTo>
                        <a:lnTo>
                          <a:pt x="50" y="231"/>
                        </a:lnTo>
                        <a:lnTo>
                          <a:pt x="49" y="225"/>
                        </a:lnTo>
                        <a:lnTo>
                          <a:pt x="49" y="225"/>
                        </a:lnTo>
                        <a:lnTo>
                          <a:pt x="50" y="221"/>
                        </a:lnTo>
                        <a:lnTo>
                          <a:pt x="53" y="218"/>
                        </a:lnTo>
                        <a:lnTo>
                          <a:pt x="57" y="214"/>
                        </a:lnTo>
                        <a:lnTo>
                          <a:pt x="61" y="213"/>
                        </a:lnTo>
                        <a:lnTo>
                          <a:pt x="61" y="213"/>
                        </a:lnTo>
                        <a:lnTo>
                          <a:pt x="66" y="214"/>
                        </a:lnTo>
                        <a:lnTo>
                          <a:pt x="70" y="218"/>
                        </a:lnTo>
                        <a:lnTo>
                          <a:pt x="72" y="221"/>
                        </a:lnTo>
                        <a:lnTo>
                          <a:pt x="73" y="225"/>
                        </a:lnTo>
                        <a:lnTo>
                          <a:pt x="73" y="225"/>
                        </a:lnTo>
                        <a:lnTo>
                          <a:pt x="72" y="231"/>
                        </a:lnTo>
                        <a:lnTo>
                          <a:pt x="70" y="234"/>
                        </a:lnTo>
                        <a:lnTo>
                          <a:pt x="66" y="237"/>
                        </a:lnTo>
                        <a:lnTo>
                          <a:pt x="61" y="238"/>
                        </a:lnTo>
                        <a:lnTo>
                          <a:pt x="61" y="238"/>
                        </a:lnTo>
                        <a:close/>
                      </a:path>
                    </a:pathLst>
                  </a:custGeom>
                  <a:solidFill>
                    <a:srgbClr val="DADCE0"/>
                  </a:solidFill>
                  <a:ln>
                    <a:noFill/>
                  </a:ln>
                  <a:extLst/>
                </p:spPr>
                <p:txBody>
                  <a:bodyPr vert="horz" wrap="square" lIns="68574" tIns="34287" rIns="68574" bIns="34287" numCol="1" anchor="t" anchorCtr="0" compatLnSpc="1">
                    <a:prstTxWarp prst="textNoShape">
                      <a:avLst/>
                    </a:prstTxWarp>
                  </a:bodyPr>
                  <a:lstStyle/>
                  <a:p>
                    <a:pPr>
                      <a:buClrTx/>
                      <a:buFontTx/>
                      <a:buNone/>
                    </a:pPr>
                    <a:endParaRPr lang="zh-CN" altLang="en-US" dirty="0">
                      <a:solidFill>
                        <a:srgbClr val="000000"/>
                      </a:solidFill>
                      <a:latin typeface="FrutigerNext LT Medium" panose="020B0603040504020204" pitchFamily="34" charset="0"/>
                      <a:ea typeface="微软雅黑" pitchFamily="34" charset="-122"/>
                      <a:cs typeface="Arial" pitchFamily="34" charset="0"/>
                    </a:endParaRPr>
                  </a:p>
                </p:txBody>
              </p:sp>
              <p:pic>
                <p:nvPicPr>
                  <p:cNvPr id="37" name="图片 36" descr="locked.png"/>
                  <p:cNvPicPr>
                    <a:picLocks noChangeAspect="1"/>
                  </p:cNvPicPr>
                  <p:nvPr/>
                </p:nvPicPr>
                <p:blipFill>
                  <a:blip r:embed="rId7" cstate="screen">
                    <a:duotone>
                      <a:schemeClr val="bg2">
                        <a:shade val="45000"/>
                        <a:satMod val="135000"/>
                      </a:schemeClr>
                      <a:prstClr val="white"/>
                    </a:duotone>
                  </a:blip>
                  <a:stretch>
                    <a:fillRect/>
                  </a:stretch>
                </p:blipFill>
                <p:spPr>
                  <a:xfrm>
                    <a:off x="4225379" y="3141762"/>
                    <a:ext cx="225576" cy="221421"/>
                  </a:xfrm>
                  <a:prstGeom prst="rect">
                    <a:avLst/>
                  </a:prstGeom>
                </p:spPr>
              </p:pic>
            </p:grpSp>
          </p:grpSp>
          <p:sp>
            <p:nvSpPr>
              <p:cNvPr id="29" name="圆角矩形 36"/>
              <p:cNvSpPr/>
              <p:nvPr/>
            </p:nvSpPr>
            <p:spPr bwMode="auto">
              <a:xfrm>
                <a:off x="5593531" y="4685087"/>
                <a:ext cx="747009" cy="372172"/>
              </a:xfrm>
              <a:prstGeom prst="roundRect">
                <a:avLst>
                  <a:gd name="adj" fmla="val 6839"/>
                </a:avLst>
              </a:prstGeom>
              <a:solidFill>
                <a:srgbClr val="FFC000">
                  <a:alpha val="30000"/>
                </a:srgbClr>
              </a:soli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wrap="none" lIns="0" tIns="107991" rIns="0" bIns="0" rtlCol="0" anchor="ctr" anchorCtr="0"/>
              <a:lstStyle/>
              <a:p>
                <a:pPr algn="ctr"/>
                <a:endParaRPr kumimoji="1" lang="en-US" altLang="zh-CN" sz="750" dirty="0">
                  <a:solidFill>
                    <a:schemeClr val="bg1"/>
                  </a:solidFill>
                  <a:latin typeface="FrutigerNext LT Medium" panose="020B0603040504020204" pitchFamily="34" charset="0"/>
                  <a:ea typeface="微软雅黑" pitchFamily="34" charset="-122"/>
                  <a:cs typeface="Arial" pitchFamily="34" charset="0"/>
                </a:endParaRPr>
              </a:p>
              <a:p>
                <a:pPr algn="ctr"/>
                <a:r>
                  <a:rPr kumimoji="1" lang="en-US" altLang="zh-CN" sz="750" dirty="0">
                    <a:solidFill>
                      <a:schemeClr val="bg1"/>
                    </a:solidFill>
                    <a:latin typeface="FrutigerNext LT Medium" panose="020B0603040504020204" pitchFamily="34" charset="0"/>
                    <a:ea typeface="微软雅黑" pitchFamily="34" charset="-122"/>
                    <a:cs typeface="Arial" pitchFamily="34" charset="0"/>
                  </a:rPr>
                  <a:t>VIM</a:t>
                </a:r>
                <a:endParaRPr kumimoji="1" lang="zh-CN" altLang="en-US" sz="1200" dirty="0">
                  <a:solidFill>
                    <a:schemeClr val="bg1"/>
                  </a:solidFill>
                  <a:latin typeface="FrutigerNext LT Medium" panose="020B0603040504020204" pitchFamily="34" charset="0"/>
                  <a:ea typeface="微软雅黑" pitchFamily="34" charset="-122"/>
                  <a:cs typeface="Arial" pitchFamily="34" charset="0"/>
                </a:endParaRPr>
              </a:p>
              <a:p>
                <a:pPr algn="ctr"/>
                <a:endParaRPr lang="zh-CN" altLang="en-US" dirty="0">
                  <a:latin typeface="FrutigerNext LT Medium" panose="020B0603040504020204" pitchFamily="34" charset="0"/>
                </a:endParaRPr>
              </a:p>
            </p:txBody>
          </p:sp>
          <p:sp>
            <p:nvSpPr>
              <p:cNvPr id="30" name="圆角矩形 36"/>
              <p:cNvSpPr/>
              <p:nvPr/>
            </p:nvSpPr>
            <p:spPr bwMode="auto">
              <a:xfrm>
                <a:off x="5593531" y="3011352"/>
                <a:ext cx="747009" cy="372172"/>
              </a:xfrm>
              <a:prstGeom prst="roundRect">
                <a:avLst>
                  <a:gd name="adj" fmla="val 6839"/>
                </a:avLst>
              </a:prstGeom>
              <a:solidFill>
                <a:srgbClr val="FFC000">
                  <a:alpha val="30000"/>
                </a:srgbClr>
              </a:solidFill>
              <a:ln w="12700">
                <a:noFill/>
              </a:ln>
              <a:extLst/>
            </p:spPr>
            <p:style>
              <a:lnRef idx="2">
                <a:schemeClr val="accent1">
                  <a:shade val="50000"/>
                </a:schemeClr>
              </a:lnRef>
              <a:fillRef idx="1">
                <a:schemeClr val="accent1"/>
              </a:fillRef>
              <a:effectRef idx="0">
                <a:schemeClr val="accent1"/>
              </a:effectRef>
              <a:fontRef idx="minor">
                <a:schemeClr val="lt1"/>
              </a:fontRef>
            </p:style>
            <p:txBody>
              <a:bodyPr wrap="none" lIns="0" tIns="107991" rIns="0" bIns="0" rtlCol="0" anchor="ctr" anchorCtr="0"/>
              <a:lstStyle/>
              <a:p>
                <a:pPr algn="ctr"/>
                <a:endParaRPr kumimoji="1" lang="en-US" altLang="zh-CN" sz="750" dirty="0">
                  <a:solidFill>
                    <a:schemeClr val="bg1"/>
                  </a:solidFill>
                  <a:latin typeface="FrutigerNext LT Medium" panose="020B0603040504020204" pitchFamily="34" charset="0"/>
                  <a:ea typeface="微软雅黑" pitchFamily="34" charset="-122"/>
                  <a:cs typeface="Arial" pitchFamily="34" charset="0"/>
                </a:endParaRPr>
              </a:p>
              <a:p>
                <a:pPr algn="ctr"/>
                <a:r>
                  <a:rPr kumimoji="1" lang="en-US" altLang="zh-CN" sz="750" dirty="0">
                    <a:solidFill>
                      <a:schemeClr val="bg1"/>
                    </a:solidFill>
                    <a:latin typeface="FrutigerNext LT Medium" panose="020B0603040504020204" pitchFamily="34" charset="0"/>
                    <a:ea typeface="微软雅黑" pitchFamily="34" charset="-122"/>
                    <a:cs typeface="Arial" pitchFamily="34" charset="0"/>
                  </a:rPr>
                  <a:t>VNFM</a:t>
                </a:r>
                <a:endParaRPr kumimoji="1" lang="zh-CN" altLang="en-US" sz="1200" dirty="0">
                  <a:solidFill>
                    <a:schemeClr val="bg1"/>
                  </a:solidFill>
                  <a:latin typeface="FrutigerNext LT Medium" panose="020B0603040504020204" pitchFamily="34" charset="0"/>
                  <a:ea typeface="微软雅黑" pitchFamily="34" charset="-122"/>
                  <a:cs typeface="Arial" pitchFamily="34" charset="0"/>
                </a:endParaRPr>
              </a:p>
              <a:p>
                <a:pPr algn="ctr"/>
                <a:endParaRPr lang="zh-CN" altLang="en-US" dirty="0">
                  <a:latin typeface="FrutigerNext LT Medium" panose="020B0603040504020204" pitchFamily="34" charset="0"/>
                </a:endParaRPr>
              </a:p>
            </p:txBody>
          </p:sp>
          <p:cxnSp>
            <p:nvCxnSpPr>
              <p:cNvPr id="31" name="直接连接符 30"/>
              <p:cNvCxnSpPr/>
              <p:nvPr/>
            </p:nvCxnSpPr>
            <p:spPr>
              <a:xfrm flipH="1">
                <a:off x="5413261" y="4865973"/>
                <a:ext cx="52874" cy="0"/>
              </a:xfrm>
              <a:prstGeom prst="line">
                <a:avLst/>
              </a:prstGeom>
              <a:ln w="25400">
                <a:solidFill>
                  <a:srgbClr val="F2F2F2"/>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30" idx="2"/>
                <a:endCxn id="29" idx="0"/>
              </p:cNvCxnSpPr>
              <p:nvPr/>
            </p:nvCxnSpPr>
            <p:spPr>
              <a:xfrm>
                <a:off x="5967036" y="3383524"/>
                <a:ext cx="0" cy="1301563"/>
              </a:xfrm>
              <a:prstGeom prst="line">
                <a:avLst/>
              </a:prstGeom>
              <a:ln w="25400">
                <a:solidFill>
                  <a:srgbClr val="F2F2F2"/>
                </a:solidFill>
              </a:ln>
            </p:spPr>
            <p:style>
              <a:lnRef idx="1">
                <a:schemeClr val="accent1"/>
              </a:lnRef>
              <a:fillRef idx="0">
                <a:schemeClr val="accent1"/>
              </a:fillRef>
              <a:effectRef idx="0">
                <a:schemeClr val="accent1"/>
              </a:effectRef>
              <a:fontRef idx="minor">
                <a:schemeClr val="tx1"/>
              </a:fontRef>
            </p:style>
          </p:cxnSp>
        </p:grpSp>
        <p:sp>
          <p:nvSpPr>
            <p:cNvPr id="12" name="TextBox 117"/>
            <p:cNvSpPr txBox="1"/>
            <p:nvPr/>
          </p:nvSpPr>
          <p:spPr>
            <a:xfrm>
              <a:off x="2373841" y="985743"/>
              <a:ext cx="2765667" cy="578767"/>
            </a:xfrm>
            <a:prstGeom prst="rect">
              <a:avLst/>
            </a:prstGeom>
            <a:noFill/>
          </p:spPr>
          <p:txBody>
            <a:bodyPr wrap="none" lIns="51417" tIns="25709" rIns="51417" bIns="25709" rtlCol="0">
              <a:noAutofit/>
            </a:bodyPr>
            <a:lstStyle/>
            <a:p>
              <a:pPr algn="ctr">
                <a:buNone/>
              </a:pPr>
              <a:r>
                <a:rPr lang="en-US" altLang="zh-CN" b="1" dirty="0" smtClean="0">
                  <a:solidFill>
                    <a:schemeClr val="bg1"/>
                  </a:solidFill>
                  <a:latin typeface="FrutigerNext LT Medium" panose="020B0603040504020204" pitchFamily="34" charset="0"/>
                  <a:ea typeface="微软雅黑" pitchFamily="34" charset="-122"/>
                </a:rPr>
                <a:t>Virtualization</a:t>
              </a:r>
            </a:p>
            <a:p>
              <a:pPr algn="ctr"/>
              <a:r>
                <a:rPr lang="en-US" altLang="zh-CN" sz="1200" dirty="0">
                  <a:solidFill>
                    <a:schemeClr val="bg1"/>
                  </a:solidFill>
                  <a:latin typeface="FrutigerNext LT Medium" panose="020B0603040504020204" pitchFamily="34" charset="0"/>
                  <a:ea typeface="微软雅黑" pitchFamily="34" charset="-122"/>
                </a:rPr>
                <a:t>(Hardware and Software decoupled)</a:t>
              </a:r>
              <a:endParaRPr lang="en-US" altLang="zh-CN" sz="1200" dirty="0">
                <a:solidFill>
                  <a:schemeClr val="bg1"/>
                </a:solidFill>
                <a:latin typeface="FrutigerNext LT Medium" panose="020B0603040504020204" pitchFamily="34" charset="0"/>
                <a:ea typeface="微软雅黑" pitchFamily="34" charset="-122"/>
              </a:endParaRPr>
            </a:p>
          </p:txBody>
        </p:sp>
      </p:grpSp>
      <p:sp>
        <p:nvSpPr>
          <p:cNvPr id="66" name="TextBox 155"/>
          <p:cNvSpPr txBox="1"/>
          <p:nvPr/>
        </p:nvSpPr>
        <p:spPr>
          <a:xfrm>
            <a:off x="4487858" y="4833828"/>
            <a:ext cx="5695004" cy="365735"/>
          </a:xfrm>
          <a:prstGeom prst="rect">
            <a:avLst/>
          </a:prstGeom>
          <a:noFill/>
        </p:spPr>
        <p:txBody>
          <a:bodyPr wrap="none" lIns="87876" tIns="43939" rIns="87876" bIns="43939" rtlCol="0">
            <a:spAutoFit/>
          </a:bodyPr>
          <a:lstStyle/>
          <a:p>
            <a:r>
              <a:rPr lang="en-US" altLang="zh-CN" b="1" i="1" dirty="0" smtClean="0">
                <a:solidFill>
                  <a:srgbClr val="FFC000"/>
                </a:solidFill>
                <a:latin typeface="FrutigerNext LT Medium" panose="020B0603040504020204" pitchFamily="34" charset="0"/>
              </a:rPr>
              <a:t>Equipment with higher density and  higher efficiency</a:t>
            </a:r>
            <a:endParaRPr lang="zh-CN" altLang="en-US" b="1" i="1" dirty="0">
              <a:solidFill>
                <a:srgbClr val="FFC000"/>
              </a:solidFill>
              <a:latin typeface="FrutigerNext LT Medium" panose="020B0603040504020204" pitchFamily="34" charset="0"/>
            </a:endParaRPr>
          </a:p>
        </p:txBody>
      </p:sp>
      <p:grpSp>
        <p:nvGrpSpPr>
          <p:cNvPr id="68" name="组合 67"/>
          <p:cNvGrpSpPr/>
          <p:nvPr/>
        </p:nvGrpSpPr>
        <p:grpSpPr>
          <a:xfrm>
            <a:off x="954707" y="2457770"/>
            <a:ext cx="3024074" cy="2268055"/>
            <a:chOff x="1540258" y="2017487"/>
            <a:chExt cx="3526957" cy="2676387"/>
          </a:xfrm>
        </p:grpSpPr>
        <p:grpSp>
          <p:nvGrpSpPr>
            <p:cNvPr id="69" name="组合 68"/>
            <p:cNvGrpSpPr/>
            <p:nvPr/>
          </p:nvGrpSpPr>
          <p:grpSpPr>
            <a:xfrm>
              <a:off x="2630534" y="3042602"/>
              <a:ext cx="1612759" cy="685628"/>
              <a:chOff x="7336252" y="1053530"/>
              <a:chExt cx="1612759" cy="685628"/>
            </a:xfrm>
          </p:grpSpPr>
          <p:sp>
            <p:nvSpPr>
              <p:cNvPr id="102" name="Freeform 6"/>
              <p:cNvSpPr>
                <a:spLocks/>
              </p:cNvSpPr>
              <p:nvPr/>
            </p:nvSpPr>
            <p:spPr bwMode="auto">
              <a:xfrm>
                <a:off x="7336252" y="1053530"/>
                <a:ext cx="1569647" cy="682620"/>
              </a:xfrm>
              <a:custGeom>
                <a:avLst/>
                <a:gdLst>
                  <a:gd name="T0" fmla="*/ 637 w 754"/>
                  <a:gd name="T1" fmla="*/ 407 h 415"/>
                  <a:gd name="T2" fmla="*/ 92 w 754"/>
                  <a:gd name="T3" fmla="*/ 403 h 415"/>
                  <a:gd name="T4" fmla="*/ 15 w 754"/>
                  <a:gd name="T5" fmla="*/ 290 h 415"/>
                  <a:gd name="T6" fmla="*/ 139 w 754"/>
                  <a:gd name="T7" fmla="*/ 204 h 415"/>
                  <a:gd name="T8" fmla="*/ 287 w 754"/>
                  <a:gd name="T9" fmla="*/ 26 h 415"/>
                  <a:gd name="T10" fmla="*/ 504 w 754"/>
                  <a:gd name="T11" fmla="*/ 122 h 415"/>
                  <a:gd name="T12" fmla="*/ 650 w 754"/>
                  <a:gd name="T13" fmla="*/ 119 h 415"/>
                  <a:gd name="T14" fmla="*/ 678 w 754"/>
                  <a:gd name="T15" fmla="*/ 244 h 415"/>
                  <a:gd name="T16" fmla="*/ 742 w 754"/>
                  <a:gd name="T17" fmla="*/ 336 h 415"/>
                  <a:gd name="T18" fmla="*/ 637 w 754"/>
                  <a:gd name="T19" fmla="*/ 407 h 415"/>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8992 w 10000"/>
                  <a:gd name="connsiteY7" fmla="*/ 5880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9353 w 10000"/>
                  <a:gd name="connsiteY7" fmla="*/ 5815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353 w 10000"/>
                  <a:gd name="connsiteY7" fmla="*/ 5815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054 w 10000"/>
                  <a:gd name="connsiteY7" fmla="*/ 5692 h 10000"/>
                  <a:gd name="connsiteX8" fmla="*/ 9841 w 10000"/>
                  <a:gd name="connsiteY8" fmla="*/ 8096 h 10000"/>
                  <a:gd name="connsiteX9" fmla="*/ 8448 w 10000"/>
                  <a:gd name="connsiteY9" fmla="*/ 980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8448" y="9807"/>
                    </a:moveTo>
                    <a:lnTo>
                      <a:pt x="1220" y="9711"/>
                    </a:lnTo>
                    <a:cubicBezTo>
                      <a:pt x="1220" y="9711"/>
                      <a:pt x="0" y="9253"/>
                      <a:pt x="199" y="6988"/>
                    </a:cubicBezTo>
                    <a:cubicBezTo>
                      <a:pt x="424" y="4530"/>
                      <a:pt x="1638" y="4336"/>
                      <a:pt x="1638" y="4336"/>
                    </a:cubicBezTo>
                    <a:cubicBezTo>
                      <a:pt x="1638" y="4336"/>
                      <a:pt x="1711" y="1277"/>
                      <a:pt x="3806" y="627"/>
                    </a:cubicBezTo>
                    <a:cubicBezTo>
                      <a:pt x="5849" y="0"/>
                      <a:pt x="6684" y="2940"/>
                      <a:pt x="6684" y="2940"/>
                    </a:cubicBezTo>
                    <a:cubicBezTo>
                      <a:pt x="6684" y="2940"/>
                      <a:pt x="7732" y="1542"/>
                      <a:pt x="8621" y="2867"/>
                    </a:cubicBezTo>
                    <a:cubicBezTo>
                      <a:pt x="9363" y="3952"/>
                      <a:pt x="9054" y="5692"/>
                      <a:pt x="9054" y="5692"/>
                    </a:cubicBezTo>
                    <a:cubicBezTo>
                      <a:pt x="9054" y="5692"/>
                      <a:pt x="10000" y="6361"/>
                      <a:pt x="9841" y="8096"/>
                    </a:cubicBezTo>
                    <a:cubicBezTo>
                      <a:pt x="9668" y="10000"/>
                      <a:pt x="8448" y="9807"/>
                      <a:pt x="8448" y="9807"/>
                    </a:cubicBezTo>
                    <a:close/>
                  </a:path>
                </a:pathLst>
              </a:custGeom>
              <a:solidFill>
                <a:srgbClr val="558ED5"/>
              </a:solidFill>
              <a:ln w="9525">
                <a:noFill/>
              </a:ln>
              <a:effectLst/>
              <a:extLst/>
            </p:spPr>
            <p:txBody>
              <a:bodyPr vert="horz" wrap="square" lIns="68574" tIns="34287" rIns="68574" bIns="34287" numCol="1" rtlCol="0" anchor="t" anchorCtr="0" compatLnSpc="1">
                <a:prstTxWarp prst="textNoShape">
                  <a:avLst/>
                </a:prstTxWarp>
              </a:bodyPr>
              <a:lstStyle/>
              <a:p>
                <a:pPr>
                  <a:buClr>
                    <a:srgbClr val="CC9900"/>
                  </a:buClr>
                  <a:buFont typeface="Wingdings" pitchFamily="2" charset="2"/>
                  <a:buChar char="n"/>
                  <a:defRPr/>
                </a:pPr>
                <a:endParaRPr lang="zh-CN" altLang="en-US" dirty="0">
                  <a:latin typeface="FrutigerNext LT Medium" panose="020B0603040504020204" pitchFamily="34" charset="0"/>
                </a:endParaRPr>
              </a:p>
            </p:txBody>
          </p:sp>
          <p:sp>
            <p:nvSpPr>
              <p:cNvPr id="103" name="TextBox 72"/>
              <p:cNvSpPr txBox="1">
                <a:spLocks noChangeArrowheads="1"/>
              </p:cNvSpPr>
              <p:nvPr/>
            </p:nvSpPr>
            <p:spPr bwMode="auto">
              <a:xfrm>
                <a:off x="7461115" y="1369832"/>
                <a:ext cx="1487896" cy="369326"/>
              </a:xfrm>
              <a:prstGeom prst="rect">
                <a:avLst/>
              </a:prstGeom>
              <a:noFill/>
              <a:ln w="9525">
                <a:noFill/>
              </a:ln>
              <a:effectLst/>
            </p:spPr>
            <p:txBody>
              <a:bodyPr vert="horz" wrap="square" lIns="68574" tIns="34287" rIns="68574" bIns="34287" numCol="1" rtlCol="0" anchor="t" anchorCtr="0" compatLnSpc="1">
                <a:prstTxWarp prst="textNoShape">
                  <a:avLst/>
                </a:prstTxWarp>
              </a:bodyPr>
              <a:lstStyle/>
              <a:p>
                <a:pPr>
                  <a:buClr>
                    <a:srgbClr val="CC9900"/>
                  </a:buClr>
                  <a:defRPr/>
                </a:pPr>
                <a:r>
                  <a:rPr lang="en-US" altLang="zh-CN" sz="1350" dirty="0">
                    <a:solidFill>
                      <a:schemeClr val="bg1"/>
                    </a:solidFill>
                    <a:latin typeface="FrutigerNext LT Medium" panose="020B0603040504020204" pitchFamily="34" charset="0"/>
                  </a:rPr>
                  <a:t>IP Network</a:t>
                </a:r>
                <a:endParaRPr lang="en-US" altLang="zh-CN" sz="1350" dirty="0">
                  <a:solidFill>
                    <a:schemeClr val="bg1"/>
                  </a:solidFill>
                  <a:latin typeface="FrutigerNext LT Medium" panose="020B0603040504020204" pitchFamily="34" charset="0"/>
                </a:endParaRPr>
              </a:p>
            </p:txBody>
          </p:sp>
        </p:grpSp>
        <p:sp>
          <p:nvSpPr>
            <p:cNvPr id="70" name="下箭头 69"/>
            <p:cNvSpPr/>
            <p:nvPr/>
          </p:nvSpPr>
          <p:spPr bwMode="auto">
            <a:xfrm>
              <a:off x="3107795" y="2685145"/>
              <a:ext cx="551543" cy="333825"/>
            </a:xfrm>
            <a:prstGeom prst="downArrow">
              <a:avLst/>
            </a:prstGeom>
            <a:solidFill>
              <a:srgbClr val="558ED5"/>
            </a:solidFill>
            <a:ln w="9525">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mtClean="0">
                <a:latin typeface="FrutigerNext LT Medium" panose="020B0603040504020204" pitchFamily="34" charset="0"/>
              </a:endParaRPr>
            </a:p>
          </p:txBody>
        </p:sp>
        <p:grpSp>
          <p:nvGrpSpPr>
            <p:cNvPr id="71" name="组合 634"/>
            <p:cNvGrpSpPr/>
            <p:nvPr/>
          </p:nvGrpSpPr>
          <p:grpSpPr>
            <a:xfrm>
              <a:off x="3093281" y="2017487"/>
              <a:ext cx="563559" cy="604133"/>
              <a:chOff x="14536144" y="-793834"/>
              <a:chExt cx="772115" cy="829074"/>
            </a:xfrm>
            <a:solidFill>
              <a:srgbClr val="FFC000"/>
            </a:solidFill>
          </p:grpSpPr>
          <p:sp>
            <p:nvSpPr>
              <p:cNvPr id="93" name="Freeform 33"/>
              <p:cNvSpPr>
                <a:spLocks noEditPoints="1"/>
              </p:cNvSpPr>
              <p:nvPr/>
            </p:nvSpPr>
            <p:spPr bwMode="auto">
              <a:xfrm>
                <a:off x="14770310" y="-521695"/>
                <a:ext cx="348084" cy="556935"/>
              </a:xfrm>
              <a:custGeom>
                <a:avLst/>
                <a:gdLst/>
                <a:ahLst/>
                <a:cxnLst>
                  <a:cxn ang="0">
                    <a:pos x="68" y="54"/>
                  </a:cxn>
                  <a:cxn ang="0">
                    <a:pos x="68" y="48"/>
                  </a:cxn>
                  <a:cxn ang="0">
                    <a:pos x="70" y="44"/>
                  </a:cxn>
                  <a:cxn ang="0">
                    <a:pos x="78" y="32"/>
                  </a:cxn>
                  <a:cxn ang="0">
                    <a:pos x="80" y="24"/>
                  </a:cxn>
                  <a:cxn ang="0">
                    <a:pos x="74" y="6"/>
                  </a:cxn>
                  <a:cxn ang="0">
                    <a:pos x="56" y="0"/>
                  </a:cxn>
                  <a:cxn ang="0">
                    <a:pos x="46" y="2"/>
                  </a:cxn>
                  <a:cxn ang="0">
                    <a:pos x="32" y="16"/>
                  </a:cxn>
                  <a:cxn ang="0">
                    <a:pos x="30" y="24"/>
                  </a:cxn>
                  <a:cxn ang="0">
                    <a:pos x="34" y="38"/>
                  </a:cxn>
                  <a:cxn ang="0">
                    <a:pos x="40" y="44"/>
                  </a:cxn>
                  <a:cxn ang="0">
                    <a:pos x="42" y="54"/>
                  </a:cxn>
                  <a:cxn ang="0">
                    <a:pos x="0" y="174"/>
                  </a:cxn>
                  <a:cxn ang="0">
                    <a:pos x="2" y="176"/>
                  </a:cxn>
                  <a:cxn ang="0">
                    <a:pos x="22" y="170"/>
                  </a:cxn>
                  <a:cxn ang="0">
                    <a:pos x="56" y="164"/>
                  </a:cxn>
                  <a:cxn ang="0">
                    <a:pos x="72" y="166"/>
                  </a:cxn>
                  <a:cxn ang="0">
                    <a:pos x="108" y="176"/>
                  </a:cxn>
                  <a:cxn ang="0">
                    <a:pos x="110" y="176"/>
                  </a:cxn>
                  <a:cxn ang="0">
                    <a:pos x="110" y="174"/>
                  </a:cxn>
                  <a:cxn ang="0">
                    <a:pos x="56" y="72"/>
                  </a:cxn>
                  <a:cxn ang="0">
                    <a:pos x="64" y="76"/>
                  </a:cxn>
                  <a:cxn ang="0">
                    <a:pos x="68" y="84"/>
                  </a:cxn>
                  <a:cxn ang="0">
                    <a:pos x="66" y="90"/>
                  </a:cxn>
                  <a:cxn ang="0">
                    <a:pos x="60" y="96"/>
                  </a:cxn>
                  <a:cxn ang="0">
                    <a:pos x="56" y="98"/>
                  </a:cxn>
                  <a:cxn ang="0">
                    <a:pos x="46" y="94"/>
                  </a:cxn>
                  <a:cxn ang="0">
                    <a:pos x="42" y="84"/>
                  </a:cxn>
                  <a:cxn ang="0">
                    <a:pos x="44" y="80"/>
                  </a:cxn>
                  <a:cxn ang="0">
                    <a:pos x="50" y="74"/>
                  </a:cxn>
                  <a:cxn ang="0">
                    <a:pos x="56" y="72"/>
                  </a:cxn>
                  <a:cxn ang="0">
                    <a:pos x="56" y="144"/>
                  </a:cxn>
                  <a:cxn ang="0">
                    <a:pos x="42" y="138"/>
                  </a:cxn>
                  <a:cxn ang="0">
                    <a:pos x="36" y="124"/>
                  </a:cxn>
                  <a:cxn ang="0">
                    <a:pos x="38" y="118"/>
                  </a:cxn>
                  <a:cxn ang="0">
                    <a:pos x="48" y="108"/>
                  </a:cxn>
                  <a:cxn ang="0">
                    <a:pos x="56" y="106"/>
                  </a:cxn>
                  <a:cxn ang="0">
                    <a:pos x="68" y="112"/>
                  </a:cxn>
                  <a:cxn ang="0">
                    <a:pos x="74" y="124"/>
                  </a:cxn>
                  <a:cxn ang="0">
                    <a:pos x="72" y="132"/>
                  </a:cxn>
                  <a:cxn ang="0">
                    <a:pos x="62" y="142"/>
                  </a:cxn>
                  <a:cxn ang="0">
                    <a:pos x="56" y="144"/>
                  </a:cxn>
                </a:cxnLst>
                <a:rect l="0" t="0" r="r" b="b"/>
                <a:pathLst>
                  <a:path w="110" h="176">
                    <a:moveTo>
                      <a:pt x="110" y="174"/>
                    </a:moveTo>
                    <a:lnTo>
                      <a:pt x="68" y="54"/>
                    </a:lnTo>
                    <a:lnTo>
                      <a:pt x="68" y="54"/>
                    </a:lnTo>
                    <a:lnTo>
                      <a:pt x="68" y="48"/>
                    </a:lnTo>
                    <a:lnTo>
                      <a:pt x="70" y="44"/>
                    </a:lnTo>
                    <a:lnTo>
                      <a:pt x="70" y="44"/>
                    </a:lnTo>
                    <a:lnTo>
                      <a:pt x="76" y="38"/>
                    </a:lnTo>
                    <a:lnTo>
                      <a:pt x="78" y="32"/>
                    </a:lnTo>
                    <a:lnTo>
                      <a:pt x="80" y="24"/>
                    </a:lnTo>
                    <a:lnTo>
                      <a:pt x="80" y="24"/>
                    </a:lnTo>
                    <a:lnTo>
                      <a:pt x="78" y="16"/>
                    </a:lnTo>
                    <a:lnTo>
                      <a:pt x="74" y="6"/>
                    </a:lnTo>
                    <a:lnTo>
                      <a:pt x="64" y="2"/>
                    </a:lnTo>
                    <a:lnTo>
                      <a:pt x="56" y="0"/>
                    </a:lnTo>
                    <a:lnTo>
                      <a:pt x="56" y="0"/>
                    </a:lnTo>
                    <a:lnTo>
                      <a:pt x="46" y="2"/>
                    </a:lnTo>
                    <a:lnTo>
                      <a:pt x="38" y="6"/>
                    </a:lnTo>
                    <a:lnTo>
                      <a:pt x="32" y="16"/>
                    </a:lnTo>
                    <a:lnTo>
                      <a:pt x="30" y="24"/>
                    </a:lnTo>
                    <a:lnTo>
                      <a:pt x="30" y="24"/>
                    </a:lnTo>
                    <a:lnTo>
                      <a:pt x="32" y="32"/>
                    </a:lnTo>
                    <a:lnTo>
                      <a:pt x="34" y="38"/>
                    </a:lnTo>
                    <a:lnTo>
                      <a:pt x="40" y="44"/>
                    </a:lnTo>
                    <a:lnTo>
                      <a:pt x="40" y="44"/>
                    </a:lnTo>
                    <a:lnTo>
                      <a:pt x="42" y="48"/>
                    </a:lnTo>
                    <a:lnTo>
                      <a:pt x="42" y="54"/>
                    </a:lnTo>
                    <a:lnTo>
                      <a:pt x="0" y="174"/>
                    </a:lnTo>
                    <a:lnTo>
                      <a:pt x="0" y="174"/>
                    </a:lnTo>
                    <a:lnTo>
                      <a:pt x="0" y="176"/>
                    </a:lnTo>
                    <a:lnTo>
                      <a:pt x="2" y="176"/>
                    </a:lnTo>
                    <a:lnTo>
                      <a:pt x="2" y="176"/>
                    </a:lnTo>
                    <a:lnTo>
                      <a:pt x="22" y="170"/>
                    </a:lnTo>
                    <a:lnTo>
                      <a:pt x="38" y="166"/>
                    </a:lnTo>
                    <a:lnTo>
                      <a:pt x="56" y="164"/>
                    </a:lnTo>
                    <a:lnTo>
                      <a:pt x="56" y="164"/>
                    </a:lnTo>
                    <a:lnTo>
                      <a:pt x="72" y="166"/>
                    </a:lnTo>
                    <a:lnTo>
                      <a:pt x="88" y="170"/>
                    </a:lnTo>
                    <a:lnTo>
                      <a:pt x="108" y="176"/>
                    </a:lnTo>
                    <a:lnTo>
                      <a:pt x="108" y="176"/>
                    </a:lnTo>
                    <a:lnTo>
                      <a:pt x="110" y="176"/>
                    </a:lnTo>
                    <a:lnTo>
                      <a:pt x="110" y="174"/>
                    </a:lnTo>
                    <a:lnTo>
                      <a:pt x="110" y="174"/>
                    </a:lnTo>
                    <a:close/>
                    <a:moveTo>
                      <a:pt x="56" y="72"/>
                    </a:moveTo>
                    <a:lnTo>
                      <a:pt x="56" y="72"/>
                    </a:lnTo>
                    <a:lnTo>
                      <a:pt x="60" y="74"/>
                    </a:lnTo>
                    <a:lnTo>
                      <a:pt x="64" y="76"/>
                    </a:lnTo>
                    <a:lnTo>
                      <a:pt x="66" y="80"/>
                    </a:lnTo>
                    <a:lnTo>
                      <a:pt x="68" y="84"/>
                    </a:lnTo>
                    <a:lnTo>
                      <a:pt x="68" y="84"/>
                    </a:lnTo>
                    <a:lnTo>
                      <a:pt x="66" y="90"/>
                    </a:lnTo>
                    <a:lnTo>
                      <a:pt x="64" y="94"/>
                    </a:lnTo>
                    <a:lnTo>
                      <a:pt x="60" y="96"/>
                    </a:lnTo>
                    <a:lnTo>
                      <a:pt x="56" y="98"/>
                    </a:lnTo>
                    <a:lnTo>
                      <a:pt x="56" y="98"/>
                    </a:lnTo>
                    <a:lnTo>
                      <a:pt x="50" y="96"/>
                    </a:lnTo>
                    <a:lnTo>
                      <a:pt x="46" y="94"/>
                    </a:lnTo>
                    <a:lnTo>
                      <a:pt x="44" y="90"/>
                    </a:lnTo>
                    <a:lnTo>
                      <a:pt x="42" y="84"/>
                    </a:lnTo>
                    <a:lnTo>
                      <a:pt x="42" y="84"/>
                    </a:lnTo>
                    <a:lnTo>
                      <a:pt x="44" y="80"/>
                    </a:lnTo>
                    <a:lnTo>
                      <a:pt x="46" y="76"/>
                    </a:lnTo>
                    <a:lnTo>
                      <a:pt x="50" y="74"/>
                    </a:lnTo>
                    <a:lnTo>
                      <a:pt x="56" y="72"/>
                    </a:lnTo>
                    <a:lnTo>
                      <a:pt x="56" y="72"/>
                    </a:lnTo>
                    <a:close/>
                    <a:moveTo>
                      <a:pt x="56" y="144"/>
                    </a:moveTo>
                    <a:lnTo>
                      <a:pt x="56" y="144"/>
                    </a:lnTo>
                    <a:lnTo>
                      <a:pt x="48" y="142"/>
                    </a:lnTo>
                    <a:lnTo>
                      <a:pt x="42" y="138"/>
                    </a:lnTo>
                    <a:lnTo>
                      <a:pt x="38" y="132"/>
                    </a:lnTo>
                    <a:lnTo>
                      <a:pt x="36" y="124"/>
                    </a:lnTo>
                    <a:lnTo>
                      <a:pt x="36" y="124"/>
                    </a:lnTo>
                    <a:lnTo>
                      <a:pt x="38" y="118"/>
                    </a:lnTo>
                    <a:lnTo>
                      <a:pt x="42" y="112"/>
                    </a:lnTo>
                    <a:lnTo>
                      <a:pt x="48" y="108"/>
                    </a:lnTo>
                    <a:lnTo>
                      <a:pt x="56" y="106"/>
                    </a:lnTo>
                    <a:lnTo>
                      <a:pt x="56" y="106"/>
                    </a:lnTo>
                    <a:lnTo>
                      <a:pt x="62" y="108"/>
                    </a:lnTo>
                    <a:lnTo>
                      <a:pt x="68" y="112"/>
                    </a:lnTo>
                    <a:lnTo>
                      <a:pt x="72" y="118"/>
                    </a:lnTo>
                    <a:lnTo>
                      <a:pt x="74" y="124"/>
                    </a:lnTo>
                    <a:lnTo>
                      <a:pt x="74" y="124"/>
                    </a:lnTo>
                    <a:lnTo>
                      <a:pt x="72" y="132"/>
                    </a:lnTo>
                    <a:lnTo>
                      <a:pt x="68" y="138"/>
                    </a:lnTo>
                    <a:lnTo>
                      <a:pt x="62" y="142"/>
                    </a:lnTo>
                    <a:lnTo>
                      <a:pt x="56" y="144"/>
                    </a:lnTo>
                    <a:lnTo>
                      <a:pt x="56" y="14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4" name="Freeform 34"/>
              <p:cNvSpPr>
                <a:spLocks/>
              </p:cNvSpPr>
              <p:nvPr/>
            </p:nvSpPr>
            <p:spPr bwMode="auto">
              <a:xfrm>
                <a:off x="14536144" y="-629285"/>
                <a:ext cx="101261" cy="354413"/>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5" name="Freeform 35"/>
              <p:cNvSpPr>
                <a:spLocks/>
              </p:cNvSpPr>
              <p:nvPr/>
            </p:nvSpPr>
            <p:spPr bwMode="auto">
              <a:xfrm>
                <a:off x="14618419" y="-603970"/>
                <a:ext cx="88603" cy="310112"/>
              </a:xfrm>
              <a:custGeom>
                <a:avLst/>
                <a:gdLst/>
                <a:ahLst/>
                <a:cxnLst>
                  <a:cxn ang="0">
                    <a:pos x="18" y="0"/>
                  </a:cxn>
                  <a:cxn ang="0">
                    <a:pos x="18" y="0"/>
                  </a:cxn>
                  <a:cxn ang="0">
                    <a:pos x="10" y="10"/>
                  </a:cxn>
                  <a:cxn ang="0">
                    <a:pos x="4" y="22"/>
                  </a:cxn>
                  <a:cxn ang="0">
                    <a:pos x="0" y="34"/>
                  </a:cxn>
                  <a:cxn ang="0">
                    <a:pos x="0" y="46"/>
                  </a:cxn>
                  <a:cxn ang="0">
                    <a:pos x="0" y="46"/>
                  </a:cxn>
                  <a:cxn ang="0">
                    <a:pos x="0" y="60"/>
                  </a:cxn>
                  <a:cxn ang="0">
                    <a:pos x="4" y="72"/>
                  </a:cxn>
                  <a:cxn ang="0">
                    <a:pos x="12" y="84"/>
                  </a:cxn>
                  <a:cxn ang="0">
                    <a:pos x="20" y="96"/>
                  </a:cxn>
                  <a:cxn ang="0">
                    <a:pos x="20" y="96"/>
                  </a:cxn>
                  <a:cxn ang="0">
                    <a:pos x="24" y="98"/>
                  </a:cxn>
                  <a:cxn ang="0">
                    <a:pos x="26" y="96"/>
                  </a:cxn>
                  <a:cxn ang="0">
                    <a:pos x="26" y="96"/>
                  </a:cxn>
                  <a:cxn ang="0">
                    <a:pos x="28" y="94"/>
                  </a:cxn>
                  <a:cxn ang="0">
                    <a:pos x="26" y="90"/>
                  </a:cxn>
                  <a:cxn ang="0">
                    <a:pos x="26" y="90"/>
                  </a:cxn>
                  <a:cxn ang="0">
                    <a:pos x="18" y="80"/>
                  </a:cxn>
                  <a:cxn ang="0">
                    <a:pos x="12" y="70"/>
                  </a:cxn>
                  <a:cxn ang="0">
                    <a:pos x="8" y="58"/>
                  </a:cxn>
                  <a:cxn ang="0">
                    <a:pos x="8" y="46"/>
                  </a:cxn>
                  <a:cxn ang="0">
                    <a:pos x="8" y="46"/>
                  </a:cxn>
                  <a:cxn ang="0">
                    <a:pos x="8" y="36"/>
                  </a:cxn>
                  <a:cxn ang="0">
                    <a:pos x="12" y="24"/>
                  </a:cxn>
                  <a:cxn ang="0">
                    <a:pos x="16" y="16"/>
                  </a:cxn>
                  <a:cxn ang="0">
                    <a:pos x="24" y="6"/>
                  </a:cxn>
                  <a:cxn ang="0">
                    <a:pos x="24" y="6"/>
                  </a:cxn>
                  <a:cxn ang="0">
                    <a:pos x="24" y="4"/>
                  </a:cxn>
                  <a:cxn ang="0">
                    <a:pos x="24" y="0"/>
                  </a:cxn>
                  <a:cxn ang="0">
                    <a:pos x="24" y="0"/>
                  </a:cxn>
                  <a:cxn ang="0">
                    <a:pos x="20" y="0"/>
                  </a:cxn>
                  <a:cxn ang="0">
                    <a:pos x="18" y="0"/>
                  </a:cxn>
                  <a:cxn ang="0">
                    <a:pos x="18" y="0"/>
                  </a:cxn>
                </a:cxnLst>
                <a:rect l="0" t="0" r="r" b="b"/>
                <a:pathLst>
                  <a:path w="28" h="98">
                    <a:moveTo>
                      <a:pt x="18" y="0"/>
                    </a:moveTo>
                    <a:lnTo>
                      <a:pt x="18" y="0"/>
                    </a:lnTo>
                    <a:lnTo>
                      <a:pt x="10" y="10"/>
                    </a:lnTo>
                    <a:lnTo>
                      <a:pt x="4" y="22"/>
                    </a:lnTo>
                    <a:lnTo>
                      <a:pt x="0" y="34"/>
                    </a:lnTo>
                    <a:lnTo>
                      <a:pt x="0" y="46"/>
                    </a:lnTo>
                    <a:lnTo>
                      <a:pt x="0" y="46"/>
                    </a:lnTo>
                    <a:lnTo>
                      <a:pt x="0" y="60"/>
                    </a:lnTo>
                    <a:lnTo>
                      <a:pt x="4" y="72"/>
                    </a:lnTo>
                    <a:lnTo>
                      <a:pt x="12" y="84"/>
                    </a:lnTo>
                    <a:lnTo>
                      <a:pt x="20" y="96"/>
                    </a:lnTo>
                    <a:lnTo>
                      <a:pt x="20" y="96"/>
                    </a:lnTo>
                    <a:lnTo>
                      <a:pt x="24" y="98"/>
                    </a:lnTo>
                    <a:lnTo>
                      <a:pt x="26" y="96"/>
                    </a:lnTo>
                    <a:lnTo>
                      <a:pt x="26" y="96"/>
                    </a:lnTo>
                    <a:lnTo>
                      <a:pt x="28" y="94"/>
                    </a:lnTo>
                    <a:lnTo>
                      <a:pt x="26" y="90"/>
                    </a:lnTo>
                    <a:lnTo>
                      <a:pt x="26" y="90"/>
                    </a:lnTo>
                    <a:lnTo>
                      <a:pt x="18" y="80"/>
                    </a:lnTo>
                    <a:lnTo>
                      <a:pt x="12" y="70"/>
                    </a:lnTo>
                    <a:lnTo>
                      <a:pt x="8" y="58"/>
                    </a:lnTo>
                    <a:lnTo>
                      <a:pt x="8" y="46"/>
                    </a:lnTo>
                    <a:lnTo>
                      <a:pt x="8" y="46"/>
                    </a:lnTo>
                    <a:lnTo>
                      <a:pt x="8" y="36"/>
                    </a:lnTo>
                    <a:lnTo>
                      <a:pt x="12" y="24"/>
                    </a:lnTo>
                    <a:lnTo>
                      <a:pt x="16" y="16"/>
                    </a:lnTo>
                    <a:lnTo>
                      <a:pt x="24" y="6"/>
                    </a:lnTo>
                    <a:lnTo>
                      <a:pt x="24" y="6"/>
                    </a:lnTo>
                    <a:lnTo>
                      <a:pt x="24" y="4"/>
                    </a:lnTo>
                    <a:lnTo>
                      <a:pt x="24" y="0"/>
                    </a:lnTo>
                    <a:lnTo>
                      <a:pt x="24" y="0"/>
                    </a:lnTo>
                    <a:lnTo>
                      <a:pt x="20" y="0"/>
                    </a:lnTo>
                    <a:lnTo>
                      <a:pt x="18" y="0"/>
                    </a:lnTo>
                    <a:lnTo>
                      <a:pt x="18"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6" name="Freeform 36"/>
              <p:cNvSpPr>
                <a:spLocks/>
              </p:cNvSpPr>
              <p:nvPr/>
            </p:nvSpPr>
            <p:spPr bwMode="auto">
              <a:xfrm>
                <a:off x="14694364" y="-578655"/>
                <a:ext cx="82274" cy="259481"/>
              </a:xfrm>
              <a:custGeom>
                <a:avLst/>
                <a:gdLst/>
                <a:ahLst/>
                <a:cxnLst>
                  <a:cxn ang="0">
                    <a:pos x="16" y="0"/>
                  </a:cxn>
                  <a:cxn ang="0">
                    <a:pos x="16" y="0"/>
                  </a:cxn>
                  <a:cxn ang="0">
                    <a:pos x="8" y="8"/>
                  </a:cxn>
                  <a:cxn ang="0">
                    <a:pos x="4" y="18"/>
                  </a:cxn>
                  <a:cxn ang="0">
                    <a:pos x="2" y="28"/>
                  </a:cxn>
                  <a:cxn ang="0">
                    <a:pos x="0" y="38"/>
                  </a:cxn>
                  <a:cxn ang="0">
                    <a:pos x="0" y="38"/>
                  </a:cxn>
                  <a:cxn ang="0">
                    <a:pos x="2" y="50"/>
                  </a:cxn>
                  <a:cxn ang="0">
                    <a:pos x="4" y="60"/>
                  </a:cxn>
                  <a:cxn ang="0">
                    <a:pos x="10" y="72"/>
                  </a:cxn>
                  <a:cxn ang="0">
                    <a:pos x="18" y="80"/>
                  </a:cxn>
                  <a:cxn ang="0">
                    <a:pos x="18" y="80"/>
                  </a:cxn>
                  <a:cxn ang="0">
                    <a:pos x="22" y="82"/>
                  </a:cxn>
                  <a:cxn ang="0">
                    <a:pos x="24" y="80"/>
                  </a:cxn>
                  <a:cxn ang="0">
                    <a:pos x="24" y="80"/>
                  </a:cxn>
                  <a:cxn ang="0">
                    <a:pos x="26" y="78"/>
                  </a:cxn>
                  <a:cxn ang="0">
                    <a:pos x="24" y="74"/>
                  </a:cxn>
                  <a:cxn ang="0">
                    <a:pos x="24" y="74"/>
                  </a:cxn>
                  <a:cxn ang="0">
                    <a:pos x="18" y="66"/>
                  </a:cxn>
                  <a:cxn ang="0">
                    <a:pos x="12" y="58"/>
                  </a:cxn>
                  <a:cxn ang="0">
                    <a:pos x="10" y="48"/>
                  </a:cxn>
                  <a:cxn ang="0">
                    <a:pos x="8" y="38"/>
                  </a:cxn>
                  <a:cxn ang="0">
                    <a:pos x="8" y="38"/>
                  </a:cxn>
                  <a:cxn ang="0">
                    <a:pos x="10" y="30"/>
                  </a:cxn>
                  <a:cxn ang="0">
                    <a:pos x="12" y="22"/>
                  </a:cxn>
                  <a:cxn ang="0">
                    <a:pos x="16" y="14"/>
                  </a:cxn>
                  <a:cxn ang="0">
                    <a:pos x="22" y="6"/>
                  </a:cxn>
                  <a:cxn ang="0">
                    <a:pos x="22" y="6"/>
                  </a:cxn>
                  <a:cxn ang="0">
                    <a:pos x="22" y="4"/>
                  </a:cxn>
                  <a:cxn ang="0">
                    <a:pos x="22" y="0"/>
                  </a:cxn>
                  <a:cxn ang="0">
                    <a:pos x="22" y="0"/>
                  </a:cxn>
                  <a:cxn ang="0">
                    <a:pos x="18" y="0"/>
                  </a:cxn>
                  <a:cxn ang="0">
                    <a:pos x="16" y="0"/>
                  </a:cxn>
                  <a:cxn ang="0">
                    <a:pos x="16" y="0"/>
                  </a:cxn>
                </a:cxnLst>
                <a:rect l="0" t="0" r="r" b="b"/>
                <a:pathLst>
                  <a:path w="26" h="82">
                    <a:moveTo>
                      <a:pt x="16" y="0"/>
                    </a:moveTo>
                    <a:lnTo>
                      <a:pt x="16" y="0"/>
                    </a:lnTo>
                    <a:lnTo>
                      <a:pt x="8" y="8"/>
                    </a:lnTo>
                    <a:lnTo>
                      <a:pt x="4" y="18"/>
                    </a:lnTo>
                    <a:lnTo>
                      <a:pt x="2" y="28"/>
                    </a:lnTo>
                    <a:lnTo>
                      <a:pt x="0" y="38"/>
                    </a:lnTo>
                    <a:lnTo>
                      <a:pt x="0" y="38"/>
                    </a:lnTo>
                    <a:lnTo>
                      <a:pt x="2" y="50"/>
                    </a:lnTo>
                    <a:lnTo>
                      <a:pt x="4" y="60"/>
                    </a:lnTo>
                    <a:lnTo>
                      <a:pt x="10" y="72"/>
                    </a:lnTo>
                    <a:lnTo>
                      <a:pt x="18" y="80"/>
                    </a:lnTo>
                    <a:lnTo>
                      <a:pt x="18" y="80"/>
                    </a:lnTo>
                    <a:lnTo>
                      <a:pt x="22" y="82"/>
                    </a:lnTo>
                    <a:lnTo>
                      <a:pt x="24" y="80"/>
                    </a:lnTo>
                    <a:lnTo>
                      <a:pt x="24" y="80"/>
                    </a:lnTo>
                    <a:lnTo>
                      <a:pt x="26" y="78"/>
                    </a:lnTo>
                    <a:lnTo>
                      <a:pt x="24" y="74"/>
                    </a:lnTo>
                    <a:lnTo>
                      <a:pt x="24" y="74"/>
                    </a:lnTo>
                    <a:lnTo>
                      <a:pt x="18" y="66"/>
                    </a:lnTo>
                    <a:lnTo>
                      <a:pt x="12" y="58"/>
                    </a:lnTo>
                    <a:lnTo>
                      <a:pt x="10" y="48"/>
                    </a:lnTo>
                    <a:lnTo>
                      <a:pt x="8" y="38"/>
                    </a:lnTo>
                    <a:lnTo>
                      <a:pt x="8" y="38"/>
                    </a:lnTo>
                    <a:lnTo>
                      <a:pt x="10" y="30"/>
                    </a:lnTo>
                    <a:lnTo>
                      <a:pt x="12" y="22"/>
                    </a:lnTo>
                    <a:lnTo>
                      <a:pt x="16" y="14"/>
                    </a:lnTo>
                    <a:lnTo>
                      <a:pt x="22" y="6"/>
                    </a:lnTo>
                    <a:lnTo>
                      <a:pt x="22" y="6"/>
                    </a:lnTo>
                    <a:lnTo>
                      <a:pt x="22" y="4"/>
                    </a:lnTo>
                    <a:lnTo>
                      <a:pt x="22" y="0"/>
                    </a:lnTo>
                    <a:lnTo>
                      <a:pt x="22" y="0"/>
                    </a:lnTo>
                    <a:lnTo>
                      <a:pt x="18" y="0"/>
                    </a:lnTo>
                    <a:lnTo>
                      <a:pt x="16" y="0"/>
                    </a:lnTo>
                    <a:lnTo>
                      <a:pt x="16"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7" name="Freeform 37"/>
              <p:cNvSpPr>
                <a:spLocks/>
              </p:cNvSpPr>
              <p:nvPr/>
            </p:nvSpPr>
            <p:spPr bwMode="auto">
              <a:xfrm>
                <a:off x="14776639" y="-559668"/>
                <a:ext cx="69617" cy="215179"/>
              </a:xfrm>
              <a:custGeom>
                <a:avLst/>
                <a:gdLst/>
                <a:ahLst/>
                <a:cxnLst>
                  <a:cxn ang="0">
                    <a:pos x="12" y="2"/>
                  </a:cxn>
                  <a:cxn ang="0">
                    <a:pos x="12" y="2"/>
                  </a:cxn>
                  <a:cxn ang="0">
                    <a:pos x="6" y="8"/>
                  </a:cxn>
                  <a:cxn ang="0">
                    <a:pos x="2" y="16"/>
                  </a:cxn>
                  <a:cxn ang="0">
                    <a:pos x="0" y="24"/>
                  </a:cxn>
                  <a:cxn ang="0">
                    <a:pos x="0" y="32"/>
                  </a:cxn>
                  <a:cxn ang="0">
                    <a:pos x="0" y="32"/>
                  </a:cxn>
                  <a:cxn ang="0">
                    <a:pos x="0" y="42"/>
                  </a:cxn>
                  <a:cxn ang="0">
                    <a:pos x="4" y="50"/>
                  </a:cxn>
                  <a:cxn ang="0">
                    <a:pos x="8" y="60"/>
                  </a:cxn>
                  <a:cxn ang="0">
                    <a:pos x="14" y="68"/>
                  </a:cxn>
                  <a:cxn ang="0">
                    <a:pos x="14" y="68"/>
                  </a:cxn>
                  <a:cxn ang="0">
                    <a:pos x="18" y="68"/>
                  </a:cxn>
                  <a:cxn ang="0">
                    <a:pos x="20" y="68"/>
                  </a:cxn>
                  <a:cxn ang="0">
                    <a:pos x="20" y="68"/>
                  </a:cxn>
                  <a:cxn ang="0">
                    <a:pos x="22" y="64"/>
                  </a:cxn>
                  <a:cxn ang="0">
                    <a:pos x="20" y="62"/>
                  </a:cxn>
                  <a:cxn ang="0">
                    <a:pos x="20" y="62"/>
                  </a:cxn>
                  <a:cxn ang="0">
                    <a:pos x="14" y="54"/>
                  </a:cxn>
                  <a:cxn ang="0">
                    <a:pos x="12" y="48"/>
                  </a:cxn>
                  <a:cxn ang="0">
                    <a:pos x="8" y="40"/>
                  </a:cxn>
                  <a:cxn ang="0">
                    <a:pos x="8" y="32"/>
                  </a:cxn>
                  <a:cxn ang="0">
                    <a:pos x="8" y="32"/>
                  </a:cxn>
                  <a:cxn ang="0">
                    <a:pos x="8" y="26"/>
                  </a:cxn>
                  <a:cxn ang="0">
                    <a:pos x="10" y="20"/>
                  </a:cxn>
                  <a:cxn ang="0">
                    <a:pos x="14" y="14"/>
                  </a:cxn>
                  <a:cxn ang="0">
                    <a:pos x="18" y="8"/>
                  </a:cxn>
                  <a:cxn ang="0">
                    <a:pos x="18" y="8"/>
                  </a:cxn>
                  <a:cxn ang="0">
                    <a:pos x="20" y="4"/>
                  </a:cxn>
                  <a:cxn ang="0">
                    <a:pos x="18" y="2"/>
                  </a:cxn>
                  <a:cxn ang="0">
                    <a:pos x="18" y="2"/>
                  </a:cxn>
                  <a:cxn ang="0">
                    <a:pos x="16" y="0"/>
                  </a:cxn>
                  <a:cxn ang="0">
                    <a:pos x="12" y="2"/>
                  </a:cxn>
                  <a:cxn ang="0">
                    <a:pos x="12" y="2"/>
                  </a:cxn>
                </a:cxnLst>
                <a:rect l="0" t="0" r="r" b="b"/>
                <a:pathLst>
                  <a:path w="22" h="68">
                    <a:moveTo>
                      <a:pt x="12" y="2"/>
                    </a:moveTo>
                    <a:lnTo>
                      <a:pt x="12" y="2"/>
                    </a:lnTo>
                    <a:lnTo>
                      <a:pt x="6" y="8"/>
                    </a:lnTo>
                    <a:lnTo>
                      <a:pt x="2" y="16"/>
                    </a:lnTo>
                    <a:lnTo>
                      <a:pt x="0" y="24"/>
                    </a:lnTo>
                    <a:lnTo>
                      <a:pt x="0" y="32"/>
                    </a:lnTo>
                    <a:lnTo>
                      <a:pt x="0" y="32"/>
                    </a:lnTo>
                    <a:lnTo>
                      <a:pt x="0" y="42"/>
                    </a:lnTo>
                    <a:lnTo>
                      <a:pt x="4" y="50"/>
                    </a:lnTo>
                    <a:lnTo>
                      <a:pt x="8" y="60"/>
                    </a:lnTo>
                    <a:lnTo>
                      <a:pt x="14" y="68"/>
                    </a:lnTo>
                    <a:lnTo>
                      <a:pt x="14" y="68"/>
                    </a:lnTo>
                    <a:lnTo>
                      <a:pt x="18" y="68"/>
                    </a:lnTo>
                    <a:lnTo>
                      <a:pt x="20" y="68"/>
                    </a:lnTo>
                    <a:lnTo>
                      <a:pt x="20" y="68"/>
                    </a:lnTo>
                    <a:lnTo>
                      <a:pt x="22" y="64"/>
                    </a:lnTo>
                    <a:lnTo>
                      <a:pt x="20" y="62"/>
                    </a:lnTo>
                    <a:lnTo>
                      <a:pt x="20" y="62"/>
                    </a:lnTo>
                    <a:lnTo>
                      <a:pt x="14" y="54"/>
                    </a:lnTo>
                    <a:lnTo>
                      <a:pt x="12" y="48"/>
                    </a:lnTo>
                    <a:lnTo>
                      <a:pt x="8" y="40"/>
                    </a:lnTo>
                    <a:lnTo>
                      <a:pt x="8" y="32"/>
                    </a:lnTo>
                    <a:lnTo>
                      <a:pt x="8" y="32"/>
                    </a:lnTo>
                    <a:lnTo>
                      <a:pt x="8" y="26"/>
                    </a:lnTo>
                    <a:lnTo>
                      <a:pt x="10" y="20"/>
                    </a:lnTo>
                    <a:lnTo>
                      <a:pt x="14" y="14"/>
                    </a:lnTo>
                    <a:lnTo>
                      <a:pt x="18" y="8"/>
                    </a:lnTo>
                    <a:lnTo>
                      <a:pt x="18" y="8"/>
                    </a:lnTo>
                    <a:lnTo>
                      <a:pt x="20" y="4"/>
                    </a:lnTo>
                    <a:lnTo>
                      <a:pt x="18" y="2"/>
                    </a:lnTo>
                    <a:lnTo>
                      <a:pt x="18" y="2"/>
                    </a:lnTo>
                    <a:lnTo>
                      <a:pt x="16" y="0"/>
                    </a:lnTo>
                    <a:lnTo>
                      <a:pt x="12" y="2"/>
                    </a:lnTo>
                    <a:lnTo>
                      <a:pt x="12" y="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8" name="Freeform 38"/>
              <p:cNvSpPr>
                <a:spLocks/>
              </p:cNvSpPr>
              <p:nvPr/>
            </p:nvSpPr>
            <p:spPr bwMode="auto">
              <a:xfrm>
                <a:off x="15042449" y="-793834"/>
                <a:ext cx="265810" cy="253152"/>
              </a:xfrm>
              <a:custGeom>
                <a:avLst/>
                <a:gdLst/>
                <a:ahLst/>
                <a:cxnLst>
                  <a:cxn ang="0">
                    <a:pos x="84" y="76"/>
                  </a:cxn>
                  <a:cxn ang="0">
                    <a:pos x="84" y="76"/>
                  </a:cxn>
                  <a:cxn ang="0">
                    <a:pos x="84" y="60"/>
                  </a:cxn>
                  <a:cxn ang="0">
                    <a:pos x="78" y="46"/>
                  </a:cxn>
                  <a:cxn ang="0">
                    <a:pos x="72" y="34"/>
                  </a:cxn>
                  <a:cxn ang="0">
                    <a:pos x="62" y="24"/>
                  </a:cxn>
                  <a:cxn ang="0">
                    <a:pos x="62" y="24"/>
                  </a:cxn>
                  <a:cxn ang="0">
                    <a:pos x="50" y="14"/>
                  </a:cxn>
                  <a:cxn ang="0">
                    <a:pos x="36" y="6"/>
                  </a:cxn>
                  <a:cxn ang="0">
                    <a:pos x="22" y="2"/>
                  </a:cxn>
                  <a:cxn ang="0">
                    <a:pos x="4" y="0"/>
                  </a:cxn>
                  <a:cxn ang="0">
                    <a:pos x="4" y="0"/>
                  </a:cxn>
                  <a:cxn ang="0">
                    <a:pos x="2" y="0"/>
                  </a:cxn>
                  <a:cxn ang="0">
                    <a:pos x="0" y="4"/>
                  </a:cxn>
                  <a:cxn ang="0">
                    <a:pos x="0" y="4"/>
                  </a:cxn>
                  <a:cxn ang="0">
                    <a:pos x="2" y="6"/>
                  </a:cxn>
                  <a:cxn ang="0">
                    <a:pos x="4" y="8"/>
                  </a:cxn>
                  <a:cxn ang="0">
                    <a:pos x="4" y="8"/>
                  </a:cxn>
                  <a:cxn ang="0">
                    <a:pos x="20" y="10"/>
                  </a:cxn>
                  <a:cxn ang="0">
                    <a:pos x="34" y="14"/>
                  </a:cxn>
                  <a:cxn ang="0">
                    <a:pos x="46" y="20"/>
                  </a:cxn>
                  <a:cxn ang="0">
                    <a:pos x="58" y="30"/>
                  </a:cxn>
                  <a:cxn ang="0">
                    <a:pos x="58" y="30"/>
                  </a:cxn>
                  <a:cxn ang="0">
                    <a:pos x="66" y="40"/>
                  </a:cxn>
                  <a:cxn ang="0">
                    <a:pos x="72" y="50"/>
                  </a:cxn>
                  <a:cxn ang="0">
                    <a:pos x="74" y="62"/>
                  </a:cxn>
                  <a:cxn ang="0">
                    <a:pos x="76" y="76"/>
                  </a:cxn>
                  <a:cxn ang="0">
                    <a:pos x="76" y="76"/>
                  </a:cxn>
                  <a:cxn ang="0">
                    <a:pos x="78" y="78"/>
                  </a:cxn>
                  <a:cxn ang="0">
                    <a:pos x="80" y="80"/>
                  </a:cxn>
                  <a:cxn ang="0">
                    <a:pos x="80" y="80"/>
                  </a:cxn>
                  <a:cxn ang="0">
                    <a:pos x="84" y="78"/>
                  </a:cxn>
                  <a:cxn ang="0">
                    <a:pos x="84" y="76"/>
                  </a:cxn>
                  <a:cxn ang="0">
                    <a:pos x="84" y="76"/>
                  </a:cxn>
                </a:cxnLst>
                <a:rect l="0" t="0" r="r" b="b"/>
                <a:pathLst>
                  <a:path w="84" h="80">
                    <a:moveTo>
                      <a:pt x="84" y="76"/>
                    </a:moveTo>
                    <a:lnTo>
                      <a:pt x="84" y="76"/>
                    </a:lnTo>
                    <a:lnTo>
                      <a:pt x="84" y="60"/>
                    </a:lnTo>
                    <a:lnTo>
                      <a:pt x="78" y="46"/>
                    </a:lnTo>
                    <a:lnTo>
                      <a:pt x="72" y="34"/>
                    </a:lnTo>
                    <a:lnTo>
                      <a:pt x="62" y="24"/>
                    </a:lnTo>
                    <a:lnTo>
                      <a:pt x="62" y="24"/>
                    </a:lnTo>
                    <a:lnTo>
                      <a:pt x="50" y="14"/>
                    </a:lnTo>
                    <a:lnTo>
                      <a:pt x="36" y="6"/>
                    </a:lnTo>
                    <a:lnTo>
                      <a:pt x="22" y="2"/>
                    </a:lnTo>
                    <a:lnTo>
                      <a:pt x="4" y="0"/>
                    </a:lnTo>
                    <a:lnTo>
                      <a:pt x="4" y="0"/>
                    </a:lnTo>
                    <a:lnTo>
                      <a:pt x="2" y="0"/>
                    </a:lnTo>
                    <a:lnTo>
                      <a:pt x="0" y="4"/>
                    </a:lnTo>
                    <a:lnTo>
                      <a:pt x="0" y="4"/>
                    </a:lnTo>
                    <a:lnTo>
                      <a:pt x="2" y="6"/>
                    </a:lnTo>
                    <a:lnTo>
                      <a:pt x="4" y="8"/>
                    </a:lnTo>
                    <a:lnTo>
                      <a:pt x="4" y="8"/>
                    </a:lnTo>
                    <a:lnTo>
                      <a:pt x="20" y="10"/>
                    </a:lnTo>
                    <a:lnTo>
                      <a:pt x="34" y="14"/>
                    </a:lnTo>
                    <a:lnTo>
                      <a:pt x="46" y="20"/>
                    </a:lnTo>
                    <a:lnTo>
                      <a:pt x="58" y="30"/>
                    </a:lnTo>
                    <a:lnTo>
                      <a:pt x="58" y="30"/>
                    </a:lnTo>
                    <a:lnTo>
                      <a:pt x="66" y="40"/>
                    </a:lnTo>
                    <a:lnTo>
                      <a:pt x="72" y="50"/>
                    </a:lnTo>
                    <a:lnTo>
                      <a:pt x="74" y="62"/>
                    </a:lnTo>
                    <a:lnTo>
                      <a:pt x="76" y="76"/>
                    </a:lnTo>
                    <a:lnTo>
                      <a:pt x="76" y="76"/>
                    </a:lnTo>
                    <a:lnTo>
                      <a:pt x="78" y="78"/>
                    </a:lnTo>
                    <a:lnTo>
                      <a:pt x="80" y="80"/>
                    </a:lnTo>
                    <a:lnTo>
                      <a:pt x="80" y="80"/>
                    </a:lnTo>
                    <a:lnTo>
                      <a:pt x="84" y="78"/>
                    </a:lnTo>
                    <a:lnTo>
                      <a:pt x="84" y="76"/>
                    </a:lnTo>
                    <a:lnTo>
                      <a:pt x="84" y="7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9" name="Freeform 39"/>
              <p:cNvSpPr>
                <a:spLocks/>
              </p:cNvSpPr>
              <p:nvPr/>
            </p:nvSpPr>
            <p:spPr bwMode="auto">
              <a:xfrm>
                <a:off x="15010805" y="-730546"/>
                <a:ext cx="234166" cy="221508"/>
              </a:xfrm>
              <a:custGeom>
                <a:avLst/>
                <a:gdLst/>
                <a:ahLst/>
                <a:cxnLst>
                  <a:cxn ang="0">
                    <a:pos x="74" y="66"/>
                  </a:cxn>
                  <a:cxn ang="0">
                    <a:pos x="74" y="66"/>
                  </a:cxn>
                  <a:cxn ang="0">
                    <a:pos x="72" y="52"/>
                  </a:cxn>
                  <a:cxn ang="0">
                    <a:pos x="68" y="42"/>
                  </a:cxn>
                  <a:cxn ang="0">
                    <a:pos x="62" y="30"/>
                  </a:cxn>
                  <a:cxn ang="0">
                    <a:pos x="54" y="20"/>
                  </a:cxn>
                  <a:cxn ang="0">
                    <a:pos x="54" y="20"/>
                  </a:cxn>
                  <a:cxn ang="0">
                    <a:pos x="44" y="12"/>
                  </a:cxn>
                  <a:cxn ang="0">
                    <a:pos x="32" y="6"/>
                  </a:cxn>
                  <a:cxn ang="0">
                    <a:pos x="18" y="2"/>
                  </a:cxn>
                  <a:cxn ang="0">
                    <a:pos x="4" y="0"/>
                  </a:cxn>
                  <a:cxn ang="0">
                    <a:pos x="4" y="0"/>
                  </a:cxn>
                  <a:cxn ang="0">
                    <a:pos x="2" y="2"/>
                  </a:cxn>
                  <a:cxn ang="0">
                    <a:pos x="0" y="4"/>
                  </a:cxn>
                  <a:cxn ang="0">
                    <a:pos x="0" y="4"/>
                  </a:cxn>
                  <a:cxn ang="0">
                    <a:pos x="2" y="8"/>
                  </a:cxn>
                  <a:cxn ang="0">
                    <a:pos x="4" y="8"/>
                  </a:cxn>
                  <a:cxn ang="0">
                    <a:pos x="4" y="8"/>
                  </a:cxn>
                  <a:cxn ang="0">
                    <a:pos x="16" y="10"/>
                  </a:cxn>
                  <a:cxn ang="0">
                    <a:pos x="28" y="14"/>
                  </a:cxn>
                  <a:cxn ang="0">
                    <a:pos x="40" y="20"/>
                  </a:cxn>
                  <a:cxn ang="0">
                    <a:pos x="48" y="26"/>
                  </a:cxn>
                  <a:cxn ang="0">
                    <a:pos x="48" y="26"/>
                  </a:cxn>
                  <a:cxn ang="0">
                    <a:pos x="56" y="36"/>
                  </a:cxn>
                  <a:cxn ang="0">
                    <a:pos x="60" y="44"/>
                  </a:cxn>
                  <a:cxn ang="0">
                    <a:pos x="64" y="54"/>
                  </a:cxn>
                  <a:cxn ang="0">
                    <a:pos x="66" y="66"/>
                  </a:cxn>
                  <a:cxn ang="0">
                    <a:pos x="66" y="66"/>
                  </a:cxn>
                  <a:cxn ang="0">
                    <a:pos x="66" y="68"/>
                  </a:cxn>
                  <a:cxn ang="0">
                    <a:pos x="70" y="70"/>
                  </a:cxn>
                  <a:cxn ang="0">
                    <a:pos x="70" y="70"/>
                  </a:cxn>
                  <a:cxn ang="0">
                    <a:pos x="72" y="68"/>
                  </a:cxn>
                  <a:cxn ang="0">
                    <a:pos x="74" y="66"/>
                  </a:cxn>
                  <a:cxn ang="0">
                    <a:pos x="74" y="66"/>
                  </a:cxn>
                </a:cxnLst>
                <a:rect l="0" t="0" r="r" b="b"/>
                <a:pathLst>
                  <a:path w="74" h="70">
                    <a:moveTo>
                      <a:pt x="74" y="66"/>
                    </a:moveTo>
                    <a:lnTo>
                      <a:pt x="74" y="66"/>
                    </a:lnTo>
                    <a:lnTo>
                      <a:pt x="72" y="52"/>
                    </a:lnTo>
                    <a:lnTo>
                      <a:pt x="68" y="42"/>
                    </a:lnTo>
                    <a:lnTo>
                      <a:pt x="62" y="30"/>
                    </a:lnTo>
                    <a:lnTo>
                      <a:pt x="54" y="20"/>
                    </a:lnTo>
                    <a:lnTo>
                      <a:pt x="54" y="20"/>
                    </a:lnTo>
                    <a:lnTo>
                      <a:pt x="44" y="12"/>
                    </a:lnTo>
                    <a:lnTo>
                      <a:pt x="32" y="6"/>
                    </a:lnTo>
                    <a:lnTo>
                      <a:pt x="18" y="2"/>
                    </a:lnTo>
                    <a:lnTo>
                      <a:pt x="4" y="0"/>
                    </a:lnTo>
                    <a:lnTo>
                      <a:pt x="4" y="0"/>
                    </a:lnTo>
                    <a:lnTo>
                      <a:pt x="2" y="2"/>
                    </a:lnTo>
                    <a:lnTo>
                      <a:pt x="0" y="4"/>
                    </a:lnTo>
                    <a:lnTo>
                      <a:pt x="0" y="4"/>
                    </a:lnTo>
                    <a:lnTo>
                      <a:pt x="2" y="8"/>
                    </a:lnTo>
                    <a:lnTo>
                      <a:pt x="4" y="8"/>
                    </a:lnTo>
                    <a:lnTo>
                      <a:pt x="4" y="8"/>
                    </a:lnTo>
                    <a:lnTo>
                      <a:pt x="16" y="10"/>
                    </a:lnTo>
                    <a:lnTo>
                      <a:pt x="28" y="14"/>
                    </a:lnTo>
                    <a:lnTo>
                      <a:pt x="40" y="20"/>
                    </a:lnTo>
                    <a:lnTo>
                      <a:pt x="48" y="26"/>
                    </a:lnTo>
                    <a:lnTo>
                      <a:pt x="48" y="26"/>
                    </a:lnTo>
                    <a:lnTo>
                      <a:pt x="56" y="36"/>
                    </a:lnTo>
                    <a:lnTo>
                      <a:pt x="60" y="44"/>
                    </a:lnTo>
                    <a:lnTo>
                      <a:pt x="64" y="54"/>
                    </a:lnTo>
                    <a:lnTo>
                      <a:pt x="66" y="66"/>
                    </a:lnTo>
                    <a:lnTo>
                      <a:pt x="66" y="66"/>
                    </a:lnTo>
                    <a:lnTo>
                      <a:pt x="66" y="68"/>
                    </a:lnTo>
                    <a:lnTo>
                      <a:pt x="70" y="70"/>
                    </a:lnTo>
                    <a:lnTo>
                      <a:pt x="70" y="70"/>
                    </a:lnTo>
                    <a:lnTo>
                      <a:pt x="72" y="68"/>
                    </a:lnTo>
                    <a:lnTo>
                      <a:pt x="74" y="66"/>
                    </a:lnTo>
                    <a:lnTo>
                      <a:pt x="74" y="6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100" name="Freeform 40"/>
              <p:cNvSpPr>
                <a:spLocks/>
              </p:cNvSpPr>
              <p:nvPr/>
            </p:nvSpPr>
            <p:spPr bwMode="auto">
              <a:xfrm>
                <a:off x="14979161" y="-660929"/>
                <a:ext cx="196193" cy="183535"/>
              </a:xfrm>
              <a:custGeom>
                <a:avLst/>
                <a:gdLst/>
                <a:ahLst/>
                <a:cxnLst>
                  <a:cxn ang="0">
                    <a:pos x="62" y="54"/>
                  </a:cxn>
                  <a:cxn ang="0">
                    <a:pos x="62" y="54"/>
                  </a:cxn>
                  <a:cxn ang="0">
                    <a:pos x="62" y="44"/>
                  </a:cxn>
                  <a:cxn ang="0">
                    <a:pos x="58" y="34"/>
                  </a:cxn>
                  <a:cxn ang="0">
                    <a:pos x="54" y="24"/>
                  </a:cxn>
                  <a:cxn ang="0">
                    <a:pos x="46" y="16"/>
                  </a:cxn>
                  <a:cxn ang="0">
                    <a:pos x="46" y="16"/>
                  </a:cxn>
                  <a:cxn ang="0">
                    <a:pos x="38" y="10"/>
                  </a:cxn>
                  <a:cxn ang="0">
                    <a:pos x="28" y="4"/>
                  </a:cxn>
                  <a:cxn ang="0">
                    <a:pos x="16" y="0"/>
                  </a:cxn>
                  <a:cxn ang="0">
                    <a:pos x="4" y="0"/>
                  </a:cxn>
                  <a:cxn ang="0">
                    <a:pos x="4" y="0"/>
                  </a:cxn>
                  <a:cxn ang="0">
                    <a:pos x="0" y="0"/>
                  </a:cxn>
                  <a:cxn ang="0">
                    <a:pos x="0" y="4"/>
                  </a:cxn>
                  <a:cxn ang="0">
                    <a:pos x="0" y="4"/>
                  </a:cxn>
                  <a:cxn ang="0">
                    <a:pos x="0" y="6"/>
                  </a:cxn>
                  <a:cxn ang="0">
                    <a:pos x="4" y="8"/>
                  </a:cxn>
                  <a:cxn ang="0">
                    <a:pos x="4" y="8"/>
                  </a:cxn>
                  <a:cxn ang="0">
                    <a:pos x="14" y="8"/>
                  </a:cxn>
                  <a:cxn ang="0">
                    <a:pos x="24" y="12"/>
                  </a:cxn>
                  <a:cxn ang="0">
                    <a:pos x="34" y="16"/>
                  </a:cxn>
                  <a:cxn ang="0">
                    <a:pos x="40" y="22"/>
                  </a:cxn>
                  <a:cxn ang="0">
                    <a:pos x="40" y="22"/>
                  </a:cxn>
                  <a:cxn ang="0">
                    <a:pos x="46" y="30"/>
                  </a:cxn>
                  <a:cxn ang="0">
                    <a:pos x="50" y="36"/>
                  </a:cxn>
                  <a:cxn ang="0">
                    <a:pos x="54" y="46"/>
                  </a:cxn>
                  <a:cxn ang="0">
                    <a:pos x="54" y="54"/>
                  </a:cxn>
                  <a:cxn ang="0">
                    <a:pos x="54" y="54"/>
                  </a:cxn>
                  <a:cxn ang="0">
                    <a:pos x="56" y="58"/>
                  </a:cxn>
                  <a:cxn ang="0">
                    <a:pos x="58" y="58"/>
                  </a:cxn>
                  <a:cxn ang="0">
                    <a:pos x="58" y="58"/>
                  </a:cxn>
                  <a:cxn ang="0">
                    <a:pos x="62" y="58"/>
                  </a:cxn>
                  <a:cxn ang="0">
                    <a:pos x="62" y="54"/>
                  </a:cxn>
                  <a:cxn ang="0">
                    <a:pos x="62" y="54"/>
                  </a:cxn>
                </a:cxnLst>
                <a:rect l="0" t="0" r="r" b="b"/>
                <a:pathLst>
                  <a:path w="62" h="58">
                    <a:moveTo>
                      <a:pt x="62" y="54"/>
                    </a:moveTo>
                    <a:lnTo>
                      <a:pt x="62" y="54"/>
                    </a:lnTo>
                    <a:lnTo>
                      <a:pt x="62" y="44"/>
                    </a:lnTo>
                    <a:lnTo>
                      <a:pt x="58" y="34"/>
                    </a:lnTo>
                    <a:lnTo>
                      <a:pt x="54" y="24"/>
                    </a:lnTo>
                    <a:lnTo>
                      <a:pt x="46" y="16"/>
                    </a:lnTo>
                    <a:lnTo>
                      <a:pt x="46" y="16"/>
                    </a:lnTo>
                    <a:lnTo>
                      <a:pt x="38" y="10"/>
                    </a:lnTo>
                    <a:lnTo>
                      <a:pt x="28" y="4"/>
                    </a:lnTo>
                    <a:lnTo>
                      <a:pt x="16" y="0"/>
                    </a:lnTo>
                    <a:lnTo>
                      <a:pt x="4" y="0"/>
                    </a:lnTo>
                    <a:lnTo>
                      <a:pt x="4" y="0"/>
                    </a:lnTo>
                    <a:lnTo>
                      <a:pt x="0" y="0"/>
                    </a:lnTo>
                    <a:lnTo>
                      <a:pt x="0" y="4"/>
                    </a:lnTo>
                    <a:lnTo>
                      <a:pt x="0" y="4"/>
                    </a:lnTo>
                    <a:lnTo>
                      <a:pt x="0" y="6"/>
                    </a:lnTo>
                    <a:lnTo>
                      <a:pt x="4" y="8"/>
                    </a:lnTo>
                    <a:lnTo>
                      <a:pt x="4" y="8"/>
                    </a:lnTo>
                    <a:lnTo>
                      <a:pt x="14" y="8"/>
                    </a:lnTo>
                    <a:lnTo>
                      <a:pt x="24" y="12"/>
                    </a:lnTo>
                    <a:lnTo>
                      <a:pt x="34" y="16"/>
                    </a:lnTo>
                    <a:lnTo>
                      <a:pt x="40" y="22"/>
                    </a:lnTo>
                    <a:lnTo>
                      <a:pt x="40" y="22"/>
                    </a:lnTo>
                    <a:lnTo>
                      <a:pt x="46" y="30"/>
                    </a:lnTo>
                    <a:lnTo>
                      <a:pt x="50" y="36"/>
                    </a:lnTo>
                    <a:lnTo>
                      <a:pt x="54" y="46"/>
                    </a:lnTo>
                    <a:lnTo>
                      <a:pt x="54" y="54"/>
                    </a:lnTo>
                    <a:lnTo>
                      <a:pt x="54" y="54"/>
                    </a:lnTo>
                    <a:lnTo>
                      <a:pt x="56" y="58"/>
                    </a:lnTo>
                    <a:lnTo>
                      <a:pt x="58" y="58"/>
                    </a:lnTo>
                    <a:lnTo>
                      <a:pt x="58" y="58"/>
                    </a:lnTo>
                    <a:lnTo>
                      <a:pt x="62" y="58"/>
                    </a:lnTo>
                    <a:lnTo>
                      <a:pt x="62" y="54"/>
                    </a:lnTo>
                    <a:lnTo>
                      <a:pt x="62" y="5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101" name="Freeform 41"/>
              <p:cNvSpPr>
                <a:spLocks/>
              </p:cNvSpPr>
              <p:nvPr/>
            </p:nvSpPr>
            <p:spPr bwMode="auto">
              <a:xfrm>
                <a:off x="14947517" y="-597641"/>
                <a:ext cx="164549" cy="151891"/>
              </a:xfrm>
              <a:custGeom>
                <a:avLst/>
                <a:gdLst/>
                <a:ahLst/>
                <a:cxnLst>
                  <a:cxn ang="0">
                    <a:pos x="52" y="44"/>
                  </a:cxn>
                  <a:cxn ang="0">
                    <a:pos x="52" y="44"/>
                  </a:cxn>
                  <a:cxn ang="0">
                    <a:pos x="50" y="36"/>
                  </a:cxn>
                  <a:cxn ang="0">
                    <a:pos x="48" y="28"/>
                  </a:cxn>
                  <a:cxn ang="0">
                    <a:pos x="44" y="20"/>
                  </a:cxn>
                  <a:cxn ang="0">
                    <a:pos x="38" y="14"/>
                  </a:cxn>
                  <a:cxn ang="0">
                    <a:pos x="38" y="14"/>
                  </a:cxn>
                  <a:cxn ang="0">
                    <a:pos x="32" y="8"/>
                  </a:cxn>
                  <a:cxn ang="0">
                    <a:pos x="22" y="4"/>
                  </a:cxn>
                  <a:cxn ang="0">
                    <a:pos x="14" y="0"/>
                  </a:cxn>
                  <a:cxn ang="0">
                    <a:pos x="4" y="0"/>
                  </a:cxn>
                  <a:cxn ang="0">
                    <a:pos x="4" y="0"/>
                  </a:cxn>
                  <a:cxn ang="0">
                    <a:pos x="0" y="2"/>
                  </a:cxn>
                  <a:cxn ang="0">
                    <a:pos x="0" y="4"/>
                  </a:cxn>
                  <a:cxn ang="0">
                    <a:pos x="0" y="4"/>
                  </a:cxn>
                  <a:cxn ang="0">
                    <a:pos x="0" y="8"/>
                  </a:cxn>
                  <a:cxn ang="0">
                    <a:pos x="4" y="8"/>
                  </a:cxn>
                  <a:cxn ang="0">
                    <a:pos x="4" y="8"/>
                  </a:cxn>
                  <a:cxn ang="0">
                    <a:pos x="12" y="10"/>
                  </a:cxn>
                  <a:cxn ang="0">
                    <a:pos x="20" y="12"/>
                  </a:cxn>
                  <a:cxn ang="0">
                    <a:pos x="26" y="16"/>
                  </a:cxn>
                  <a:cxn ang="0">
                    <a:pos x="32" y="20"/>
                  </a:cxn>
                  <a:cxn ang="0">
                    <a:pos x="32" y="20"/>
                  </a:cxn>
                  <a:cxn ang="0">
                    <a:pos x="36" y="26"/>
                  </a:cxn>
                  <a:cxn ang="0">
                    <a:pos x="40" y="32"/>
                  </a:cxn>
                  <a:cxn ang="0">
                    <a:pos x="42" y="38"/>
                  </a:cxn>
                  <a:cxn ang="0">
                    <a:pos x="42" y="44"/>
                  </a:cxn>
                  <a:cxn ang="0">
                    <a:pos x="42" y="44"/>
                  </a:cxn>
                  <a:cxn ang="0">
                    <a:pos x="44" y="48"/>
                  </a:cxn>
                  <a:cxn ang="0">
                    <a:pos x="48" y="48"/>
                  </a:cxn>
                  <a:cxn ang="0">
                    <a:pos x="48" y="48"/>
                  </a:cxn>
                  <a:cxn ang="0">
                    <a:pos x="50" y="48"/>
                  </a:cxn>
                  <a:cxn ang="0">
                    <a:pos x="52" y="44"/>
                  </a:cxn>
                  <a:cxn ang="0">
                    <a:pos x="52" y="44"/>
                  </a:cxn>
                </a:cxnLst>
                <a:rect l="0" t="0" r="r" b="b"/>
                <a:pathLst>
                  <a:path w="52" h="48">
                    <a:moveTo>
                      <a:pt x="52" y="44"/>
                    </a:moveTo>
                    <a:lnTo>
                      <a:pt x="52" y="44"/>
                    </a:lnTo>
                    <a:lnTo>
                      <a:pt x="50" y="36"/>
                    </a:lnTo>
                    <a:lnTo>
                      <a:pt x="48" y="28"/>
                    </a:lnTo>
                    <a:lnTo>
                      <a:pt x="44" y="20"/>
                    </a:lnTo>
                    <a:lnTo>
                      <a:pt x="38" y="14"/>
                    </a:lnTo>
                    <a:lnTo>
                      <a:pt x="38" y="14"/>
                    </a:lnTo>
                    <a:lnTo>
                      <a:pt x="32" y="8"/>
                    </a:lnTo>
                    <a:lnTo>
                      <a:pt x="22" y="4"/>
                    </a:lnTo>
                    <a:lnTo>
                      <a:pt x="14" y="0"/>
                    </a:lnTo>
                    <a:lnTo>
                      <a:pt x="4" y="0"/>
                    </a:lnTo>
                    <a:lnTo>
                      <a:pt x="4" y="0"/>
                    </a:lnTo>
                    <a:lnTo>
                      <a:pt x="0" y="2"/>
                    </a:lnTo>
                    <a:lnTo>
                      <a:pt x="0" y="4"/>
                    </a:lnTo>
                    <a:lnTo>
                      <a:pt x="0" y="4"/>
                    </a:lnTo>
                    <a:lnTo>
                      <a:pt x="0" y="8"/>
                    </a:lnTo>
                    <a:lnTo>
                      <a:pt x="4" y="8"/>
                    </a:lnTo>
                    <a:lnTo>
                      <a:pt x="4" y="8"/>
                    </a:lnTo>
                    <a:lnTo>
                      <a:pt x="12" y="10"/>
                    </a:lnTo>
                    <a:lnTo>
                      <a:pt x="20" y="12"/>
                    </a:lnTo>
                    <a:lnTo>
                      <a:pt x="26" y="16"/>
                    </a:lnTo>
                    <a:lnTo>
                      <a:pt x="32" y="20"/>
                    </a:lnTo>
                    <a:lnTo>
                      <a:pt x="32" y="20"/>
                    </a:lnTo>
                    <a:lnTo>
                      <a:pt x="36" y="26"/>
                    </a:lnTo>
                    <a:lnTo>
                      <a:pt x="40" y="32"/>
                    </a:lnTo>
                    <a:lnTo>
                      <a:pt x="42" y="38"/>
                    </a:lnTo>
                    <a:lnTo>
                      <a:pt x="42" y="44"/>
                    </a:lnTo>
                    <a:lnTo>
                      <a:pt x="42" y="44"/>
                    </a:lnTo>
                    <a:lnTo>
                      <a:pt x="44" y="48"/>
                    </a:lnTo>
                    <a:lnTo>
                      <a:pt x="48" y="48"/>
                    </a:lnTo>
                    <a:lnTo>
                      <a:pt x="48" y="48"/>
                    </a:lnTo>
                    <a:lnTo>
                      <a:pt x="50" y="48"/>
                    </a:lnTo>
                    <a:lnTo>
                      <a:pt x="52" y="44"/>
                    </a:lnTo>
                    <a:lnTo>
                      <a:pt x="52" y="4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grpSp>
        <p:sp>
          <p:nvSpPr>
            <p:cNvPr id="72" name="矩形 71"/>
            <p:cNvSpPr/>
            <p:nvPr/>
          </p:nvSpPr>
          <p:spPr>
            <a:xfrm>
              <a:off x="3533988" y="2289600"/>
              <a:ext cx="968636" cy="279433"/>
            </a:xfrm>
            <a:prstGeom prst="rect">
              <a:avLst/>
            </a:prstGeom>
            <a:noFill/>
            <a:ln w="25400" cap="flat" cmpd="sng" algn="ctr">
              <a:noFill/>
              <a:prstDash val="solid"/>
            </a:ln>
            <a:effectLst/>
          </p:spPr>
          <p:txBody>
            <a:bodyPr rtlCol="0" anchor="ctr"/>
            <a:lstStyle/>
            <a:p>
              <a:pPr defTabSz="685709" fontAlgn="auto">
                <a:spcBef>
                  <a:spcPts val="0"/>
                </a:spcBef>
                <a:spcAft>
                  <a:spcPts val="0"/>
                </a:spcAft>
                <a:defRPr/>
              </a:pPr>
              <a:r>
                <a:rPr lang="en-US" altLang="zh-CN" sz="1200" kern="0" dirty="0">
                  <a:solidFill>
                    <a:schemeClr val="bg1"/>
                  </a:solidFill>
                  <a:latin typeface="FrutigerNext LT Medium" panose="020B0603040504020204" pitchFamily="34" charset="0"/>
                  <a:ea typeface="微软雅黑" pitchFamily="34" charset="-122"/>
                  <a:cs typeface="Arial" pitchFamily="34" charset="0"/>
                </a:rPr>
                <a:t>Wireless</a:t>
              </a:r>
              <a:endParaRPr lang="en-US" altLang="zh-CN" sz="1200" kern="0" dirty="0">
                <a:solidFill>
                  <a:schemeClr val="bg1"/>
                </a:solidFill>
                <a:latin typeface="FrutigerNext LT Medium" panose="020B0603040504020204" pitchFamily="34" charset="0"/>
                <a:ea typeface="微软雅黑" pitchFamily="34" charset="-122"/>
                <a:cs typeface="Arial" pitchFamily="34" charset="0"/>
              </a:endParaRPr>
            </a:p>
          </p:txBody>
        </p:sp>
        <p:grpSp>
          <p:nvGrpSpPr>
            <p:cNvPr id="73" name="组合 363"/>
            <p:cNvGrpSpPr/>
            <p:nvPr/>
          </p:nvGrpSpPr>
          <p:grpSpPr>
            <a:xfrm>
              <a:off x="3093280" y="4180119"/>
              <a:ext cx="586354" cy="513755"/>
              <a:chOff x="12163425" y="615950"/>
              <a:chExt cx="371475" cy="368300"/>
            </a:xfrm>
            <a:solidFill>
              <a:srgbClr val="FFC000"/>
            </a:solidFill>
          </p:grpSpPr>
          <p:sp>
            <p:nvSpPr>
              <p:cNvPr id="89" name="Freeform 553"/>
              <p:cNvSpPr>
                <a:spLocks noEditPoints="1"/>
              </p:cNvSpPr>
              <p:nvPr/>
            </p:nvSpPr>
            <p:spPr bwMode="auto">
              <a:xfrm>
                <a:off x="12382500" y="838200"/>
                <a:ext cx="152400" cy="146050"/>
              </a:xfrm>
              <a:custGeom>
                <a:avLst/>
                <a:gdLst/>
                <a:ahLst/>
                <a:cxnLst>
                  <a:cxn ang="0">
                    <a:pos x="0" y="24"/>
                  </a:cxn>
                  <a:cxn ang="0">
                    <a:pos x="0" y="52"/>
                  </a:cxn>
                  <a:cxn ang="0">
                    <a:pos x="0" y="52"/>
                  </a:cxn>
                  <a:cxn ang="0">
                    <a:pos x="2" y="62"/>
                  </a:cxn>
                  <a:cxn ang="0">
                    <a:pos x="8" y="70"/>
                  </a:cxn>
                  <a:cxn ang="0">
                    <a:pos x="16" y="76"/>
                  </a:cxn>
                  <a:cxn ang="0">
                    <a:pos x="26" y="78"/>
                  </a:cxn>
                  <a:cxn ang="0">
                    <a:pos x="10" y="92"/>
                  </a:cxn>
                  <a:cxn ang="0">
                    <a:pos x="86" y="92"/>
                  </a:cxn>
                  <a:cxn ang="0">
                    <a:pos x="72" y="78"/>
                  </a:cxn>
                  <a:cxn ang="0">
                    <a:pos x="72" y="78"/>
                  </a:cxn>
                  <a:cxn ang="0">
                    <a:pos x="82" y="76"/>
                  </a:cxn>
                  <a:cxn ang="0">
                    <a:pos x="88" y="70"/>
                  </a:cxn>
                  <a:cxn ang="0">
                    <a:pos x="94" y="62"/>
                  </a:cxn>
                  <a:cxn ang="0">
                    <a:pos x="96" y="52"/>
                  </a:cxn>
                  <a:cxn ang="0">
                    <a:pos x="96" y="24"/>
                  </a:cxn>
                  <a:cxn ang="0">
                    <a:pos x="96" y="24"/>
                  </a:cxn>
                  <a:cxn ang="0">
                    <a:pos x="94" y="14"/>
                  </a:cxn>
                  <a:cxn ang="0">
                    <a:pos x="88" y="6"/>
                  </a:cxn>
                  <a:cxn ang="0">
                    <a:pos x="80" y="2"/>
                  </a:cxn>
                  <a:cxn ang="0">
                    <a:pos x="72" y="0"/>
                  </a:cxn>
                  <a:cxn ang="0">
                    <a:pos x="26" y="0"/>
                  </a:cxn>
                  <a:cxn ang="0">
                    <a:pos x="26" y="0"/>
                  </a:cxn>
                  <a:cxn ang="0">
                    <a:pos x="16" y="2"/>
                  </a:cxn>
                  <a:cxn ang="0">
                    <a:pos x="8" y="6"/>
                  </a:cxn>
                  <a:cxn ang="0">
                    <a:pos x="2" y="14"/>
                  </a:cxn>
                  <a:cxn ang="0">
                    <a:pos x="0" y="24"/>
                  </a:cxn>
                  <a:cxn ang="0">
                    <a:pos x="0" y="24"/>
                  </a:cxn>
                  <a:cxn ang="0">
                    <a:pos x="76" y="24"/>
                  </a:cxn>
                  <a:cxn ang="0">
                    <a:pos x="76" y="52"/>
                  </a:cxn>
                  <a:cxn ang="0">
                    <a:pos x="76" y="52"/>
                  </a:cxn>
                  <a:cxn ang="0">
                    <a:pos x="74" y="56"/>
                  </a:cxn>
                  <a:cxn ang="0">
                    <a:pos x="72" y="56"/>
                  </a:cxn>
                  <a:cxn ang="0">
                    <a:pos x="26" y="56"/>
                  </a:cxn>
                  <a:cxn ang="0">
                    <a:pos x="26" y="56"/>
                  </a:cxn>
                  <a:cxn ang="0">
                    <a:pos x="22" y="56"/>
                  </a:cxn>
                  <a:cxn ang="0">
                    <a:pos x="22" y="52"/>
                  </a:cxn>
                  <a:cxn ang="0">
                    <a:pos x="22" y="24"/>
                  </a:cxn>
                  <a:cxn ang="0">
                    <a:pos x="22" y="24"/>
                  </a:cxn>
                  <a:cxn ang="0">
                    <a:pos x="22" y="22"/>
                  </a:cxn>
                  <a:cxn ang="0">
                    <a:pos x="26" y="20"/>
                  </a:cxn>
                  <a:cxn ang="0">
                    <a:pos x="72" y="20"/>
                  </a:cxn>
                  <a:cxn ang="0">
                    <a:pos x="72" y="20"/>
                  </a:cxn>
                  <a:cxn ang="0">
                    <a:pos x="74" y="22"/>
                  </a:cxn>
                  <a:cxn ang="0">
                    <a:pos x="76" y="24"/>
                  </a:cxn>
                  <a:cxn ang="0">
                    <a:pos x="76" y="24"/>
                  </a:cxn>
                </a:cxnLst>
                <a:rect l="0" t="0" r="r" b="b"/>
                <a:pathLst>
                  <a:path w="96" h="92">
                    <a:moveTo>
                      <a:pt x="0" y="24"/>
                    </a:moveTo>
                    <a:lnTo>
                      <a:pt x="0" y="52"/>
                    </a:lnTo>
                    <a:lnTo>
                      <a:pt x="0" y="52"/>
                    </a:lnTo>
                    <a:lnTo>
                      <a:pt x="2" y="62"/>
                    </a:lnTo>
                    <a:lnTo>
                      <a:pt x="8" y="70"/>
                    </a:lnTo>
                    <a:lnTo>
                      <a:pt x="16" y="76"/>
                    </a:lnTo>
                    <a:lnTo>
                      <a:pt x="26" y="78"/>
                    </a:lnTo>
                    <a:lnTo>
                      <a:pt x="10" y="92"/>
                    </a:lnTo>
                    <a:lnTo>
                      <a:pt x="86" y="92"/>
                    </a:lnTo>
                    <a:lnTo>
                      <a:pt x="72" y="78"/>
                    </a:lnTo>
                    <a:lnTo>
                      <a:pt x="72" y="78"/>
                    </a:lnTo>
                    <a:lnTo>
                      <a:pt x="82" y="76"/>
                    </a:lnTo>
                    <a:lnTo>
                      <a:pt x="88" y="70"/>
                    </a:lnTo>
                    <a:lnTo>
                      <a:pt x="94" y="62"/>
                    </a:lnTo>
                    <a:lnTo>
                      <a:pt x="96" y="52"/>
                    </a:lnTo>
                    <a:lnTo>
                      <a:pt x="96" y="24"/>
                    </a:lnTo>
                    <a:lnTo>
                      <a:pt x="96" y="24"/>
                    </a:lnTo>
                    <a:lnTo>
                      <a:pt x="94" y="14"/>
                    </a:lnTo>
                    <a:lnTo>
                      <a:pt x="88" y="6"/>
                    </a:lnTo>
                    <a:lnTo>
                      <a:pt x="80" y="2"/>
                    </a:lnTo>
                    <a:lnTo>
                      <a:pt x="72" y="0"/>
                    </a:lnTo>
                    <a:lnTo>
                      <a:pt x="26" y="0"/>
                    </a:lnTo>
                    <a:lnTo>
                      <a:pt x="26" y="0"/>
                    </a:lnTo>
                    <a:lnTo>
                      <a:pt x="16" y="2"/>
                    </a:lnTo>
                    <a:lnTo>
                      <a:pt x="8" y="6"/>
                    </a:lnTo>
                    <a:lnTo>
                      <a:pt x="2" y="14"/>
                    </a:lnTo>
                    <a:lnTo>
                      <a:pt x="0" y="24"/>
                    </a:lnTo>
                    <a:lnTo>
                      <a:pt x="0" y="24"/>
                    </a:lnTo>
                    <a:close/>
                    <a:moveTo>
                      <a:pt x="76" y="24"/>
                    </a:moveTo>
                    <a:lnTo>
                      <a:pt x="76" y="52"/>
                    </a:lnTo>
                    <a:lnTo>
                      <a:pt x="76" y="52"/>
                    </a:lnTo>
                    <a:lnTo>
                      <a:pt x="74" y="56"/>
                    </a:lnTo>
                    <a:lnTo>
                      <a:pt x="72" y="56"/>
                    </a:lnTo>
                    <a:lnTo>
                      <a:pt x="26" y="56"/>
                    </a:lnTo>
                    <a:lnTo>
                      <a:pt x="26" y="56"/>
                    </a:lnTo>
                    <a:lnTo>
                      <a:pt x="22" y="56"/>
                    </a:lnTo>
                    <a:lnTo>
                      <a:pt x="22" y="52"/>
                    </a:lnTo>
                    <a:lnTo>
                      <a:pt x="22" y="24"/>
                    </a:lnTo>
                    <a:lnTo>
                      <a:pt x="22" y="24"/>
                    </a:lnTo>
                    <a:lnTo>
                      <a:pt x="22" y="22"/>
                    </a:lnTo>
                    <a:lnTo>
                      <a:pt x="26" y="20"/>
                    </a:lnTo>
                    <a:lnTo>
                      <a:pt x="72" y="20"/>
                    </a:lnTo>
                    <a:lnTo>
                      <a:pt x="72" y="20"/>
                    </a:lnTo>
                    <a:lnTo>
                      <a:pt x="74" y="22"/>
                    </a:lnTo>
                    <a:lnTo>
                      <a:pt x="76" y="24"/>
                    </a:lnTo>
                    <a:lnTo>
                      <a:pt x="76" y="2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0" name="Freeform 554"/>
              <p:cNvSpPr>
                <a:spLocks noEditPoints="1"/>
              </p:cNvSpPr>
              <p:nvPr/>
            </p:nvSpPr>
            <p:spPr bwMode="auto">
              <a:xfrm>
                <a:off x="12163425" y="838200"/>
                <a:ext cx="152400" cy="146050"/>
              </a:xfrm>
              <a:custGeom>
                <a:avLst/>
                <a:gdLst/>
                <a:ahLst/>
                <a:cxnLst>
                  <a:cxn ang="0">
                    <a:pos x="26" y="78"/>
                  </a:cxn>
                  <a:cxn ang="0">
                    <a:pos x="10" y="92"/>
                  </a:cxn>
                  <a:cxn ang="0">
                    <a:pos x="86" y="92"/>
                  </a:cxn>
                  <a:cxn ang="0">
                    <a:pos x="72" y="78"/>
                  </a:cxn>
                  <a:cxn ang="0">
                    <a:pos x="72" y="78"/>
                  </a:cxn>
                  <a:cxn ang="0">
                    <a:pos x="82" y="76"/>
                  </a:cxn>
                  <a:cxn ang="0">
                    <a:pos x="90" y="70"/>
                  </a:cxn>
                  <a:cxn ang="0">
                    <a:pos x="94" y="62"/>
                  </a:cxn>
                  <a:cxn ang="0">
                    <a:pos x="96" y="52"/>
                  </a:cxn>
                  <a:cxn ang="0">
                    <a:pos x="96" y="24"/>
                  </a:cxn>
                  <a:cxn ang="0">
                    <a:pos x="96" y="24"/>
                  </a:cxn>
                  <a:cxn ang="0">
                    <a:pos x="94" y="14"/>
                  </a:cxn>
                  <a:cxn ang="0">
                    <a:pos x="88" y="6"/>
                  </a:cxn>
                  <a:cxn ang="0">
                    <a:pos x="80" y="2"/>
                  </a:cxn>
                  <a:cxn ang="0">
                    <a:pos x="72" y="0"/>
                  </a:cxn>
                  <a:cxn ang="0">
                    <a:pos x="26" y="0"/>
                  </a:cxn>
                  <a:cxn ang="0">
                    <a:pos x="26" y="0"/>
                  </a:cxn>
                  <a:cxn ang="0">
                    <a:pos x="16" y="2"/>
                  </a:cxn>
                  <a:cxn ang="0">
                    <a:pos x="8" y="6"/>
                  </a:cxn>
                  <a:cxn ang="0">
                    <a:pos x="2" y="14"/>
                  </a:cxn>
                  <a:cxn ang="0">
                    <a:pos x="0" y="24"/>
                  </a:cxn>
                  <a:cxn ang="0">
                    <a:pos x="0" y="52"/>
                  </a:cxn>
                  <a:cxn ang="0">
                    <a:pos x="0" y="52"/>
                  </a:cxn>
                  <a:cxn ang="0">
                    <a:pos x="2" y="62"/>
                  </a:cxn>
                  <a:cxn ang="0">
                    <a:pos x="8" y="70"/>
                  </a:cxn>
                  <a:cxn ang="0">
                    <a:pos x="16" y="76"/>
                  </a:cxn>
                  <a:cxn ang="0">
                    <a:pos x="26" y="78"/>
                  </a:cxn>
                  <a:cxn ang="0">
                    <a:pos x="26" y="78"/>
                  </a:cxn>
                  <a:cxn ang="0">
                    <a:pos x="22" y="24"/>
                  </a:cxn>
                  <a:cxn ang="0">
                    <a:pos x="22" y="24"/>
                  </a:cxn>
                  <a:cxn ang="0">
                    <a:pos x="22" y="22"/>
                  </a:cxn>
                  <a:cxn ang="0">
                    <a:pos x="26" y="20"/>
                  </a:cxn>
                  <a:cxn ang="0">
                    <a:pos x="72" y="20"/>
                  </a:cxn>
                  <a:cxn ang="0">
                    <a:pos x="72" y="20"/>
                  </a:cxn>
                  <a:cxn ang="0">
                    <a:pos x="74" y="22"/>
                  </a:cxn>
                  <a:cxn ang="0">
                    <a:pos x="76" y="24"/>
                  </a:cxn>
                  <a:cxn ang="0">
                    <a:pos x="76" y="52"/>
                  </a:cxn>
                  <a:cxn ang="0">
                    <a:pos x="76" y="52"/>
                  </a:cxn>
                  <a:cxn ang="0">
                    <a:pos x="74" y="56"/>
                  </a:cxn>
                  <a:cxn ang="0">
                    <a:pos x="72" y="56"/>
                  </a:cxn>
                  <a:cxn ang="0">
                    <a:pos x="26" y="56"/>
                  </a:cxn>
                  <a:cxn ang="0">
                    <a:pos x="26" y="56"/>
                  </a:cxn>
                  <a:cxn ang="0">
                    <a:pos x="22" y="56"/>
                  </a:cxn>
                  <a:cxn ang="0">
                    <a:pos x="22" y="52"/>
                  </a:cxn>
                  <a:cxn ang="0">
                    <a:pos x="22" y="24"/>
                  </a:cxn>
                </a:cxnLst>
                <a:rect l="0" t="0" r="r" b="b"/>
                <a:pathLst>
                  <a:path w="96" h="92">
                    <a:moveTo>
                      <a:pt x="26" y="78"/>
                    </a:moveTo>
                    <a:lnTo>
                      <a:pt x="10" y="92"/>
                    </a:lnTo>
                    <a:lnTo>
                      <a:pt x="86" y="92"/>
                    </a:lnTo>
                    <a:lnTo>
                      <a:pt x="72" y="78"/>
                    </a:lnTo>
                    <a:lnTo>
                      <a:pt x="72" y="78"/>
                    </a:lnTo>
                    <a:lnTo>
                      <a:pt x="82" y="76"/>
                    </a:lnTo>
                    <a:lnTo>
                      <a:pt x="90" y="70"/>
                    </a:lnTo>
                    <a:lnTo>
                      <a:pt x="94" y="62"/>
                    </a:lnTo>
                    <a:lnTo>
                      <a:pt x="96" y="52"/>
                    </a:lnTo>
                    <a:lnTo>
                      <a:pt x="96" y="24"/>
                    </a:lnTo>
                    <a:lnTo>
                      <a:pt x="96" y="24"/>
                    </a:lnTo>
                    <a:lnTo>
                      <a:pt x="94" y="14"/>
                    </a:lnTo>
                    <a:lnTo>
                      <a:pt x="88" y="6"/>
                    </a:lnTo>
                    <a:lnTo>
                      <a:pt x="80" y="2"/>
                    </a:lnTo>
                    <a:lnTo>
                      <a:pt x="72" y="0"/>
                    </a:lnTo>
                    <a:lnTo>
                      <a:pt x="26" y="0"/>
                    </a:lnTo>
                    <a:lnTo>
                      <a:pt x="26" y="0"/>
                    </a:lnTo>
                    <a:lnTo>
                      <a:pt x="16" y="2"/>
                    </a:lnTo>
                    <a:lnTo>
                      <a:pt x="8" y="6"/>
                    </a:lnTo>
                    <a:lnTo>
                      <a:pt x="2" y="14"/>
                    </a:lnTo>
                    <a:lnTo>
                      <a:pt x="0" y="24"/>
                    </a:lnTo>
                    <a:lnTo>
                      <a:pt x="0" y="52"/>
                    </a:lnTo>
                    <a:lnTo>
                      <a:pt x="0" y="52"/>
                    </a:lnTo>
                    <a:lnTo>
                      <a:pt x="2" y="62"/>
                    </a:lnTo>
                    <a:lnTo>
                      <a:pt x="8" y="70"/>
                    </a:lnTo>
                    <a:lnTo>
                      <a:pt x="16" y="76"/>
                    </a:lnTo>
                    <a:lnTo>
                      <a:pt x="26" y="78"/>
                    </a:lnTo>
                    <a:lnTo>
                      <a:pt x="26" y="78"/>
                    </a:lnTo>
                    <a:close/>
                    <a:moveTo>
                      <a:pt x="22" y="24"/>
                    </a:moveTo>
                    <a:lnTo>
                      <a:pt x="22" y="24"/>
                    </a:lnTo>
                    <a:lnTo>
                      <a:pt x="22" y="22"/>
                    </a:lnTo>
                    <a:lnTo>
                      <a:pt x="26" y="20"/>
                    </a:lnTo>
                    <a:lnTo>
                      <a:pt x="72" y="20"/>
                    </a:lnTo>
                    <a:lnTo>
                      <a:pt x="72" y="20"/>
                    </a:lnTo>
                    <a:lnTo>
                      <a:pt x="74" y="22"/>
                    </a:lnTo>
                    <a:lnTo>
                      <a:pt x="76" y="24"/>
                    </a:lnTo>
                    <a:lnTo>
                      <a:pt x="76" y="52"/>
                    </a:lnTo>
                    <a:lnTo>
                      <a:pt x="76" y="52"/>
                    </a:lnTo>
                    <a:lnTo>
                      <a:pt x="74" y="56"/>
                    </a:lnTo>
                    <a:lnTo>
                      <a:pt x="72" y="56"/>
                    </a:lnTo>
                    <a:lnTo>
                      <a:pt x="26" y="56"/>
                    </a:lnTo>
                    <a:lnTo>
                      <a:pt x="26" y="56"/>
                    </a:lnTo>
                    <a:lnTo>
                      <a:pt x="22" y="56"/>
                    </a:lnTo>
                    <a:lnTo>
                      <a:pt x="22" y="52"/>
                    </a:lnTo>
                    <a:lnTo>
                      <a:pt x="22" y="2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1" name="Freeform 555"/>
              <p:cNvSpPr>
                <a:spLocks noEditPoints="1"/>
              </p:cNvSpPr>
              <p:nvPr/>
            </p:nvSpPr>
            <p:spPr bwMode="auto">
              <a:xfrm>
                <a:off x="12274550" y="615950"/>
                <a:ext cx="152400" cy="149225"/>
              </a:xfrm>
              <a:custGeom>
                <a:avLst/>
                <a:gdLst/>
                <a:ahLst/>
                <a:cxnLst>
                  <a:cxn ang="0">
                    <a:pos x="24" y="78"/>
                  </a:cxn>
                  <a:cxn ang="0">
                    <a:pos x="10" y="94"/>
                  </a:cxn>
                  <a:cxn ang="0">
                    <a:pos x="86" y="94"/>
                  </a:cxn>
                  <a:cxn ang="0">
                    <a:pos x="70" y="78"/>
                  </a:cxn>
                  <a:cxn ang="0">
                    <a:pos x="70" y="78"/>
                  </a:cxn>
                  <a:cxn ang="0">
                    <a:pos x="80" y="76"/>
                  </a:cxn>
                  <a:cxn ang="0">
                    <a:pos x="88" y="72"/>
                  </a:cxn>
                  <a:cxn ang="0">
                    <a:pos x="94" y="64"/>
                  </a:cxn>
                  <a:cxn ang="0">
                    <a:pos x="96" y="54"/>
                  </a:cxn>
                  <a:cxn ang="0">
                    <a:pos x="96" y="26"/>
                  </a:cxn>
                  <a:cxn ang="0">
                    <a:pos x="96" y="26"/>
                  </a:cxn>
                  <a:cxn ang="0">
                    <a:pos x="94" y="16"/>
                  </a:cxn>
                  <a:cxn ang="0">
                    <a:pos x="88" y="8"/>
                  </a:cxn>
                  <a:cxn ang="0">
                    <a:pos x="80" y="2"/>
                  </a:cxn>
                  <a:cxn ang="0">
                    <a:pos x="70" y="0"/>
                  </a:cxn>
                  <a:cxn ang="0">
                    <a:pos x="24" y="0"/>
                  </a:cxn>
                  <a:cxn ang="0">
                    <a:pos x="24" y="0"/>
                  </a:cxn>
                  <a:cxn ang="0">
                    <a:pos x="14" y="2"/>
                  </a:cxn>
                  <a:cxn ang="0">
                    <a:pos x="6" y="8"/>
                  </a:cxn>
                  <a:cxn ang="0">
                    <a:pos x="2" y="16"/>
                  </a:cxn>
                  <a:cxn ang="0">
                    <a:pos x="0" y="26"/>
                  </a:cxn>
                  <a:cxn ang="0">
                    <a:pos x="0" y="54"/>
                  </a:cxn>
                  <a:cxn ang="0">
                    <a:pos x="0" y="54"/>
                  </a:cxn>
                  <a:cxn ang="0">
                    <a:pos x="2" y="64"/>
                  </a:cxn>
                  <a:cxn ang="0">
                    <a:pos x="6" y="72"/>
                  </a:cxn>
                  <a:cxn ang="0">
                    <a:pos x="14" y="76"/>
                  </a:cxn>
                  <a:cxn ang="0">
                    <a:pos x="24" y="78"/>
                  </a:cxn>
                  <a:cxn ang="0">
                    <a:pos x="24" y="78"/>
                  </a:cxn>
                  <a:cxn ang="0">
                    <a:pos x="20" y="26"/>
                  </a:cxn>
                  <a:cxn ang="0">
                    <a:pos x="20" y="26"/>
                  </a:cxn>
                  <a:cxn ang="0">
                    <a:pos x="22" y="22"/>
                  </a:cxn>
                  <a:cxn ang="0">
                    <a:pos x="24" y="22"/>
                  </a:cxn>
                  <a:cxn ang="0">
                    <a:pos x="70" y="22"/>
                  </a:cxn>
                  <a:cxn ang="0">
                    <a:pos x="70" y="22"/>
                  </a:cxn>
                  <a:cxn ang="0">
                    <a:pos x="74" y="22"/>
                  </a:cxn>
                  <a:cxn ang="0">
                    <a:pos x="74" y="26"/>
                  </a:cxn>
                  <a:cxn ang="0">
                    <a:pos x="74" y="54"/>
                  </a:cxn>
                  <a:cxn ang="0">
                    <a:pos x="74" y="54"/>
                  </a:cxn>
                  <a:cxn ang="0">
                    <a:pos x="74" y="56"/>
                  </a:cxn>
                  <a:cxn ang="0">
                    <a:pos x="70" y="58"/>
                  </a:cxn>
                  <a:cxn ang="0">
                    <a:pos x="24" y="58"/>
                  </a:cxn>
                  <a:cxn ang="0">
                    <a:pos x="24" y="58"/>
                  </a:cxn>
                  <a:cxn ang="0">
                    <a:pos x="22" y="56"/>
                  </a:cxn>
                  <a:cxn ang="0">
                    <a:pos x="20" y="54"/>
                  </a:cxn>
                  <a:cxn ang="0">
                    <a:pos x="20" y="26"/>
                  </a:cxn>
                </a:cxnLst>
                <a:rect l="0" t="0" r="r" b="b"/>
                <a:pathLst>
                  <a:path w="96" h="94">
                    <a:moveTo>
                      <a:pt x="24" y="78"/>
                    </a:moveTo>
                    <a:lnTo>
                      <a:pt x="10" y="94"/>
                    </a:lnTo>
                    <a:lnTo>
                      <a:pt x="86" y="94"/>
                    </a:lnTo>
                    <a:lnTo>
                      <a:pt x="70" y="78"/>
                    </a:lnTo>
                    <a:lnTo>
                      <a:pt x="70" y="78"/>
                    </a:lnTo>
                    <a:lnTo>
                      <a:pt x="80" y="76"/>
                    </a:lnTo>
                    <a:lnTo>
                      <a:pt x="88" y="72"/>
                    </a:lnTo>
                    <a:lnTo>
                      <a:pt x="94" y="64"/>
                    </a:lnTo>
                    <a:lnTo>
                      <a:pt x="96" y="54"/>
                    </a:lnTo>
                    <a:lnTo>
                      <a:pt x="96" y="26"/>
                    </a:lnTo>
                    <a:lnTo>
                      <a:pt x="96" y="26"/>
                    </a:lnTo>
                    <a:lnTo>
                      <a:pt x="94" y="16"/>
                    </a:lnTo>
                    <a:lnTo>
                      <a:pt x="88" y="8"/>
                    </a:lnTo>
                    <a:lnTo>
                      <a:pt x="80" y="2"/>
                    </a:lnTo>
                    <a:lnTo>
                      <a:pt x="70" y="0"/>
                    </a:lnTo>
                    <a:lnTo>
                      <a:pt x="24" y="0"/>
                    </a:lnTo>
                    <a:lnTo>
                      <a:pt x="24" y="0"/>
                    </a:lnTo>
                    <a:lnTo>
                      <a:pt x="14" y="2"/>
                    </a:lnTo>
                    <a:lnTo>
                      <a:pt x="6" y="8"/>
                    </a:lnTo>
                    <a:lnTo>
                      <a:pt x="2" y="16"/>
                    </a:lnTo>
                    <a:lnTo>
                      <a:pt x="0" y="26"/>
                    </a:lnTo>
                    <a:lnTo>
                      <a:pt x="0" y="54"/>
                    </a:lnTo>
                    <a:lnTo>
                      <a:pt x="0" y="54"/>
                    </a:lnTo>
                    <a:lnTo>
                      <a:pt x="2" y="64"/>
                    </a:lnTo>
                    <a:lnTo>
                      <a:pt x="6" y="72"/>
                    </a:lnTo>
                    <a:lnTo>
                      <a:pt x="14" y="76"/>
                    </a:lnTo>
                    <a:lnTo>
                      <a:pt x="24" y="78"/>
                    </a:lnTo>
                    <a:lnTo>
                      <a:pt x="24" y="78"/>
                    </a:lnTo>
                    <a:close/>
                    <a:moveTo>
                      <a:pt x="20" y="26"/>
                    </a:moveTo>
                    <a:lnTo>
                      <a:pt x="20" y="26"/>
                    </a:lnTo>
                    <a:lnTo>
                      <a:pt x="22" y="22"/>
                    </a:lnTo>
                    <a:lnTo>
                      <a:pt x="24" y="22"/>
                    </a:lnTo>
                    <a:lnTo>
                      <a:pt x="70" y="22"/>
                    </a:lnTo>
                    <a:lnTo>
                      <a:pt x="70" y="22"/>
                    </a:lnTo>
                    <a:lnTo>
                      <a:pt x="74" y="22"/>
                    </a:lnTo>
                    <a:lnTo>
                      <a:pt x="74" y="26"/>
                    </a:lnTo>
                    <a:lnTo>
                      <a:pt x="74" y="54"/>
                    </a:lnTo>
                    <a:lnTo>
                      <a:pt x="74" y="54"/>
                    </a:lnTo>
                    <a:lnTo>
                      <a:pt x="74" y="56"/>
                    </a:lnTo>
                    <a:lnTo>
                      <a:pt x="70" y="58"/>
                    </a:lnTo>
                    <a:lnTo>
                      <a:pt x="24" y="58"/>
                    </a:lnTo>
                    <a:lnTo>
                      <a:pt x="24" y="58"/>
                    </a:lnTo>
                    <a:lnTo>
                      <a:pt x="22" y="56"/>
                    </a:lnTo>
                    <a:lnTo>
                      <a:pt x="20" y="54"/>
                    </a:lnTo>
                    <a:lnTo>
                      <a:pt x="20" y="2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92" name="Freeform 556"/>
              <p:cNvSpPr>
                <a:spLocks/>
              </p:cNvSpPr>
              <p:nvPr/>
            </p:nvSpPr>
            <p:spPr bwMode="auto">
              <a:xfrm>
                <a:off x="12239625" y="771525"/>
                <a:ext cx="231775" cy="57150"/>
              </a:xfrm>
              <a:custGeom>
                <a:avLst/>
                <a:gdLst/>
                <a:ahLst/>
                <a:cxnLst>
                  <a:cxn ang="0">
                    <a:pos x="4" y="36"/>
                  </a:cxn>
                  <a:cxn ang="0">
                    <a:pos x="4" y="36"/>
                  </a:cxn>
                  <a:cxn ang="0">
                    <a:pos x="6" y="34"/>
                  </a:cxn>
                  <a:cxn ang="0">
                    <a:pos x="8" y="32"/>
                  </a:cxn>
                  <a:cxn ang="0">
                    <a:pos x="8" y="26"/>
                  </a:cxn>
                  <a:cxn ang="0">
                    <a:pos x="138" y="26"/>
                  </a:cxn>
                  <a:cxn ang="0">
                    <a:pos x="138" y="32"/>
                  </a:cxn>
                  <a:cxn ang="0">
                    <a:pos x="138" y="32"/>
                  </a:cxn>
                  <a:cxn ang="0">
                    <a:pos x="138" y="34"/>
                  </a:cxn>
                  <a:cxn ang="0">
                    <a:pos x="142" y="36"/>
                  </a:cxn>
                  <a:cxn ang="0">
                    <a:pos x="142" y="36"/>
                  </a:cxn>
                  <a:cxn ang="0">
                    <a:pos x="144" y="34"/>
                  </a:cxn>
                  <a:cxn ang="0">
                    <a:pos x="146" y="32"/>
                  </a:cxn>
                  <a:cxn ang="0">
                    <a:pos x="146" y="22"/>
                  </a:cxn>
                  <a:cxn ang="0">
                    <a:pos x="146" y="22"/>
                  </a:cxn>
                  <a:cxn ang="0">
                    <a:pos x="144" y="18"/>
                  </a:cxn>
                  <a:cxn ang="0">
                    <a:pos x="144" y="18"/>
                  </a:cxn>
                  <a:cxn ang="0">
                    <a:pos x="142" y="16"/>
                  </a:cxn>
                  <a:cxn ang="0">
                    <a:pos x="76" y="16"/>
                  </a:cxn>
                  <a:cxn ang="0">
                    <a:pos x="76" y="4"/>
                  </a:cxn>
                  <a:cxn ang="0">
                    <a:pos x="76" y="4"/>
                  </a:cxn>
                  <a:cxn ang="0">
                    <a:pos x="76" y="2"/>
                  </a:cxn>
                  <a:cxn ang="0">
                    <a:pos x="72" y="0"/>
                  </a:cxn>
                  <a:cxn ang="0">
                    <a:pos x="72" y="0"/>
                  </a:cxn>
                  <a:cxn ang="0">
                    <a:pos x="70" y="2"/>
                  </a:cxn>
                  <a:cxn ang="0">
                    <a:pos x="68" y="4"/>
                  </a:cxn>
                  <a:cxn ang="0">
                    <a:pos x="68" y="16"/>
                  </a:cxn>
                  <a:cxn ang="0">
                    <a:pos x="4" y="16"/>
                  </a:cxn>
                  <a:cxn ang="0">
                    <a:pos x="4" y="16"/>
                  </a:cxn>
                  <a:cxn ang="0">
                    <a:pos x="0" y="18"/>
                  </a:cxn>
                  <a:cxn ang="0">
                    <a:pos x="0" y="18"/>
                  </a:cxn>
                  <a:cxn ang="0">
                    <a:pos x="0" y="22"/>
                  </a:cxn>
                  <a:cxn ang="0">
                    <a:pos x="0" y="32"/>
                  </a:cxn>
                  <a:cxn ang="0">
                    <a:pos x="0" y="32"/>
                  </a:cxn>
                  <a:cxn ang="0">
                    <a:pos x="0" y="34"/>
                  </a:cxn>
                  <a:cxn ang="0">
                    <a:pos x="4" y="36"/>
                  </a:cxn>
                  <a:cxn ang="0">
                    <a:pos x="4" y="36"/>
                  </a:cxn>
                </a:cxnLst>
                <a:rect l="0" t="0" r="r" b="b"/>
                <a:pathLst>
                  <a:path w="146" h="36">
                    <a:moveTo>
                      <a:pt x="4" y="36"/>
                    </a:moveTo>
                    <a:lnTo>
                      <a:pt x="4" y="36"/>
                    </a:lnTo>
                    <a:lnTo>
                      <a:pt x="6" y="34"/>
                    </a:lnTo>
                    <a:lnTo>
                      <a:pt x="8" y="32"/>
                    </a:lnTo>
                    <a:lnTo>
                      <a:pt x="8" y="26"/>
                    </a:lnTo>
                    <a:lnTo>
                      <a:pt x="138" y="26"/>
                    </a:lnTo>
                    <a:lnTo>
                      <a:pt x="138" y="32"/>
                    </a:lnTo>
                    <a:lnTo>
                      <a:pt x="138" y="32"/>
                    </a:lnTo>
                    <a:lnTo>
                      <a:pt x="138" y="34"/>
                    </a:lnTo>
                    <a:lnTo>
                      <a:pt x="142" y="36"/>
                    </a:lnTo>
                    <a:lnTo>
                      <a:pt x="142" y="36"/>
                    </a:lnTo>
                    <a:lnTo>
                      <a:pt x="144" y="34"/>
                    </a:lnTo>
                    <a:lnTo>
                      <a:pt x="146" y="32"/>
                    </a:lnTo>
                    <a:lnTo>
                      <a:pt x="146" y="22"/>
                    </a:lnTo>
                    <a:lnTo>
                      <a:pt x="146" y="22"/>
                    </a:lnTo>
                    <a:lnTo>
                      <a:pt x="144" y="18"/>
                    </a:lnTo>
                    <a:lnTo>
                      <a:pt x="144" y="18"/>
                    </a:lnTo>
                    <a:lnTo>
                      <a:pt x="142" y="16"/>
                    </a:lnTo>
                    <a:lnTo>
                      <a:pt x="76" y="16"/>
                    </a:lnTo>
                    <a:lnTo>
                      <a:pt x="76" y="4"/>
                    </a:lnTo>
                    <a:lnTo>
                      <a:pt x="76" y="4"/>
                    </a:lnTo>
                    <a:lnTo>
                      <a:pt x="76" y="2"/>
                    </a:lnTo>
                    <a:lnTo>
                      <a:pt x="72" y="0"/>
                    </a:lnTo>
                    <a:lnTo>
                      <a:pt x="72" y="0"/>
                    </a:lnTo>
                    <a:lnTo>
                      <a:pt x="70" y="2"/>
                    </a:lnTo>
                    <a:lnTo>
                      <a:pt x="68" y="4"/>
                    </a:lnTo>
                    <a:lnTo>
                      <a:pt x="68" y="16"/>
                    </a:lnTo>
                    <a:lnTo>
                      <a:pt x="4" y="16"/>
                    </a:lnTo>
                    <a:lnTo>
                      <a:pt x="4" y="16"/>
                    </a:lnTo>
                    <a:lnTo>
                      <a:pt x="0" y="18"/>
                    </a:lnTo>
                    <a:lnTo>
                      <a:pt x="0" y="18"/>
                    </a:lnTo>
                    <a:lnTo>
                      <a:pt x="0" y="22"/>
                    </a:lnTo>
                    <a:lnTo>
                      <a:pt x="0" y="32"/>
                    </a:lnTo>
                    <a:lnTo>
                      <a:pt x="0" y="32"/>
                    </a:lnTo>
                    <a:lnTo>
                      <a:pt x="0" y="34"/>
                    </a:lnTo>
                    <a:lnTo>
                      <a:pt x="4" y="36"/>
                    </a:lnTo>
                    <a:lnTo>
                      <a:pt x="4" y="3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grpSp>
        <p:sp>
          <p:nvSpPr>
            <p:cNvPr id="74" name="下箭头 73"/>
            <p:cNvSpPr/>
            <p:nvPr/>
          </p:nvSpPr>
          <p:spPr bwMode="auto">
            <a:xfrm flipV="1">
              <a:off x="3107795" y="3788234"/>
              <a:ext cx="551543" cy="312056"/>
            </a:xfrm>
            <a:prstGeom prst="downArrow">
              <a:avLst/>
            </a:prstGeom>
            <a:solidFill>
              <a:srgbClr val="558ED5"/>
            </a:solidFill>
            <a:ln w="9525">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mtClean="0">
                <a:latin typeface="FrutigerNext LT Medium" panose="020B0603040504020204" pitchFamily="34" charset="0"/>
              </a:endParaRPr>
            </a:p>
          </p:txBody>
        </p:sp>
        <p:sp>
          <p:nvSpPr>
            <p:cNvPr id="75" name="矩形 74"/>
            <p:cNvSpPr/>
            <p:nvPr/>
          </p:nvSpPr>
          <p:spPr>
            <a:xfrm>
              <a:off x="3642846" y="4212708"/>
              <a:ext cx="968636" cy="279433"/>
            </a:xfrm>
            <a:prstGeom prst="rect">
              <a:avLst/>
            </a:prstGeom>
            <a:noFill/>
            <a:ln w="25400" cap="flat" cmpd="sng" algn="ctr">
              <a:noFill/>
              <a:prstDash val="solid"/>
            </a:ln>
            <a:effectLst/>
          </p:spPr>
          <p:txBody>
            <a:bodyPr rtlCol="0" anchor="ctr"/>
            <a:lstStyle/>
            <a:p>
              <a:pPr defTabSz="685709" fontAlgn="auto">
                <a:spcBef>
                  <a:spcPts val="0"/>
                </a:spcBef>
                <a:spcAft>
                  <a:spcPts val="0"/>
                </a:spcAft>
                <a:defRPr/>
              </a:pPr>
              <a:r>
                <a:rPr lang="en-US" altLang="zh-CN" sz="1200" kern="0" dirty="0">
                  <a:solidFill>
                    <a:schemeClr val="bg1"/>
                  </a:solidFill>
                  <a:latin typeface="FrutigerNext LT Medium" panose="020B0603040504020204" pitchFamily="34" charset="0"/>
                  <a:ea typeface="微软雅黑" pitchFamily="34" charset="-122"/>
                  <a:cs typeface="Arial" pitchFamily="34" charset="0"/>
                </a:rPr>
                <a:t>Fixed</a:t>
              </a:r>
              <a:endParaRPr lang="en-US" altLang="zh-CN" sz="1200" kern="0" dirty="0">
                <a:solidFill>
                  <a:schemeClr val="bg1"/>
                </a:solidFill>
                <a:latin typeface="FrutigerNext LT Medium" panose="020B0603040504020204" pitchFamily="34" charset="0"/>
                <a:ea typeface="微软雅黑" pitchFamily="34" charset="-122"/>
                <a:cs typeface="Arial" pitchFamily="34" charset="0"/>
              </a:endParaRPr>
            </a:p>
          </p:txBody>
        </p:sp>
        <p:grpSp>
          <p:nvGrpSpPr>
            <p:cNvPr id="76" name="组合 662"/>
            <p:cNvGrpSpPr/>
            <p:nvPr/>
          </p:nvGrpSpPr>
          <p:grpSpPr>
            <a:xfrm>
              <a:off x="4762419" y="3178632"/>
              <a:ext cx="304796" cy="556306"/>
              <a:chOff x="13255631" y="-1030288"/>
              <a:chExt cx="495294" cy="1038226"/>
            </a:xfrm>
            <a:solidFill>
              <a:srgbClr val="FFC000"/>
            </a:solidFill>
          </p:grpSpPr>
          <p:sp>
            <p:nvSpPr>
              <p:cNvPr id="85" name="Freeform 89"/>
              <p:cNvSpPr>
                <a:spLocks noEditPoints="1"/>
              </p:cNvSpPr>
              <p:nvPr/>
            </p:nvSpPr>
            <p:spPr bwMode="auto">
              <a:xfrm>
                <a:off x="13255631" y="-755649"/>
                <a:ext cx="425450" cy="763587"/>
              </a:xfrm>
              <a:custGeom>
                <a:avLst/>
                <a:gdLst/>
                <a:ahLst/>
                <a:cxnLst>
                  <a:cxn ang="0">
                    <a:pos x="234" y="4"/>
                  </a:cxn>
                  <a:cxn ang="0">
                    <a:pos x="199" y="13"/>
                  </a:cxn>
                  <a:cxn ang="0">
                    <a:pos x="13" y="52"/>
                  </a:cxn>
                  <a:cxn ang="0">
                    <a:pos x="4" y="446"/>
                  </a:cxn>
                  <a:cxn ang="0">
                    <a:pos x="212" y="481"/>
                  </a:cxn>
                  <a:cxn ang="0">
                    <a:pos x="268" y="95"/>
                  </a:cxn>
                  <a:cxn ang="0">
                    <a:pos x="238" y="43"/>
                  </a:cxn>
                  <a:cxn ang="0">
                    <a:pos x="47" y="442"/>
                  </a:cxn>
                  <a:cxn ang="0">
                    <a:pos x="47" y="407"/>
                  </a:cxn>
                  <a:cxn ang="0">
                    <a:pos x="82" y="407"/>
                  </a:cxn>
                  <a:cxn ang="0">
                    <a:pos x="82" y="442"/>
                  </a:cxn>
                  <a:cxn ang="0">
                    <a:pos x="65" y="390"/>
                  </a:cxn>
                  <a:cxn ang="0">
                    <a:pos x="39" y="364"/>
                  </a:cxn>
                  <a:cxn ang="0">
                    <a:pos x="65" y="338"/>
                  </a:cxn>
                  <a:cxn ang="0">
                    <a:pos x="91" y="364"/>
                  </a:cxn>
                  <a:cxn ang="0">
                    <a:pos x="65" y="390"/>
                  </a:cxn>
                  <a:cxn ang="0">
                    <a:pos x="43" y="312"/>
                  </a:cxn>
                  <a:cxn ang="0">
                    <a:pos x="56" y="277"/>
                  </a:cxn>
                  <a:cxn ang="0">
                    <a:pos x="91" y="290"/>
                  </a:cxn>
                  <a:cxn ang="0">
                    <a:pos x="73" y="325"/>
                  </a:cxn>
                  <a:cxn ang="0">
                    <a:pos x="121" y="446"/>
                  </a:cxn>
                  <a:cxn ang="0">
                    <a:pos x="108" y="416"/>
                  </a:cxn>
                  <a:cxn ang="0">
                    <a:pos x="143" y="398"/>
                  </a:cxn>
                  <a:cxn ang="0">
                    <a:pos x="156" y="433"/>
                  </a:cxn>
                  <a:cxn ang="0">
                    <a:pos x="134" y="390"/>
                  </a:cxn>
                  <a:cxn ang="0">
                    <a:pos x="108" y="364"/>
                  </a:cxn>
                  <a:cxn ang="0">
                    <a:pos x="134" y="338"/>
                  </a:cxn>
                  <a:cxn ang="0">
                    <a:pos x="160" y="364"/>
                  </a:cxn>
                  <a:cxn ang="0">
                    <a:pos x="134" y="390"/>
                  </a:cxn>
                  <a:cxn ang="0">
                    <a:pos x="117" y="320"/>
                  </a:cxn>
                  <a:cxn ang="0">
                    <a:pos x="117" y="286"/>
                  </a:cxn>
                  <a:cxn ang="0">
                    <a:pos x="151" y="286"/>
                  </a:cxn>
                  <a:cxn ang="0">
                    <a:pos x="151" y="320"/>
                  </a:cxn>
                  <a:cxn ang="0">
                    <a:pos x="199" y="450"/>
                  </a:cxn>
                  <a:cxn ang="0">
                    <a:pos x="173" y="424"/>
                  </a:cxn>
                  <a:cxn ang="0">
                    <a:pos x="199" y="398"/>
                  </a:cxn>
                  <a:cxn ang="0">
                    <a:pos x="225" y="424"/>
                  </a:cxn>
                  <a:cxn ang="0">
                    <a:pos x="199" y="450"/>
                  </a:cxn>
                  <a:cxn ang="0">
                    <a:pos x="177" y="372"/>
                  </a:cxn>
                  <a:cxn ang="0">
                    <a:pos x="190" y="338"/>
                  </a:cxn>
                  <a:cxn ang="0">
                    <a:pos x="225" y="355"/>
                  </a:cxn>
                  <a:cxn ang="0">
                    <a:pos x="208" y="385"/>
                  </a:cxn>
                  <a:cxn ang="0">
                    <a:pos x="190" y="325"/>
                  </a:cxn>
                  <a:cxn ang="0">
                    <a:pos x="177" y="290"/>
                  </a:cxn>
                  <a:cxn ang="0">
                    <a:pos x="208" y="277"/>
                  </a:cxn>
                  <a:cxn ang="0">
                    <a:pos x="225" y="312"/>
                  </a:cxn>
                  <a:cxn ang="0">
                    <a:pos x="229" y="182"/>
                  </a:cxn>
                  <a:cxn ang="0">
                    <a:pos x="173" y="238"/>
                  </a:cxn>
                  <a:cxn ang="0">
                    <a:pos x="43" y="204"/>
                  </a:cxn>
                  <a:cxn ang="0">
                    <a:pos x="52" y="87"/>
                  </a:cxn>
                  <a:cxn ang="0">
                    <a:pos x="195" y="74"/>
                  </a:cxn>
                </a:cxnLst>
                <a:rect l="0" t="0" r="r" b="b"/>
                <a:pathLst>
                  <a:path w="268" h="481">
                    <a:moveTo>
                      <a:pt x="238" y="43"/>
                    </a:moveTo>
                    <a:lnTo>
                      <a:pt x="238" y="13"/>
                    </a:lnTo>
                    <a:lnTo>
                      <a:pt x="238" y="13"/>
                    </a:lnTo>
                    <a:lnTo>
                      <a:pt x="238" y="9"/>
                    </a:lnTo>
                    <a:lnTo>
                      <a:pt x="234" y="4"/>
                    </a:lnTo>
                    <a:lnTo>
                      <a:pt x="216" y="0"/>
                    </a:lnTo>
                    <a:lnTo>
                      <a:pt x="216" y="0"/>
                    </a:lnTo>
                    <a:lnTo>
                      <a:pt x="203" y="4"/>
                    </a:lnTo>
                    <a:lnTo>
                      <a:pt x="199" y="9"/>
                    </a:lnTo>
                    <a:lnTo>
                      <a:pt x="199" y="13"/>
                    </a:lnTo>
                    <a:lnTo>
                      <a:pt x="199" y="35"/>
                    </a:lnTo>
                    <a:lnTo>
                      <a:pt x="56" y="35"/>
                    </a:lnTo>
                    <a:lnTo>
                      <a:pt x="56" y="35"/>
                    </a:lnTo>
                    <a:lnTo>
                      <a:pt x="35" y="43"/>
                    </a:lnTo>
                    <a:lnTo>
                      <a:pt x="13" y="52"/>
                    </a:lnTo>
                    <a:lnTo>
                      <a:pt x="4" y="69"/>
                    </a:lnTo>
                    <a:lnTo>
                      <a:pt x="0" y="95"/>
                    </a:lnTo>
                    <a:lnTo>
                      <a:pt x="0" y="424"/>
                    </a:lnTo>
                    <a:lnTo>
                      <a:pt x="0" y="424"/>
                    </a:lnTo>
                    <a:lnTo>
                      <a:pt x="4" y="446"/>
                    </a:lnTo>
                    <a:lnTo>
                      <a:pt x="13" y="463"/>
                    </a:lnTo>
                    <a:lnTo>
                      <a:pt x="35" y="476"/>
                    </a:lnTo>
                    <a:lnTo>
                      <a:pt x="56" y="481"/>
                    </a:lnTo>
                    <a:lnTo>
                      <a:pt x="212" y="481"/>
                    </a:lnTo>
                    <a:lnTo>
                      <a:pt x="212" y="481"/>
                    </a:lnTo>
                    <a:lnTo>
                      <a:pt x="234" y="476"/>
                    </a:lnTo>
                    <a:lnTo>
                      <a:pt x="251" y="463"/>
                    </a:lnTo>
                    <a:lnTo>
                      <a:pt x="264" y="446"/>
                    </a:lnTo>
                    <a:lnTo>
                      <a:pt x="268" y="424"/>
                    </a:lnTo>
                    <a:lnTo>
                      <a:pt x="268" y="95"/>
                    </a:lnTo>
                    <a:lnTo>
                      <a:pt x="268" y="95"/>
                    </a:lnTo>
                    <a:lnTo>
                      <a:pt x="264" y="78"/>
                    </a:lnTo>
                    <a:lnTo>
                      <a:pt x="260" y="65"/>
                    </a:lnTo>
                    <a:lnTo>
                      <a:pt x="251" y="52"/>
                    </a:lnTo>
                    <a:lnTo>
                      <a:pt x="238" y="43"/>
                    </a:lnTo>
                    <a:lnTo>
                      <a:pt x="238" y="43"/>
                    </a:lnTo>
                    <a:close/>
                    <a:moveTo>
                      <a:pt x="65" y="450"/>
                    </a:moveTo>
                    <a:lnTo>
                      <a:pt x="65" y="450"/>
                    </a:lnTo>
                    <a:lnTo>
                      <a:pt x="56" y="446"/>
                    </a:lnTo>
                    <a:lnTo>
                      <a:pt x="47" y="442"/>
                    </a:lnTo>
                    <a:lnTo>
                      <a:pt x="43" y="433"/>
                    </a:lnTo>
                    <a:lnTo>
                      <a:pt x="39" y="424"/>
                    </a:lnTo>
                    <a:lnTo>
                      <a:pt x="39" y="424"/>
                    </a:lnTo>
                    <a:lnTo>
                      <a:pt x="43" y="416"/>
                    </a:lnTo>
                    <a:lnTo>
                      <a:pt x="47" y="407"/>
                    </a:lnTo>
                    <a:lnTo>
                      <a:pt x="56" y="398"/>
                    </a:lnTo>
                    <a:lnTo>
                      <a:pt x="65" y="398"/>
                    </a:lnTo>
                    <a:lnTo>
                      <a:pt x="65" y="398"/>
                    </a:lnTo>
                    <a:lnTo>
                      <a:pt x="73" y="398"/>
                    </a:lnTo>
                    <a:lnTo>
                      <a:pt x="82" y="407"/>
                    </a:lnTo>
                    <a:lnTo>
                      <a:pt x="91" y="416"/>
                    </a:lnTo>
                    <a:lnTo>
                      <a:pt x="91" y="424"/>
                    </a:lnTo>
                    <a:lnTo>
                      <a:pt x="91" y="424"/>
                    </a:lnTo>
                    <a:lnTo>
                      <a:pt x="91" y="433"/>
                    </a:lnTo>
                    <a:lnTo>
                      <a:pt x="82" y="442"/>
                    </a:lnTo>
                    <a:lnTo>
                      <a:pt x="73" y="446"/>
                    </a:lnTo>
                    <a:lnTo>
                      <a:pt x="65" y="450"/>
                    </a:lnTo>
                    <a:lnTo>
                      <a:pt x="65" y="450"/>
                    </a:lnTo>
                    <a:close/>
                    <a:moveTo>
                      <a:pt x="65" y="390"/>
                    </a:moveTo>
                    <a:lnTo>
                      <a:pt x="65" y="390"/>
                    </a:lnTo>
                    <a:lnTo>
                      <a:pt x="56" y="385"/>
                    </a:lnTo>
                    <a:lnTo>
                      <a:pt x="47" y="381"/>
                    </a:lnTo>
                    <a:lnTo>
                      <a:pt x="43" y="372"/>
                    </a:lnTo>
                    <a:lnTo>
                      <a:pt x="39" y="364"/>
                    </a:lnTo>
                    <a:lnTo>
                      <a:pt x="39" y="364"/>
                    </a:lnTo>
                    <a:lnTo>
                      <a:pt x="43" y="355"/>
                    </a:lnTo>
                    <a:lnTo>
                      <a:pt x="47" y="346"/>
                    </a:lnTo>
                    <a:lnTo>
                      <a:pt x="56" y="338"/>
                    </a:lnTo>
                    <a:lnTo>
                      <a:pt x="65" y="338"/>
                    </a:lnTo>
                    <a:lnTo>
                      <a:pt x="65" y="338"/>
                    </a:lnTo>
                    <a:lnTo>
                      <a:pt x="73" y="338"/>
                    </a:lnTo>
                    <a:lnTo>
                      <a:pt x="82" y="346"/>
                    </a:lnTo>
                    <a:lnTo>
                      <a:pt x="91" y="355"/>
                    </a:lnTo>
                    <a:lnTo>
                      <a:pt x="91" y="364"/>
                    </a:lnTo>
                    <a:lnTo>
                      <a:pt x="91" y="364"/>
                    </a:lnTo>
                    <a:lnTo>
                      <a:pt x="91" y="372"/>
                    </a:lnTo>
                    <a:lnTo>
                      <a:pt x="82" y="381"/>
                    </a:lnTo>
                    <a:lnTo>
                      <a:pt x="73" y="385"/>
                    </a:lnTo>
                    <a:lnTo>
                      <a:pt x="65" y="390"/>
                    </a:lnTo>
                    <a:lnTo>
                      <a:pt x="65" y="390"/>
                    </a:lnTo>
                    <a:close/>
                    <a:moveTo>
                      <a:pt x="65" y="325"/>
                    </a:moveTo>
                    <a:lnTo>
                      <a:pt x="65" y="325"/>
                    </a:lnTo>
                    <a:lnTo>
                      <a:pt x="56" y="325"/>
                    </a:lnTo>
                    <a:lnTo>
                      <a:pt x="47" y="320"/>
                    </a:lnTo>
                    <a:lnTo>
                      <a:pt x="43" y="312"/>
                    </a:lnTo>
                    <a:lnTo>
                      <a:pt x="39" y="303"/>
                    </a:lnTo>
                    <a:lnTo>
                      <a:pt x="39" y="303"/>
                    </a:lnTo>
                    <a:lnTo>
                      <a:pt x="43" y="290"/>
                    </a:lnTo>
                    <a:lnTo>
                      <a:pt x="47" y="286"/>
                    </a:lnTo>
                    <a:lnTo>
                      <a:pt x="56" y="277"/>
                    </a:lnTo>
                    <a:lnTo>
                      <a:pt x="65" y="277"/>
                    </a:lnTo>
                    <a:lnTo>
                      <a:pt x="65" y="277"/>
                    </a:lnTo>
                    <a:lnTo>
                      <a:pt x="73" y="277"/>
                    </a:lnTo>
                    <a:lnTo>
                      <a:pt x="82" y="286"/>
                    </a:lnTo>
                    <a:lnTo>
                      <a:pt x="91" y="290"/>
                    </a:lnTo>
                    <a:lnTo>
                      <a:pt x="91" y="303"/>
                    </a:lnTo>
                    <a:lnTo>
                      <a:pt x="91" y="303"/>
                    </a:lnTo>
                    <a:lnTo>
                      <a:pt x="91" y="312"/>
                    </a:lnTo>
                    <a:lnTo>
                      <a:pt x="82" y="320"/>
                    </a:lnTo>
                    <a:lnTo>
                      <a:pt x="73" y="325"/>
                    </a:lnTo>
                    <a:lnTo>
                      <a:pt x="65" y="325"/>
                    </a:lnTo>
                    <a:lnTo>
                      <a:pt x="65" y="325"/>
                    </a:lnTo>
                    <a:close/>
                    <a:moveTo>
                      <a:pt x="134" y="450"/>
                    </a:moveTo>
                    <a:lnTo>
                      <a:pt x="134" y="450"/>
                    </a:lnTo>
                    <a:lnTo>
                      <a:pt x="121" y="446"/>
                    </a:lnTo>
                    <a:lnTo>
                      <a:pt x="117" y="442"/>
                    </a:lnTo>
                    <a:lnTo>
                      <a:pt x="108" y="433"/>
                    </a:lnTo>
                    <a:lnTo>
                      <a:pt x="108" y="424"/>
                    </a:lnTo>
                    <a:lnTo>
                      <a:pt x="108" y="424"/>
                    </a:lnTo>
                    <a:lnTo>
                      <a:pt x="108" y="416"/>
                    </a:lnTo>
                    <a:lnTo>
                      <a:pt x="117" y="407"/>
                    </a:lnTo>
                    <a:lnTo>
                      <a:pt x="121" y="398"/>
                    </a:lnTo>
                    <a:lnTo>
                      <a:pt x="134" y="398"/>
                    </a:lnTo>
                    <a:lnTo>
                      <a:pt x="134" y="398"/>
                    </a:lnTo>
                    <a:lnTo>
                      <a:pt x="143" y="398"/>
                    </a:lnTo>
                    <a:lnTo>
                      <a:pt x="151" y="407"/>
                    </a:lnTo>
                    <a:lnTo>
                      <a:pt x="156" y="416"/>
                    </a:lnTo>
                    <a:lnTo>
                      <a:pt x="160" y="424"/>
                    </a:lnTo>
                    <a:lnTo>
                      <a:pt x="160" y="424"/>
                    </a:lnTo>
                    <a:lnTo>
                      <a:pt x="156" y="433"/>
                    </a:lnTo>
                    <a:lnTo>
                      <a:pt x="151" y="442"/>
                    </a:lnTo>
                    <a:lnTo>
                      <a:pt x="143" y="446"/>
                    </a:lnTo>
                    <a:lnTo>
                      <a:pt x="134" y="450"/>
                    </a:lnTo>
                    <a:lnTo>
                      <a:pt x="134" y="450"/>
                    </a:lnTo>
                    <a:close/>
                    <a:moveTo>
                      <a:pt x="134" y="390"/>
                    </a:moveTo>
                    <a:lnTo>
                      <a:pt x="134" y="390"/>
                    </a:lnTo>
                    <a:lnTo>
                      <a:pt x="121" y="385"/>
                    </a:lnTo>
                    <a:lnTo>
                      <a:pt x="117" y="381"/>
                    </a:lnTo>
                    <a:lnTo>
                      <a:pt x="108" y="372"/>
                    </a:lnTo>
                    <a:lnTo>
                      <a:pt x="108" y="364"/>
                    </a:lnTo>
                    <a:lnTo>
                      <a:pt x="108" y="364"/>
                    </a:lnTo>
                    <a:lnTo>
                      <a:pt x="108" y="355"/>
                    </a:lnTo>
                    <a:lnTo>
                      <a:pt x="117" y="346"/>
                    </a:lnTo>
                    <a:lnTo>
                      <a:pt x="121" y="338"/>
                    </a:lnTo>
                    <a:lnTo>
                      <a:pt x="134" y="338"/>
                    </a:lnTo>
                    <a:lnTo>
                      <a:pt x="134" y="338"/>
                    </a:lnTo>
                    <a:lnTo>
                      <a:pt x="143" y="338"/>
                    </a:lnTo>
                    <a:lnTo>
                      <a:pt x="151" y="346"/>
                    </a:lnTo>
                    <a:lnTo>
                      <a:pt x="156" y="355"/>
                    </a:lnTo>
                    <a:lnTo>
                      <a:pt x="160" y="364"/>
                    </a:lnTo>
                    <a:lnTo>
                      <a:pt x="160" y="364"/>
                    </a:lnTo>
                    <a:lnTo>
                      <a:pt x="156" y="372"/>
                    </a:lnTo>
                    <a:lnTo>
                      <a:pt x="151" y="381"/>
                    </a:lnTo>
                    <a:lnTo>
                      <a:pt x="143" y="385"/>
                    </a:lnTo>
                    <a:lnTo>
                      <a:pt x="134" y="390"/>
                    </a:lnTo>
                    <a:lnTo>
                      <a:pt x="134" y="390"/>
                    </a:lnTo>
                    <a:close/>
                    <a:moveTo>
                      <a:pt x="134" y="325"/>
                    </a:moveTo>
                    <a:lnTo>
                      <a:pt x="134" y="325"/>
                    </a:lnTo>
                    <a:lnTo>
                      <a:pt x="121" y="325"/>
                    </a:lnTo>
                    <a:lnTo>
                      <a:pt x="117" y="320"/>
                    </a:lnTo>
                    <a:lnTo>
                      <a:pt x="108" y="312"/>
                    </a:lnTo>
                    <a:lnTo>
                      <a:pt x="108" y="303"/>
                    </a:lnTo>
                    <a:lnTo>
                      <a:pt x="108" y="303"/>
                    </a:lnTo>
                    <a:lnTo>
                      <a:pt x="108" y="290"/>
                    </a:lnTo>
                    <a:lnTo>
                      <a:pt x="117" y="286"/>
                    </a:lnTo>
                    <a:lnTo>
                      <a:pt x="121" y="277"/>
                    </a:lnTo>
                    <a:lnTo>
                      <a:pt x="134" y="277"/>
                    </a:lnTo>
                    <a:lnTo>
                      <a:pt x="134" y="277"/>
                    </a:lnTo>
                    <a:lnTo>
                      <a:pt x="143" y="277"/>
                    </a:lnTo>
                    <a:lnTo>
                      <a:pt x="151" y="286"/>
                    </a:lnTo>
                    <a:lnTo>
                      <a:pt x="156" y="290"/>
                    </a:lnTo>
                    <a:lnTo>
                      <a:pt x="160" y="303"/>
                    </a:lnTo>
                    <a:lnTo>
                      <a:pt x="160" y="303"/>
                    </a:lnTo>
                    <a:lnTo>
                      <a:pt x="156" y="312"/>
                    </a:lnTo>
                    <a:lnTo>
                      <a:pt x="151" y="320"/>
                    </a:lnTo>
                    <a:lnTo>
                      <a:pt x="143" y="325"/>
                    </a:lnTo>
                    <a:lnTo>
                      <a:pt x="134" y="325"/>
                    </a:lnTo>
                    <a:lnTo>
                      <a:pt x="134" y="325"/>
                    </a:lnTo>
                    <a:close/>
                    <a:moveTo>
                      <a:pt x="199" y="450"/>
                    </a:moveTo>
                    <a:lnTo>
                      <a:pt x="199" y="450"/>
                    </a:lnTo>
                    <a:lnTo>
                      <a:pt x="190" y="446"/>
                    </a:lnTo>
                    <a:lnTo>
                      <a:pt x="182" y="442"/>
                    </a:lnTo>
                    <a:lnTo>
                      <a:pt x="177" y="433"/>
                    </a:lnTo>
                    <a:lnTo>
                      <a:pt x="173" y="424"/>
                    </a:lnTo>
                    <a:lnTo>
                      <a:pt x="173" y="424"/>
                    </a:lnTo>
                    <a:lnTo>
                      <a:pt x="177" y="416"/>
                    </a:lnTo>
                    <a:lnTo>
                      <a:pt x="182" y="407"/>
                    </a:lnTo>
                    <a:lnTo>
                      <a:pt x="190" y="398"/>
                    </a:lnTo>
                    <a:lnTo>
                      <a:pt x="199" y="398"/>
                    </a:lnTo>
                    <a:lnTo>
                      <a:pt x="199" y="398"/>
                    </a:lnTo>
                    <a:lnTo>
                      <a:pt x="208" y="398"/>
                    </a:lnTo>
                    <a:lnTo>
                      <a:pt x="216" y="407"/>
                    </a:lnTo>
                    <a:lnTo>
                      <a:pt x="225" y="416"/>
                    </a:lnTo>
                    <a:lnTo>
                      <a:pt x="225" y="424"/>
                    </a:lnTo>
                    <a:lnTo>
                      <a:pt x="225" y="424"/>
                    </a:lnTo>
                    <a:lnTo>
                      <a:pt x="225" y="433"/>
                    </a:lnTo>
                    <a:lnTo>
                      <a:pt x="216" y="442"/>
                    </a:lnTo>
                    <a:lnTo>
                      <a:pt x="208" y="446"/>
                    </a:lnTo>
                    <a:lnTo>
                      <a:pt x="199" y="450"/>
                    </a:lnTo>
                    <a:lnTo>
                      <a:pt x="199" y="450"/>
                    </a:lnTo>
                    <a:close/>
                    <a:moveTo>
                      <a:pt x="199" y="390"/>
                    </a:moveTo>
                    <a:lnTo>
                      <a:pt x="199" y="390"/>
                    </a:lnTo>
                    <a:lnTo>
                      <a:pt x="190" y="385"/>
                    </a:lnTo>
                    <a:lnTo>
                      <a:pt x="182" y="381"/>
                    </a:lnTo>
                    <a:lnTo>
                      <a:pt x="177" y="372"/>
                    </a:lnTo>
                    <a:lnTo>
                      <a:pt x="173" y="364"/>
                    </a:lnTo>
                    <a:lnTo>
                      <a:pt x="173" y="364"/>
                    </a:lnTo>
                    <a:lnTo>
                      <a:pt x="177" y="355"/>
                    </a:lnTo>
                    <a:lnTo>
                      <a:pt x="182" y="346"/>
                    </a:lnTo>
                    <a:lnTo>
                      <a:pt x="190" y="338"/>
                    </a:lnTo>
                    <a:lnTo>
                      <a:pt x="199" y="338"/>
                    </a:lnTo>
                    <a:lnTo>
                      <a:pt x="199" y="338"/>
                    </a:lnTo>
                    <a:lnTo>
                      <a:pt x="208" y="338"/>
                    </a:lnTo>
                    <a:lnTo>
                      <a:pt x="216" y="346"/>
                    </a:lnTo>
                    <a:lnTo>
                      <a:pt x="225" y="355"/>
                    </a:lnTo>
                    <a:lnTo>
                      <a:pt x="225" y="364"/>
                    </a:lnTo>
                    <a:lnTo>
                      <a:pt x="225" y="364"/>
                    </a:lnTo>
                    <a:lnTo>
                      <a:pt x="225" y="372"/>
                    </a:lnTo>
                    <a:lnTo>
                      <a:pt x="216" y="381"/>
                    </a:lnTo>
                    <a:lnTo>
                      <a:pt x="208" y="385"/>
                    </a:lnTo>
                    <a:lnTo>
                      <a:pt x="199" y="390"/>
                    </a:lnTo>
                    <a:lnTo>
                      <a:pt x="199" y="390"/>
                    </a:lnTo>
                    <a:close/>
                    <a:moveTo>
                      <a:pt x="199" y="325"/>
                    </a:moveTo>
                    <a:lnTo>
                      <a:pt x="199" y="325"/>
                    </a:lnTo>
                    <a:lnTo>
                      <a:pt x="190" y="325"/>
                    </a:lnTo>
                    <a:lnTo>
                      <a:pt x="182" y="320"/>
                    </a:lnTo>
                    <a:lnTo>
                      <a:pt x="177" y="312"/>
                    </a:lnTo>
                    <a:lnTo>
                      <a:pt x="173" y="303"/>
                    </a:lnTo>
                    <a:lnTo>
                      <a:pt x="173" y="303"/>
                    </a:lnTo>
                    <a:lnTo>
                      <a:pt x="177" y="290"/>
                    </a:lnTo>
                    <a:lnTo>
                      <a:pt x="182" y="286"/>
                    </a:lnTo>
                    <a:lnTo>
                      <a:pt x="190" y="277"/>
                    </a:lnTo>
                    <a:lnTo>
                      <a:pt x="199" y="277"/>
                    </a:lnTo>
                    <a:lnTo>
                      <a:pt x="199" y="277"/>
                    </a:lnTo>
                    <a:lnTo>
                      <a:pt x="208" y="277"/>
                    </a:lnTo>
                    <a:lnTo>
                      <a:pt x="216" y="286"/>
                    </a:lnTo>
                    <a:lnTo>
                      <a:pt x="225" y="290"/>
                    </a:lnTo>
                    <a:lnTo>
                      <a:pt x="225" y="303"/>
                    </a:lnTo>
                    <a:lnTo>
                      <a:pt x="225" y="303"/>
                    </a:lnTo>
                    <a:lnTo>
                      <a:pt x="225" y="312"/>
                    </a:lnTo>
                    <a:lnTo>
                      <a:pt x="216" y="320"/>
                    </a:lnTo>
                    <a:lnTo>
                      <a:pt x="208" y="325"/>
                    </a:lnTo>
                    <a:lnTo>
                      <a:pt x="199" y="325"/>
                    </a:lnTo>
                    <a:lnTo>
                      <a:pt x="199" y="325"/>
                    </a:lnTo>
                    <a:close/>
                    <a:moveTo>
                      <a:pt x="229" y="182"/>
                    </a:moveTo>
                    <a:lnTo>
                      <a:pt x="229" y="182"/>
                    </a:lnTo>
                    <a:lnTo>
                      <a:pt x="225" y="204"/>
                    </a:lnTo>
                    <a:lnTo>
                      <a:pt x="212" y="221"/>
                    </a:lnTo>
                    <a:lnTo>
                      <a:pt x="195" y="234"/>
                    </a:lnTo>
                    <a:lnTo>
                      <a:pt x="173" y="238"/>
                    </a:lnTo>
                    <a:lnTo>
                      <a:pt x="95" y="238"/>
                    </a:lnTo>
                    <a:lnTo>
                      <a:pt x="95" y="238"/>
                    </a:lnTo>
                    <a:lnTo>
                      <a:pt x="73" y="234"/>
                    </a:lnTo>
                    <a:lnTo>
                      <a:pt x="52" y="221"/>
                    </a:lnTo>
                    <a:lnTo>
                      <a:pt x="43" y="204"/>
                    </a:lnTo>
                    <a:lnTo>
                      <a:pt x="39" y="182"/>
                    </a:lnTo>
                    <a:lnTo>
                      <a:pt x="39" y="126"/>
                    </a:lnTo>
                    <a:lnTo>
                      <a:pt x="39" y="126"/>
                    </a:lnTo>
                    <a:lnTo>
                      <a:pt x="43" y="104"/>
                    </a:lnTo>
                    <a:lnTo>
                      <a:pt x="52" y="87"/>
                    </a:lnTo>
                    <a:lnTo>
                      <a:pt x="73" y="74"/>
                    </a:lnTo>
                    <a:lnTo>
                      <a:pt x="95" y="69"/>
                    </a:lnTo>
                    <a:lnTo>
                      <a:pt x="173" y="69"/>
                    </a:lnTo>
                    <a:lnTo>
                      <a:pt x="173" y="69"/>
                    </a:lnTo>
                    <a:lnTo>
                      <a:pt x="195" y="74"/>
                    </a:lnTo>
                    <a:lnTo>
                      <a:pt x="212" y="87"/>
                    </a:lnTo>
                    <a:lnTo>
                      <a:pt x="225" y="104"/>
                    </a:lnTo>
                    <a:lnTo>
                      <a:pt x="229" y="126"/>
                    </a:lnTo>
                    <a:lnTo>
                      <a:pt x="229" y="18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86" name="Freeform 90"/>
              <p:cNvSpPr>
                <a:spLocks/>
              </p:cNvSpPr>
              <p:nvPr/>
            </p:nvSpPr>
            <p:spPr bwMode="auto">
              <a:xfrm>
                <a:off x="13385800" y="-1030288"/>
                <a:ext cx="365125" cy="103188"/>
              </a:xfrm>
              <a:custGeom>
                <a:avLst/>
                <a:gdLst/>
                <a:ahLst/>
                <a:cxnLst>
                  <a:cxn ang="0">
                    <a:pos x="225" y="43"/>
                  </a:cxn>
                  <a:cxn ang="0">
                    <a:pos x="225" y="43"/>
                  </a:cxn>
                  <a:cxn ang="0">
                    <a:pos x="204" y="22"/>
                  </a:cxn>
                  <a:cxn ang="0">
                    <a:pos x="178" y="9"/>
                  </a:cxn>
                  <a:cxn ang="0">
                    <a:pos x="147" y="0"/>
                  </a:cxn>
                  <a:cxn ang="0">
                    <a:pos x="121" y="0"/>
                  </a:cxn>
                  <a:cxn ang="0">
                    <a:pos x="121" y="0"/>
                  </a:cxn>
                  <a:cxn ang="0">
                    <a:pos x="87" y="4"/>
                  </a:cxn>
                  <a:cxn ang="0">
                    <a:pos x="56" y="13"/>
                  </a:cxn>
                  <a:cxn ang="0">
                    <a:pos x="30" y="26"/>
                  </a:cxn>
                  <a:cxn ang="0">
                    <a:pos x="0" y="48"/>
                  </a:cxn>
                  <a:cxn ang="0">
                    <a:pos x="0" y="48"/>
                  </a:cxn>
                  <a:cxn ang="0">
                    <a:pos x="0" y="56"/>
                  </a:cxn>
                  <a:cxn ang="0">
                    <a:pos x="0" y="61"/>
                  </a:cxn>
                  <a:cxn ang="0">
                    <a:pos x="0" y="61"/>
                  </a:cxn>
                  <a:cxn ang="0">
                    <a:pos x="9" y="65"/>
                  </a:cxn>
                  <a:cxn ang="0">
                    <a:pos x="13" y="61"/>
                  </a:cxn>
                  <a:cxn ang="0">
                    <a:pos x="13" y="61"/>
                  </a:cxn>
                  <a:cxn ang="0">
                    <a:pos x="39" y="43"/>
                  </a:cxn>
                  <a:cxn ang="0">
                    <a:pos x="65" y="26"/>
                  </a:cxn>
                  <a:cxn ang="0">
                    <a:pos x="91" y="17"/>
                  </a:cxn>
                  <a:cxn ang="0">
                    <a:pos x="121" y="17"/>
                  </a:cxn>
                  <a:cxn ang="0">
                    <a:pos x="121" y="17"/>
                  </a:cxn>
                  <a:cxn ang="0">
                    <a:pos x="147" y="17"/>
                  </a:cxn>
                  <a:cxn ang="0">
                    <a:pos x="169" y="26"/>
                  </a:cxn>
                  <a:cxn ang="0">
                    <a:pos x="191" y="39"/>
                  </a:cxn>
                  <a:cxn ang="0">
                    <a:pos x="212" y="52"/>
                  </a:cxn>
                  <a:cxn ang="0">
                    <a:pos x="212" y="52"/>
                  </a:cxn>
                  <a:cxn ang="0">
                    <a:pos x="221" y="56"/>
                  </a:cxn>
                  <a:cxn ang="0">
                    <a:pos x="225" y="52"/>
                  </a:cxn>
                  <a:cxn ang="0">
                    <a:pos x="225" y="52"/>
                  </a:cxn>
                  <a:cxn ang="0">
                    <a:pos x="230" y="48"/>
                  </a:cxn>
                  <a:cxn ang="0">
                    <a:pos x="225" y="43"/>
                  </a:cxn>
                  <a:cxn ang="0">
                    <a:pos x="225" y="43"/>
                  </a:cxn>
                </a:cxnLst>
                <a:rect l="0" t="0" r="r" b="b"/>
                <a:pathLst>
                  <a:path w="230" h="65">
                    <a:moveTo>
                      <a:pt x="225" y="43"/>
                    </a:moveTo>
                    <a:lnTo>
                      <a:pt x="225" y="43"/>
                    </a:lnTo>
                    <a:lnTo>
                      <a:pt x="204" y="22"/>
                    </a:lnTo>
                    <a:lnTo>
                      <a:pt x="178" y="9"/>
                    </a:lnTo>
                    <a:lnTo>
                      <a:pt x="147" y="0"/>
                    </a:lnTo>
                    <a:lnTo>
                      <a:pt x="121" y="0"/>
                    </a:lnTo>
                    <a:lnTo>
                      <a:pt x="121" y="0"/>
                    </a:lnTo>
                    <a:lnTo>
                      <a:pt x="87" y="4"/>
                    </a:lnTo>
                    <a:lnTo>
                      <a:pt x="56" y="13"/>
                    </a:lnTo>
                    <a:lnTo>
                      <a:pt x="30" y="26"/>
                    </a:lnTo>
                    <a:lnTo>
                      <a:pt x="0" y="48"/>
                    </a:lnTo>
                    <a:lnTo>
                      <a:pt x="0" y="48"/>
                    </a:lnTo>
                    <a:lnTo>
                      <a:pt x="0" y="56"/>
                    </a:lnTo>
                    <a:lnTo>
                      <a:pt x="0" y="61"/>
                    </a:lnTo>
                    <a:lnTo>
                      <a:pt x="0" y="61"/>
                    </a:lnTo>
                    <a:lnTo>
                      <a:pt x="9" y="65"/>
                    </a:lnTo>
                    <a:lnTo>
                      <a:pt x="13" y="61"/>
                    </a:lnTo>
                    <a:lnTo>
                      <a:pt x="13" y="61"/>
                    </a:lnTo>
                    <a:lnTo>
                      <a:pt x="39" y="43"/>
                    </a:lnTo>
                    <a:lnTo>
                      <a:pt x="65" y="26"/>
                    </a:lnTo>
                    <a:lnTo>
                      <a:pt x="91" y="17"/>
                    </a:lnTo>
                    <a:lnTo>
                      <a:pt x="121" y="17"/>
                    </a:lnTo>
                    <a:lnTo>
                      <a:pt x="121" y="17"/>
                    </a:lnTo>
                    <a:lnTo>
                      <a:pt x="147" y="17"/>
                    </a:lnTo>
                    <a:lnTo>
                      <a:pt x="169" y="26"/>
                    </a:lnTo>
                    <a:lnTo>
                      <a:pt x="191" y="39"/>
                    </a:lnTo>
                    <a:lnTo>
                      <a:pt x="212" y="52"/>
                    </a:lnTo>
                    <a:lnTo>
                      <a:pt x="212" y="52"/>
                    </a:lnTo>
                    <a:lnTo>
                      <a:pt x="221" y="56"/>
                    </a:lnTo>
                    <a:lnTo>
                      <a:pt x="225" y="52"/>
                    </a:lnTo>
                    <a:lnTo>
                      <a:pt x="225" y="52"/>
                    </a:lnTo>
                    <a:lnTo>
                      <a:pt x="230" y="48"/>
                    </a:lnTo>
                    <a:lnTo>
                      <a:pt x="225" y="43"/>
                    </a:lnTo>
                    <a:lnTo>
                      <a:pt x="225" y="4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87" name="Freeform 91"/>
              <p:cNvSpPr>
                <a:spLocks/>
              </p:cNvSpPr>
              <p:nvPr/>
            </p:nvSpPr>
            <p:spPr bwMode="auto">
              <a:xfrm>
                <a:off x="13406438" y="-947738"/>
                <a:ext cx="315912" cy="88900"/>
              </a:xfrm>
              <a:custGeom>
                <a:avLst/>
                <a:gdLst/>
                <a:ahLst/>
                <a:cxnLst>
                  <a:cxn ang="0">
                    <a:pos x="195" y="35"/>
                  </a:cxn>
                  <a:cxn ang="0">
                    <a:pos x="195" y="35"/>
                  </a:cxn>
                  <a:cxn ang="0">
                    <a:pos x="178" y="17"/>
                  </a:cxn>
                  <a:cxn ang="0">
                    <a:pos x="156" y="9"/>
                  </a:cxn>
                  <a:cxn ang="0">
                    <a:pos x="130" y="0"/>
                  </a:cxn>
                  <a:cxn ang="0">
                    <a:pos x="104" y="0"/>
                  </a:cxn>
                  <a:cxn ang="0">
                    <a:pos x="104" y="0"/>
                  </a:cxn>
                  <a:cxn ang="0">
                    <a:pos x="78" y="0"/>
                  </a:cxn>
                  <a:cxn ang="0">
                    <a:pos x="52" y="9"/>
                  </a:cxn>
                  <a:cxn ang="0">
                    <a:pos x="26" y="22"/>
                  </a:cxn>
                  <a:cxn ang="0">
                    <a:pos x="4" y="43"/>
                  </a:cxn>
                  <a:cxn ang="0">
                    <a:pos x="4" y="43"/>
                  </a:cxn>
                  <a:cxn ang="0">
                    <a:pos x="0" y="48"/>
                  </a:cxn>
                  <a:cxn ang="0">
                    <a:pos x="4" y="52"/>
                  </a:cxn>
                  <a:cxn ang="0">
                    <a:pos x="4" y="52"/>
                  </a:cxn>
                  <a:cxn ang="0">
                    <a:pos x="9" y="56"/>
                  </a:cxn>
                  <a:cxn ang="0">
                    <a:pos x="17" y="52"/>
                  </a:cxn>
                  <a:cxn ang="0">
                    <a:pos x="17" y="52"/>
                  </a:cxn>
                  <a:cxn ang="0">
                    <a:pos x="35" y="39"/>
                  </a:cxn>
                  <a:cxn ang="0">
                    <a:pos x="61" y="26"/>
                  </a:cxn>
                  <a:cxn ang="0">
                    <a:pos x="82" y="17"/>
                  </a:cxn>
                  <a:cxn ang="0">
                    <a:pos x="104" y="17"/>
                  </a:cxn>
                  <a:cxn ang="0">
                    <a:pos x="104" y="17"/>
                  </a:cxn>
                  <a:cxn ang="0">
                    <a:pos x="126" y="17"/>
                  </a:cxn>
                  <a:cxn ang="0">
                    <a:pos x="147" y="22"/>
                  </a:cxn>
                  <a:cxn ang="0">
                    <a:pos x="169" y="35"/>
                  </a:cxn>
                  <a:cxn ang="0">
                    <a:pos x="186" y="48"/>
                  </a:cxn>
                  <a:cxn ang="0">
                    <a:pos x="186" y="48"/>
                  </a:cxn>
                  <a:cxn ang="0">
                    <a:pos x="191" y="52"/>
                  </a:cxn>
                  <a:cxn ang="0">
                    <a:pos x="195" y="48"/>
                  </a:cxn>
                  <a:cxn ang="0">
                    <a:pos x="195" y="48"/>
                  </a:cxn>
                  <a:cxn ang="0">
                    <a:pos x="199" y="43"/>
                  </a:cxn>
                  <a:cxn ang="0">
                    <a:pos x="195" y="35"/>
                  </a:cxn>
                  <a:cxn ang="0">
                    <a:pos x="195" y="35"/>
                  </a:cxn>
                </a:cxnLst>
                <a:rect l="0" t="0" r="r" b="b"/>
                <a:pathLst>
                  <a:path w="199" h="56">
                    <a:moveTo>
                      <a:pt x="195" y="35"/>
                    </a:moveTo>
                    <a:lnTo>
                      <a:pt x="195" y="35"/>
                    </a:lnTo>
                    <a:lnTo>
                      <a:pt x="178" y="17"/>
                    </a:lnTo>
                    <a:lnTo>
                      <a:pt x="156" y="9"/>
                    </a:lnTo>
                    <a:lnTo>
                      <a:pt x="130" y="0"/>
                    </a:lnTo>
                    <a:lnTo>
                      <a:pt x="104" y="0"/>
                    </a:lnTo>
                    <a:lnTo>
                      <a:pt x="104" y="0"/>
                    </a:lnTo>
                    <a:lnTo>
                      <a:pt x="78" y="0"/>
                    </a:lnTo>
                    <a:lnTo>
                      <a:pt x="52" y="9"/>
                    </a:lnTo>
                    <a:lnTo>
                      <a:pt x="26" y="22"/>
                    </a:lnTo>
                    <a:lnTo>
                      <a:pt x="4" y="43"/>
                    </a:lnTo>
                    <a:lnTo>
                      <a:pt x="4" y="43"/>
                    </a:lnTo>
                    <a:lnTo>
                      <a:pt x="0" y="48"/>
                    </a:lnTo>
                    <a:lnTo>
                      <a:pt x="4" y="52"/>
                    </a:lnTo>
                    <a:lnTo>
                      <a:pt x="4" y="52"/>
                    </a:lnTo>
                    <a:lnTo>
                      <a:pt x="9" y="56"/>
                    </a:lnTo>
                    <a:lnTo>
                      <a:pt x="17" y="52"/>
                    </a:lnTo>
                    <a:lnTo>
                      <a:pt x="17" y="52"/>
                    </a:lnTo>
                    <a:lnTo>
                      <a:pt x="35" y="39"/>
                    </a:lnTo>
                    <a:lnTo>
                      <a:pt x="61" y="26"/>
                    </a:lnTo>
                    <a:lnTo>
                      <a:pt x="82" y="17"/>
                    </a:lnTo>
                    <a:lnTo>
                      <a:pt x="104" y="17"/>
                    </a:lnTo>
                    <a:lnTo>
                      <a:pt x="104" y="17"/>
                    </a:lnTo>
                    <a:lnTo>
                      <a:pt x="126" y="17"/>
                    </a:lnTo>
                    <a:lnTo>
                      <a:pt x="147" y="22"/>
                    </a:lnTo>
                    <a:lnTo>
                      <a:pt x="169" y="35"/>
                    </a:lnTo>
                    <a:lnTo>
                      <a:pt x="186" y="48"/>
                    </a:lnTo>
                    <a:lnTo>
                      <a:pt x="186" y="48"/>
                    </a:lnTo>
                    <a:lnTo>
                      <a:pt x="191" y="52"/>
                    </a:lnTo>
                    <a:lnTo>
                      <a:pt x="195" y="48"/>
                    </a:lnTo>
                    <a:lnTo>
                      <a:pt x="195" y="48"/>
                    </a:lnTo>
                    <a:lnTo>
                      <a:pt x="199" y="43"/>
                    </a:lnTo>
                    <a:lnTo>
                      <a:pt x="195" y="35"/>
                    </a:lnTo>
                    <a:lnTo>
                      <a:pt x="195" y="35"/>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88" name="Freeform 92"/>
              <p:cNvSpPr>
                <a:spLocks/>
              </p:cNvSpPr>
              <p:nvPr/>
            </p:nvSpPr>
            <p:spPr bwMode="auto">
              <a:xfrm>
                <a:off x="13433425" y="-871538"/>
                <a:ext cx="268287" cy="80963"/>
              </a:xfrm>
              <a:custGeom>
                <a:avLst/>
                <a:gdLst/>
                <a:ahLst/>
                <a:cxnLst>
                  <a:cxn ang="0">
                    <a:pos x="165" y="34"/>
                  </a:cxn>
                  <a:cxn ang="0">
                    <a:pos x="165" y="34"/>
                  </a:cxn>
                  <a:cxn ang="0">
                    <a:pos x="148" y="17"/>
                  </a:cxn>
                  <a:cxn ang="0">
                    <a:pos x="130" y="8"/>
                  </a:cxn>
                  <a:cxn ang="0">
                    <a:pos x="109" y="4"/>
                  </a:cxn>
                  <a:cxn ang="0">
                    <a:pos x="87" y="0"/>
                  </a:cxn>
                  <a:cxn ang="0">
                    <a:pos x="87" y="0"/>
                  </a:cxn>
                  <a:cxn ang="0">
                    <a:pos x="65" y="4"/>
                  </a:cxn>
                  <a:cxn ang="0">
                    <a:pos x="44" y="13"/>
                  </a:cxn>
                  <a:cxn ang="0">
                    <a:pos x="22" y="21"/>
                  </a:cxn>
                  <a:cxn ang="0">
                    <a:pos x="0" y="39"/>
                  </a:cxn>
                  <a:cxn ang="0">
                    <a:pos x="0" y="39"/>
                  </a:cxn>
                  <a:cxn ang="0">
                    <a:pos x="0" y="43"/>
                  </a:cxn>
                  <a:cxn ang="0">
                    <a:pos x="0" y="51"/>
                  </a:cxn>
                  <a:cxn ang="0">
                    <a:pos x="0" y="51"/>
                  </a:cxn>
                  <a:cxn ang="0">
                    <a:pos x="9" y="51"/>
                  </a:cxn>
                  <a:cxn ang="0">
                    <a:pos x="13" y="51"/>
                  </a:cxn>
                  <a:cxn ang="0">
                    <a:pos x="13" y="51"/>
                  </a:cxn>
                  <a:cxn ang="0">
                    <a:pos x="31" y="34"/>
                  </a:cxn>
                  <a:cxn ang="0">
                    <a:pos x="48" y="26"/>
                  </a:cxn>
                  <a:cxn ang="0">
                    <a:pos x="70" y="21"/>
                  </a:cxn>
                  <a:cxn ang="0">
                    <a:pos x="87" y="17"/>
                  </a:cxn>
                  <a:cxn ang="0">
                    <a:pos x="87" y="17"/>
                  </a:cxn>
                  <a:cxn ang="0">
                    <a:pos x="104" y="21"/>
                  </a:cxn>
                  <a:cxn ang="0">
                    <a:pos x="122" y="26"/>
                  </a:cxn>
                  <a:cxn ang="0">
                    <a:pos x="139" y="34"/>
                  </a:cxn>
                  <a:cxn ang="0">
                    <a:pos x="152" y="43"/>
                  </a:cxn>
                  <a:cxn ang="0">
                    <a:pos x="152" y="43"/>
                  </a:cxn>
                  <a:cxn ang="0">
                    <a:pos x="161" y="47"/>
                  </a:cxn>
                  <a:cxn ang="0">
                    <a:pos x="165" y="43"/>
                  </a:cxn>
                  <a:cxn ang="0">
                    <a:pos x="165" y="43"/>
                  </a:cxn>
                  <a:cxn ang="0">
                    <a:pos x="169" y="39"/>
                  </a:cxn>
                  <a:cxn ang="0">
                    <a:pos x="165" y="34"/>
                  </a:cxn>
                  <a:cxn ang="0">
                    <a:pos x="165" y="34"/>
                  </a:cxn>
                </a:cxnLst>
                <a:rect l="0" t="0" r="r" b="b"/>
                <a:pathLst>
                  <a:path w="169" h="51">
                    <a:moveTo>
                      <a:pt x="165" y="34"/>
                    </a:moveTo>
                    <a:lnTo>
                      <a:pt x="165" y="34"/>
                    </a:lnTo>
                    <a:lnTo>
                      <a:pt x="148" y="17"/>
                    </a:lnTo>
                    <a:lnTo>
                      <a:pt x="130" y="8"/>
                    </a:lnTo>
                    <a:lnTo>
                      <a:pt x="109" y="4"/>
                    </a:lnTo>
                    <a:lnTo>
                      <a:pt x="87" y="0"/>
                    </a:lnTo>
                    <a:lnTo>
                      <a:pt x="87" y="0"/>
                    </a:lnTo>
                    <a:lnTo>
                      <a:pt x="65" y="4"/>
                    </a:lnTo>
                    <a:lnTo>
                      <a:pt x="44" y="13"/>
                    </a:lnTo>
                    <a:lnTo>
                      <a:pt x="22" y="21"/>
                    </a:lnTo>
                    <a:lnTo>
                      <a:pt x="0" y="39"/>
                    </a:lnTo>
                    <a:lnTo>
                      <a:pt x="0" y="39"/>
                    </a:lnTo>
                    <a:lnTo>
                      <a:pt x="0" y="43"/>
                    </a:lnTo>
                    <a:lnTo>
                      <a:pt x="0" y="51"/>
                    </a:lnTo>
                    <a:lnTo>
                      <a:pt x="0" y="51"/>
                    </a:lnTo>
                    <a:lnTo>
                      <a:pt x="9" y="51"/>
                    </a:lnTo>
                    <a:lnTo>
                      <a:pt x="13" y="51"/>
                    </a:lnTo>
                    <a:lnTo>
                      <a:pt x="13" y="51"/>
                    </a:lnTo>
                    <a:lnTo>
                      <a:pt x="31" y="34"/>
                    </a:lnTo>
                    <a:lnTo>
                      <a:pt x="48" y="26"/>
                    </a:lnTo>
                    <a:lnTo>
                      <a:pt x="70" y="21"/>
                    </a:lnTo>
                    <a:lnTo>
                      <a:pt x="87" y="17"/>
                    </a:lnTo>
                    <a:lnTo>
                      <a:pt x="87" y="17"/>
                    </a:lnTo>
                    <a:lnTo>
                      <a:pt x="104" y="21"/>
                    </a:lnTo>
                    <a:lnTo>
                      <a:pt x="122" y="26"/>
                    </a:lnTo>
                    <a:lnTo>
                      <a:pt x="139" y="34"/>
                    </a:lnTo>
                    <a:lnTo>
                      <a:pt x="152" y="43"/>
                    </a:lnTo>
                    <a:lnTo>
                      <a:pt x="152" y="43"/>
                    </a:lnTo>
                    <a:lnTo>
                      <a:pt x="161" y="47"/>
                    </a:lnTo>
                    <a:lnTo>
                      <a:pt x="165" y="43"/>
                    </a:lnTo>
                    <a:lnTo>
                      <a:pt x="165" y="43"/>
                    </a:lnTo>
                    <a:lnTo>
                      <a:pt x="169" y="39"/>
                    </a:lnTo>
                    <a:lnTo>
                      <a:pt x="165" y="34"/>
                    </a:lnTo>
                    <a:lnTo>
                      <a:pt x="165" y="3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grpSp>
        <p:grpSp>
          <p:nvGrpSpPr>
            <p:cNvPr id="77" name="组合 208"/>
            <p:cNvGrpSpPr/>
            <p:nvPr/>
          </p:nvGrpSpPr>
          <p:grpSpPr>
            <a:xfrm>
              <a:off x="1540258" y="3193146"/>
              <a:ext cx="732462" cy="515608"/>
              <a:chOff x="14025563" y="196850"/>
              <a:chExt cx="1201738" cy="984250"/>
            </a:xfrm>
            <a:solidFill>
              <a:srgbClr val="FFC000"/>
            </a:solidFill>
          </p:grpSpPr>
          <p:sp>
            <p:nvSpPr>
              <p:cNvPr id="82" name="Freeform 49"/>
              <p:cNvSpPr>
                <a:spLocks/>
              </p:cNvSpPr>
              <p:nvPr/>
            </p:nvSpPr>
            <p:spPr bwMode="auto">
              <a:xfrm>
                <a:off x="14025563" y="196850"/>
                <a:ext cx="352425" cy="123825"/>
              </a:xfrm>
              <a:custGeom>
                <a:avLst/>
                <a:gdLst/>
                <a:ahLst/>
                <a:cxnLst>
                  <a:cxn ang="0">
                    <a:pos x="32" y="133"/>
                  </a:cxn>
                  <a:cxn ang="0">
                    <a:pos x="42" y="138"/>
                  </a:cxn>
                  <a:cxn ang="0">
                    <a:pos x="49" y="138"/>
                  </a:cxn>
                  <a:cxn ang="0">
                    <a:pos x="54" y="135"/>
                  </a:cxn>
                  <a:cxn ang="0">
                    <a:pos x="87" y="108"/>
                  </a:cxn>
                  <a:cxn ang="0">
                    <a:pos x="126" y="89"/>
                  </a:cxn>
                  <a:cxn ang="0">
                    <a:pos x="167" y="78"/>
                  </a:cxn>
                  <a:cxn ang="0">
                    <a:pos x="211" y="74"/>
                  </a:cxn>
                  <a:cxn ang="0">
                    <a:pos x="224" y="74"/>
                  </a:cxn>
                  <a:cxn ang="0">
                    <a:pos x="248" y="76"/>
                  </a:cxn>
                  <a:cxn ang="0">
                    <a:pos x="292" y="88"/>
                  </a:cxn>
                  <a:cxn ang="0">
                    <a:pos x="332" y="108"/>
                  </a:cxn>
                  <a:cxn ang="0">
                    <a:pos x="367" y="135"/>
                  </a:cxn>
                  <a:cxn ang="0">
                    <a:pos x="384" y="152"/>
                  </a:cxn>
                  <a:cxn ang="0">
                    <a:pos x="396" y="157"/>
                  </a:cxn>
                  <a:cxn ang="0">
                    <a:pos x="401" y="157"/>
                  </a:cxn>
                  <a:cxn ang="0">
                    <a:pos x="437" y="127"/>
                  </a:cxn>
                  <a:cxn ang="0">
                    <a:pos x="442" y="121"/>
                  </a:cxn>
                  <a:cxn ang="0">
                    <a:pos x="443" y="115"/>
                  </a:cxn>
                  <a:cxn ang="0">
                    <a:pos x="438" y="105"/>
                  </a:cxn>
                  <a:cxn ang="0">
                    <a:pos x="418" y="83"/>
                  </a:cxn>
                  <a:cxn ang="0">
                    <a:pos x="369" y="46"/>
                  </a:cxn>
                  <a:cxn ang="0">
                    <a:pos x="317" y="20"/>
                  </a:cxn>
                  <a:cxn ang="0">
                    <a:pos x="258" y="5"/>
                  </a:cxn>
                  <a:cxn ang="0">
                    <a:pos x="227" y="2"/>
                  </a:cxn>
                  <a:cxn ang="0">
                    <a:pos x="211" y="0"/>
                  </a:cxn>
                  <a:cxn ang="0">
                    <a:pos x="153" y="7"/>
                  </a:cxn>
                  <a:cxn ang="0">
                    <a:pos x="99" y="22"/>
                  </a:cxn>
                  <a:cxn ang="0">
                    <a:pos x="50" y="47"/>
                  </a:cxn>
                  <a:cxn ang="0">
                    <a:pos x="5" y="81"/>
                  </a:cxn>
                  <a:cxn ang="0">
                    <a:pos x="1" y="86"/>
                  </a:cxn>
                  <a:cxn ang="0">
                    <a:pos x="0" y="98"/>
                  </a:cxn>
                  <a:cxn ang="0">
                    <a:pos x="32" y="133"/>
                  </a:cxn>
                </a:cxnLst>
                <a:rect l="0" t="0" r="r" b="b"/>
                <a:pathLst>
                  <a:path w="443" h="157">
                    <a:moveTo>
                      <a:pt x="32" y="133"/>
                    </a:moveTo>
                    <a:lnTo>
                      <a:pt x="32" y="133"/>
                    </a:lnTo>
                    <a:lnTo>
                      <a:pt x="37" y="137"/>
                    </a:lnTo>
                    <a:lnTo>
                      <a:pt x="42" y="138"/>
                    </a:lnTo>
                    <a:lnTo>
                      <a:pt x="42" y="138"/>
                    </a:lnTo>
                    <a:lnTo>
                      <a:pt x="49" y="138"/>
                    </a:lnTo>
                    <a:lnTo>
                      <a:pt x="54" y="135"/>
                    </a:lnTo>
                    <a:lnTo>
                      <a:pt x="54" y="135"/>
                    </a:lnTo>
                    <a:lnTo>
                      <a:pt x="71" y="121"/>
                    </a:lnTo>
                    <a:lnTo>
                      <a:pt x="87" y="108"/>
                    </a:lnTo>
                    <a:lnTo>
                      <a:pt x="106" y="98"/>
                    </a:lnTo>
                    <a:lnTo>
                      <a:pt x="126" y="89"/>
                    </a:lnTo>
                    <a:lnTo>
                      <a:pt x="146" y="83"/>
                    </a:lnTo>
                    <a:lnTo>
                      <a:pt x="167" y="78"/>
                    </a:lnTo>
                    <a:lnTo>
                      <a:pt x="189" y="74"/>
                    </a:lnTo>
                    <a:lnTo>
                      <a:pt x="211" y="74"/>
                    </a:lnTo>
                    <a:lnTo>
                      <a:pt x="211" y="74"/>
                    </a:lnTo>
                    <a:lnTo>
                      <a:pt x="224" y="74"/>
                    </a:lnTo>
                    <a:lnTo>
                      <a:pt x="224" y="74"/>
                    </a:lnTo>
                    <a:lnTo>
                      <a:pt x="248" y="76"/>
                    </a:lnTo>
                    <a:lnTo>
                      <a:pt x="270" y="81"/>
                    </a:lnTo>
                    <a:lnTo>
                      <a:pt x="292" y="88"/>
                    </a:lnTo>
                    <a:lnTo>
                      <a:pt x="312" y="96"/>
                    </a:lnTo>
                    <a:lnTo>
                      <a:pt x="332" y="108"/>
                    </a:lnTo>
                    <a:lnTo>
                      <a:pt x="351" y="121"/>
                    </a:lnTo>
                    <a:lnTo>
                      <a:pt x="367" y="135"/>
                    </a:lnTo>
                    <a:lnTo>
                      <a:pt x="384" y="152"/>
                    </a:lnTo>
                    <a:lnTo>
                      <a:pt x="384" y="152"/>
                    </a:lnTo>
                    <a:lnTo>
                      <a:pt x="389" y="155"/>
                    </a:lnTo>
                    <a:lnTo>
                      <a:pt x="396" y="157"/>
                    </a:lnTo>
                    <a:lnTo>
                      <a:pt x="396" y="157"/>
                    </a:lnTo>
                    <a:lnTo>
                      <a:pt x="401" y="157"/>
                    </a:lnTo>
                    <a:lnTo>
                      <a:pt x="406" y="154"/>
                    </a:lnTo>
                    <a:lnTo>
                      <a:pt x="437" y="127"/>
                    </a:lnTo>
                    <a:lnTo>
                      <a:pt x="437" y="127"/>
                    </a:lnTo>
                    <a:lnTo>
                      <a:pt x="442" y="121"/>
                    </a:lnTo>
                    <a:lnTo>
                      <a:pt x="443" y="115"/>
                    </a:lnTo>
                    <a:lnTo>
                      <a:pt x="443" y="115"/>
                    </a:lnTo>
                    <a:lnTo>
                      <a:pt x="442" y="110"/>
                    </a:lnTo>
                    <a:lnTo>
                      <a:pt x="438" y="105"/>
                    </a:lnTo>
                    <a:lnTo>
                      <a:pt x="438" y="105"/>
                    </a:lnTo>
                    <a:lnTo>
                      <a:pt x="418" y="83"/>
                    </a:lnTo>
                    <a:lnTo>
                      <a:pt x="394" y="62"/>
                    </a:lnTo>
                    <a:lnTo>
                      <a:pt x="369" y="46"/>
                    </a:lnTo>
                    <a:lnTo>
                      <a:pt x="344" y="32"/>
                    </a:lnTo>
                    <a:lnTo>
                      <a:pt x="317" y="20"/>
                    </a:lnTo>
                    <a:lnTo>
                      <a:pt x="288" y="10"/>
                    </a:lnTo>
                    <a:lnTo>
                      <a:pt x="258" y="5"/>
                    </a:lnTo>
                    <a:lnTo>
                      <a:pt x="227" y="2"/>
                    </a:lnTo>
                    <a:lnTo>
                      <a:pt x="227" y="2"/>
                    </a:lnTo>
                    <a:lnTo>
                      <a:pt x="211" y="0"/>
                    </a:lnTo>
                    <a:lnTo>
                      <a:pt x="211" y="0"/>
                    </a:lnTo>
                    <a:lnTo>
                      <a:pt x="182" y="2"/>
                    </a:lnTo>
                    <a:lnTo>
                      <a:pt x="153" y="7"/>
                    </a:lnTo>
                    <a:lnTo>
                      <a:pt x="126" y="12"/>
                    </a:lnTo>
                    <a:lnTo>
                      <a:pt x="99" y="22"/>
                    </a:lnTo>
                    <a:lnTo>
                      <a:pt x="74" y="32"/>
                    </a:lnTo>
                    <a:lnTo>
                      <a:pt x="50" y="47"/>
                    </a:lnTo>
                    <a:lnTo>
                      <a:pt x="27" y="62"/>
                    </a:lnTo>
                    <a:lnTo>
                      <a:pt x="5" y="81"/>
                    </a:lnTo>
                    <a:lnTo>
                      <a:pt x="5" y="81"/>
                    </a:lnTo>
                    <a:lnTo>
                      <a:pt x="1" y="86"/>
                    </a:lnTo>
                    <a:lnTo>
                      <a:pt x="0" y="91"/>
                    </a:lnTo>
                    <a:lnTo>
                      <a:pt x="0" y="98"/>
                    </a:lnTo>
                    <a:lnTo>
                      <a:pt x="3" y="103"/>
                    </a:lnTo>
                    <a:lnTo>
                      <a:pt x="32" y="13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83" name="Freeform 50"/>
              <p:cNvSpPr>
                <a:spLocks/>
              </p:cNvSpPr>
              <p:nvPr/>
            </p:nvSpPr>
            <p:spPr bwMode="auto">
              <a:xfrm>
                <a:off x="14100175" y="293688"/>
                <a:ext cx="196850" cy="87313"/>
              </a:xfrm>
              <a:custGeom>
                <a:avLst/>
                <a:gdLst/>
                <a:ahLst/>
                <a:cxnLst>
                  <a:cxn ang="0">
                    <a:pos x="129" y="0"/>
                  </a:cxn>
                  <a:cxn ang="0">
                    <a:pos x="129" y="0"/>
                  </a:cxn>
                  <a:cxn ang="0">
                    <a:pos x="119" y="0"/>
                  </a:cxn>
                  <a:cxn ang="0">
                    <a:pos x="119" y="0"/>
                  </a:cxn>
                  <a:cxn ang="0">
                    <a:pos x="103" y="2"/>
                  </a:cxn>
                  <a:cxn ang="0">
                    <a:pos x="88" y="4"/>
                  </a:cxn>
                  <a:cxn ang="0">
                    <a:pos x="73" y="7"/>
                  </a:cxn>
                  <a:cxn ang="0">
                    <a:pos x="58" y="12"/>
                  </a:cxn>
                  <a:cxn ang="0">
                    <a:pos x="44" y="19"/>
                  </a:cxn>
                  <a:cxn ang="0">
                    <a:pos x="29" y="26"/>
                  </a:cxn>
                  <a:cxn ang="0">
                    <a:pos x="17" y="36"/>
                  </a:cxn>
                  <a:cxn ang="0">
                    <a:pos x="6" y="46"/>
                  </a:cxn>
                  <a:cxn ang="0">
                    <a:pos x="6" y="46"/>
                  </a:cxn>
                  <a:cxn ang="0">
                    <a:pos x="0" y="51"/>
                  </a:cxn>
                  <a:cxn ang="0">
                    <a:pos x="0" y="56"/>
                  </a:cxn>
                  <a:cxn ang="0">
                    <a:pos x="0" y="63"/>
                  </a:cxn>
                  <a:cxn ang="0">
                    <a:pos x="4" y="68"/>
                  </a:cxn>
                  <a:cxn ang="0">
                    <a:pos x="33" y="98"/>
                  </a:cxn>
                  <a:cxn ang="0">
                    <a:pos x="33" y="98"/>
                  </a:cxn>
                  <a:cxn ang="0">
                    <a:pos x="38" y="102"/>
                  </a:cxn>
                  <a:cxn ang="0">
                    <a:pos x="43" y="103"/>
                  </a:cxn>
                  <a:cxn ang="0">
                    <a:pos x="43" y="103"/>
                  </a:cxn>
                  <a:cxn ang="0">
                    <a:pos x="49" y="102"/>
                  </a:cxn>
                  <a:cxn ang="0">
                    <a:pos x="54" y="98"/>
                  </a:cxn>
                  <a:cxn ang="0">
                    <a:pos x="54" y="98"/>
                  </a:cxn>
                  <a:cxn ang="0">
                    <a:pos x="68" y="88"/>
                  </a:cxn>
                  <a:cxn ang="0">
                    <a:pos x="85" y="80"/>
                  </a:cxn>
                  <a:cxn ang="0">
                    <a:pos x="102" y="76"/>
                  </a:cxn>
                  <a:cxn ang="0">
                    <a:pos x="119" y="75"/>
                  </a:cxn>
                  <a:cxn ang="0">
                    <a:pos x="119" y="75"/>
                  </a:cxn>
                  <a:cxn ang="0">
                    <a:pos x="125" y="75"/>
                  </a:cxn>
                  <a:cxn ang="0">
                    <a:pos x="125" y="75"/>
                  </a:cxn>
                  <a:cxn ang="0">
                    <a:pos x="144" y="76"/>
                  </a:cxn>
                  <a:cxn ang="0">
                    <a:pos x="161" y="83"/>
                  </a:cxn>
                  <a:cxn ang="0">
                    <a:pos x="176" y="93"/>
                  </a:cxn>
                  <a:cxn ang="0">
                    <a:pos x="191" y="105"/>
                  </a:cxn>
                  <a:cxn ang="0">
                    <a:pos x="191" y="105"/>
                  </a:cxn>
                  <a:cxn ang="0">
                    <a:pos x="196" y="108"/>
                  </a:cxn>
                  <a:cxn ang="0">
                    <a:pos x="203" y="110"/>
                  </a:cxn>
                  <a:cxn ang="0">
                    <a:pos x="203" y="110"/>
                  </a:cxn>
                  <a:cxn ang="0">
                    <a:pos x="208" y="110"/>
                  </a:cxn>
                  <a:cxn ang="0">
                    <a:pos x="213" y="107"/>
                  </a:cxn>
                  <a:cxn ang="0">
                    <a:pos x="243" y="80"/>
                  </a:cxn>
                  <a:cxn ang="0">
                    <a:pos x="243" y="80"/>
                  </a:cxn>
                  <a:cxn ang="0">
                    <a:pos x="247" y="75"/>
                  </a:cxn>
                  <a:cxn ang="0">
                    <a:pos x="248" y="68"/>
                  </a:cxn>
                  <a:cxn ang="0">
                    <a:pos x="248" y="68"/>
                  </a:cxn>
                  <a:cxn ang="0">
                    <a:pos x="248" y="63"/>
                  </a:cxn>
                  <a:cxn ang="0">
                    <a:pos x="245" y="58"/>
                  </a:cxn>
                  <a:cxn ang="0">
                    <a:pos x="245" y="58"/>
                  </a:cxn>
                  <a:cxn ang="0">
                    <a:pos x="233" y="46"/>
                  </a:cxn>
                  <a:cxn ang="0">
                    <a:pos x="221" y="34"/>
                  </a:cxn>
                  <a:cxn ang="0">
                    <a:pos x="208" y="26"/>
                  </a:cxn>
                  <a:cxn ang="0">
                    <a:pos x="193" y="17"/>
                  </a:cxn>
                  <a:cxn ang="0">
                    <a:pos x="178" y="11"/>
                  </a:cxn>
                  <a:cxn ang="0">
                    <a:pos x="162" y="7"/>
                  </a:cxn>
                  <a:cxn ang="0">
                    <a:pos x="146" y="4"/>
                  </a:cxn>
                  <a:cxn ang="0">
                    <a:pos x="129" y="0"/>
                  </a:cxn>
                  <a:cxn ang="0">
                    <a:pos x="129" y="0"/>
                  </a:cxn>
                </a:cxnLst>
                <a:rect l="0" t="0" r="r" b="b"/>
                <a:pathLst>
                  <a:path w="248" h="110">
                    <a:moveTo>
                      <a:pt x="129" y="0"/>
                    </a:moveTo>
                    <a:lnTo>
                      <a:pt x="129" y="0"/>
                    </a:lnTo>
                    <a:lnTo>
                      <a:pt x="119" y="0"/>
                    </a:lnTo>
                    <a:lnTo>
                      <a:pt x="119" y="0"/>
                    </a:lnTo>
                    <a:lnTo>
                      <a:pt x="103" y="2"/>
                    </a:lnTo>
                    <a:lnTo>
                      <a:pt x="88" y="4"/>
                    </a:lnTo>
                    <a:lnTo>
                      <a:pt x="73" y="7"/>
                    </a:lnTo>
                    <a:lnTo>
                      <a:pt x="58" y="12"/>
                    </a:lnTo>
                    <a:lnTo>
                      <a:pt x="44" y="19"/>
                    </a:lnTo>
                    <a:lnTo>
                      <a:pt x="29" y="26"/>
                    </a:lnTo>
                    <a:lnTo>
                      <a:pt x="17" y="36"/>
                    </a:lnTo>
                    <a:lnTo>
                      <a:pt x="6" y="46"/>
                    </a:lnTo>
                    <a:lnTo>
                      <a:pt x="6" y="46"/>
                    </a:lnTo>
                    <a:lnTo>
                      <a:pt x="0" y="51"/>
                    </a:lnTo>
                    <a:lnTo>
                      <a:pt x="0" y="56"/>
                    </a:lnTo>
                    <a:lnTo>
                      <a:pt x="0" y="63"/>
                    </a:lnTo>
                    <a:lnTo>
                      <a:pt x="4" y="68"/>
                    </a:lnTo>
                    <a:lnTo>
                      <a:pt x="33" y="98"/>
                    </a:lnTo>
                    <a:lnTo>
                      <a:pt x="33" y="98"/>
                    </a:lnTo>
                    <a:lnTo>
                      <a:pt x="38" y="102"/>
                    </a:lnTo>
                    <a:lnTo>
                      <a:pt x="43" y="103"/>
                    </a:lnTo>
                    <a:lnTo>
                      <a:pt x="43" y="103"/>
                    </a:lnTo>
                    <a:lnTo>
                      <a:pt x="49" y="102"/>
                    </a:lnTo>
                    <a:lnTo>
                      <a:pt x="54" y="98"/>
                    </a:lnTo>
                    <a:lnTo>
                      <a:pt x="54" y="98"/>
                    </a:lnTo>
                    <a:lnTo>
                      <a:pt x="68" y="88"/>
                    </a:lnTo>
                    <a:lnTo>
                      <a:pt x="85" y="80"/>
                    </a:lnTo>
                    <a:lnTo>
                      <a:pt x="102" y="76"/>
                    </a:lnTo>
                    <a:lnTo>
                      <a:pt x="119" y="75"/>
                    </a:lnTo>
                    <a:lnTo>
                      <a:pt x="119" y="75"/>
                    </a:lnTo>
                    <a:lnTo>
                      <a:pt x="125" y="75"/>
                    </a:lnTo>
                    <a:lnTo>
                      <a:pt x="125" y="75"/>
                    </a:lnTo>
                    <a:lnTo>
                      <a:pt x="144" y="76"/>
                    </a:lnTo>
                    <a:lnTo>
                      <a:pt x="161" y="83"/>
                    </a:lnTo>
                    <a:lnTo>
                      <a:pt x="176" y="93"/>
                    </a:lnTo>
                    <a:lnTo>
                      <a:pt x="191" y="105"/>
                    </a:lnTo>
                    <a:lnTo>
                      <a:pt x="191" y="105"/>
                    </a:lnTo>
                    <a:lnTo>
                      <a:pt x="196" y="108"/>
                    </a:lnTo>
                    <a:lnTo>
                      <a:pt x="203" y="110"/>
                    </a:lnTo>
                    <a:lnTo>
                      <a:pt x="203" y="110"/>
                    </a:lnTo>
                    <a:lnTo>
                      <a:pt x="208" y="110"/>
                    </a:lnTo>
                    <a:lnTo>
                      <a:pt x="213" y="107"/>
                    </a:lnTo>
                    <a:lnTo>
                      <a:pt x="243" y="80"/>
                    </a:lnTo>
                    <a:lnTo>
                      <a:pt x="243" y="80"/>
                    </a:lnTo>
                    <a:lnTo>
                      <a:pt x="247" y="75"/>
                    </a:lnTo>
                    <a:lnTo>
                      <a:pt x="248" y="68"/>
                    </a:lnTo>
                    <a:lnTo>
                      <a:pt x="248" y="68"/>
                    </a:lnTo>
                    <a:lnTo>
                      <a:pt x="248" y="63"/>
                    </a:lnTo>
                    <a:lnTo>
                      <a:pt x="245" y="58"/>
                    </a:lnTo>
                    <a:lnTo>
                      <a:pt x="245" y="58"/>
                    </a:lnTo>
                    <a:lnTo>
                      <a:pt x="233" y="46"/>
                    </a:lnTo>
                    <a:lnTo>
                      <a:pt x="221" y="34"/>
                    </a:lnTo>
                    <a:lnTo>
                      <a:pt x="208" y="26"/>
                    </a:lnTo>
                    <a:lnTo>
                      <a:pt x="193" y="17"/>
                    </a:lnTo>
                    <a:lnTo>
                      <a:pt x="178" y="11"/>
                    </a:lnTo>
                    <a:lnTo>
                      <a:pt x="162" y="7"/>
                    </a:lnTo>
                    <a:lnTo>
                      <a:pt x="146" y="4"/>
                    </a:lnTo>
                    <a:lnTo>
                      <a:pt x="129" y="0"/>
                    </a:lnTo>
                    <a:lnTo>
                      <a:pt x="129"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sp>
            <p:nvSpPr>
              <p:cNvPr id="84" name="Freeform 51"/>
              <p:cNvSpPr>
                <a:spLocks noEditPoints="1"/>
              </p:cNvSpPr>
              <p:nvPr/>
            </p:nvSpPr>
            <p:spPr bwMode="auto">
              <a:xfrm>
                <a:off x="14025563" y="415925"/>
                <a:ext cx="1201738" cy="765175"/>
              </a:xfrm>
              <a:custGeom>
                <a:avLst/>
                <a:gdLst/>
                <a:ahLst/>
                <a:cxnLst>
                  <a:cxn ang="0">
                    <a:pos x="1477" y="175"/>
                  </a:cxn>
                  <a:cxn ang="0">
                    <a:pos x="1464" y="165"/>
                  </a:cxn>
                  <a:cxn ang="0">
                    <a:pos x="1445" y="165"/>
                  </a:cxn>
                  <a:cxn ang="0">
                    <a:pos x="1400" y="199"/>
                  </a:cxn>
                  <a:cxn ang="0">
                    <a:pos x="1390" y="187"/>
                  </a:cxn>
                  <a:cxn ang="0">
                    <a:pos x="1378" y="189"/>
                  </a:cxn>
                  <a:cxn ang="0">
                    <a:pos x="1032" y="454"/>
                  </a:cxn>
                  <a:cxn ang="0">
                    <a:pos x="852" y="592"/>
                  </a:cxn>
                  <a:cxn ang="0">
                    <a:pos x="821" y="690"/>
                  </a:cxn>
                  <a:cxn ang="0">
                    <a:pos x="819" y="700"/>
                  </a:cxn>
                  <a:cxn ang="0">
                    <a:pos x="825" y="708"/>
                  </a:cxn>
                  <a:cxn ang="0">
                    <a:pos x="835" y="715"/>
                  </a:cxn>
                  <a:cxn ang="0">
                    <a:pos x="932" y="710"/>
                  </a:cxn>
                  <a:cxn ang="0">
                    <a:pos x="1032" y="641"/>
                  </a:cxn>
                  <a:cxn ang="0">
                    <a:pos x="1032" y="777"/>
                  </a:cxn>
                  <a:cxn ang="0">
                    <a:pos x="1024" y="794"/>
                  </a:cxn>
                  <a:cxn ang="0">
                    <a:pos x="1007" y="803"/>
                  </a:cxn>
                  <a:cxn ang="0">
                    <a:pos x="195" y="803"/>
                  </a:cxn>
                  <a:cxn ang="0">
                    <a:pos x="178" y="798"/>
                  </a:cxn>
                  <a:cxn ang="0">
                    <a:pos x="167" y="784"/>
                  </a:cxn>
                  <a:cxn ang="0">
                    <a:pos x="165" y="256"/>
                  </a:cxn>
                  <a:cxn ang="0">
                    <a:pos x="167" y="244"/>
                  </a:cxn>
                  <a:cxn ang="0">
                    <a:pos x="178" y="231"/>
                  </a:cxn>
                  <a:cxn ang="0">
                    <a:pos x="195" y="226"/>
                  </a:cxn>
                  <a:cxn ang="0">
                    <a:pos x="1007" y="227"/>
                  </a:cxn>
                  <a:cxn ang="0">
                    <a:pos x="1024" y="236"/>
                  </a:cxn>
                  <a:cxn ang="0">
                    <a:pos x="1032" y="251"/>
                  </a:cxn>
                  <a:cxn ang="0">
                    <a:pos x="1197" y="229"/>
                  </a:cxn>
                  <a:cxn ang="0">
                    <a:pos x="1196" y="71"/>
                  </a:cxn>
                  <a:cxn ang="0">
                    <a:pos x="1186" y="50"/>
                  </a:cxn>
                  <a:cxn ang="0">
                    <a:pos x="1164" y="39"/>
                  </a:cxn>
                  <a:cxn ang="0">
                    <a:pos x="285" y="39"/>
                  </a:cxn>
                  <a:cxn ang="0">
                    <a:pos x="276" y="17"/>
                  </a:cxn>
                  <a:cxn ang="0">
                    <a:pos x="259" y="3"/>
                  </a:cxn>
                  <a:cxn ang="0">
                    <a:pos x="185" y="0"/>
                  </a:cxn>
                  <a:cxn ang="0">
                    <a:pos x="170" y="3"/>
                  </a:cxn>
                  <a:cxn ang="0">
                    <a:pos x="152" y="17"/>
                  </a:cxn>
                  <a:cxn ang="0">
                    <a:pos x="145" y="39"/>
                  </a:cxn>
                  <a:cxn ang="0">
                    <a:pos x="32" y="39"/>
                  </a:cxn>
                  <a:cxn ang="0">
                    <a:pos x="11" y="50"/>
                  </a:cxn>
                  <a:cxn ang="0">
                    <a:pos x="0" y="71"/>
                  </a:cxn>
                  <a:cxn ang="0">
                    <a:pos x="0" y="808"/>
                  </a:cxn>
                  <a:cxn ang="0">
                    <a:pos x="6" y="853"/>
                  </a:cxn>
                  <a:cxn ang="0">
                    <a:pos x="25" y="896"/>
                  </a:cxn>
                  <a:cxn ang="0">
                    <a:pos x="55" y="928"/>
                  </a:cxn>
                  <a:cxn ang="0">
                    <a:pos x="94" y="951"/>
                  </a:cxn>
                  <a:cxn ang="0">
                    <a:pos x="140" y="963"/>
                  </a:cxn>
                  <a:cxn ang="0">
                    <a:pos x="1049" y="963"/>
                  </a:cxn>
                  <a:cxn ang="0">
                    <a:pos x="1093" y="956"/>
                  </a:cxn>
                  <a:cxn ang="0">
                    <a:pos x="1132" y="938"/>
                  </a:cxn>
                  <a:cxn ang="0">
                    <a:pos x="1164" y="911"/>
                  </a:cxn>
                  <a:cxn ang="0">
                    <a:pos x="1186" y="874"/>
                  </a:cxn>
                  <a:cxn ang="0">
                    <a:pos x="1196" y="831"/>
                  </a:cxn>
                  <a:cxn ang="0">
                    <a:pos x="1405" y="357"/>
                  </a:cxn>
                  <a:cxn ang="0">
                    <a:pos x="1474" y="303"/>
                  </a:cxn>
                  <a:cxn ang="0">
                    <a:pos x="1472" y="292"/>
                  </a:cxn>
                  <a:cxn ang="0">
                    <a:pos x="1501" y="254"/>
                  </a:cxn>
                  <a:cxn ang="0">
                    <a:pos x="1511" y="241"/>
                  </a:cxn>
                  <a:cxn ang="0">
                    <a:pos x="1511" y="222"/>
                  </a:cxn>
                  <a:cxn ang="0">
                    <a:pos x="1489" y="190"/>
                  </a:cxn>
                  <a:cxn ang="0">
                    <a:pos x="639" y="172"/>
                  </a:cxn>
                </a:cxnLst>
                <a:rect l="0" t="0" r="r" b="b"/>
                <a:pathLst>
                  <a:path w="1513" h="963">
                    <a:moveTo>
                      <a:pt x="1489" y="190"/>
                    </a:moveTo>
                    <a:lnTo>
                      <a:pt x="1477" y="175"/>
                    </a:lnTo>
                    <a:lnTo>
                      <a:pt x="1477" y="175"/>
                    </a:lnTo>
                    <a:lnTo>
                      <a:pt x="1474" y="172"/>
                    </a:lnTo>
                    <a:lnTo>
                      <a:pt x="1469" y="168"/>
                    </a:lnTo>
                    <a:lnTo>
                      <a:pt x="1464" y="165"/>
                    </a:lnTo>
                    <a:lnTo>
                      <a:pt x="1457" y="165"/>
                    </a:lnTo>
                    <a:lnTo>
                      <a:pt x="1452" y="163"/>
                    </a:lnTo>
                    <a:lnTo>
                      <a:pt x="1445" y="165"/>
                    </a:lnTo>
                    <a:lnTo>
                      <a:pt x="1440" y="167"/>
                    </a:lnTo>
                    <a:lnTo>
                      <a:pt x="1435" y="170"/>
                    </a:lnTo>
                    <a:lnTo>
                      <a:pt x="1400" y="199"/>
                    </a:lnTo>
                    <a:lnTo>
                      <a:pt x="1393" y="190"/>
                    </a:lnTo>
                    <a:lnTo>
                      <a:pt x="1393" y="190"/>
                    </a:lnTo>
                    <a:lnTo>
                      <a:pt x="1390" y="187"/>
                    </a:lnTo>
                    <a:lnTo>
                      <a:pt x="1386" y="185"/>
                    </a:lnTo>
                    <a:lnTo>
                      <a:pt x="1381" y="187"/>
                    </a:lnTo>
                    <a:lnTo>
                      <a:pt x="1378" y="189"/>
                    </a:lnTo>
                    <a:lnTo>
                      <a:pt x="1314" y="239"/>
                    </a:lnTo>
                    <a:lnTo>
                      <a:pt x="1197" y="327"/>
                    </a:lnTo>
                    <a:lnTo>
                      <a:pt x="1032" y="454"/>
                    </a:lnTo>
                    <a:lnTo>
                      <a:pt x="858" y="585"/>
                    </a:lnTo>
                    <a:lnTo>
                      <a:pt x="858" y="585"/>
                    </a:lnTo>
                    <a:lnTo>
                      <a:pt x="852" y="592"/>
                    </a:lnTo>
                    <a:lnTo>
                      <a:pt x="848" y="602"/>
                    </a:lnTo>
                    <a:lnTo>
                      <a:pt x="840" y="626"/>
                    </a:lnTo>
                    <a:lnTo>
                      <a:pt x="821" y="690"/>
                    </a:lnTo>
                    <a:lnTo>
                      <a:pt x="821" y="690"/>
                    </a:lnTo>
                    <a:lnTo>
                      <a:pt x="819" y="695"/>
                    </a:lnTo>
                    <a:lnTo>
                      <a:pt x="819" y="700"/>
                    </a:lnTo>
                    <a:lnTo>
                      <a:pt x="821" y="703"/>
                    </a:lnTo>
                    <a:lnTo>
                      <a:pt x="825" y="708"/>
                    </a:lnTo>
                    <a:lnTo>
                      <a:pt x="825" y="708"/>
                    </a:lnTo>
                    <a:lnTo>
                      <a:pt x="828" y="712"/>
                    </a:lnTo>
                    <a:lnTo>
                      <a:pt x="831" y="713"/>
                    </a:lnTo>
                    <a:lnTo>
                      <a:pt x="835" y="715"/>
                    </a:lnTo>
                    <a:lnTo>
                      <a:pt x="840" y="715"/>
                    </a:lnTo>
                    <a:lnTo>
                      <a:pt x="932" y="710"/>
                    </a:lnTo>
                    <a:lnTo>
                      <a:pt x="932" y="710"/>
                    </a:lnTo>
                    <a:lnTo>
                      <a:pt x="943" y="708"/>
                    </a:lnTo>
                    <a:lnTo>
                      <a:pt x="951" y="703"/>
                    </a:lnTo>
                    <a:lnTo>
                      <a:pt x="1032" y="641"/>
                    </a:lnTo>
                    <a:lnTo>
                      <a:pt x="1032" y="772"/>
                    </a:lnTo>
                    <a:lnTo>
                      <a:pt x="1032" y="772"/>
                    </a:lnTo>
                    <a:lnTo>
                      <a:pt x="1032" y="777"/>
                    </a:lnTo>
                    <a:lnTo>
                      <a:pt x="1030" y="784"/>
                    </a:lnTo>
                    <a:lnTo>
                      <a:pt x="1027" y="789"/>
                    </a:lnTo>
                    <a:lnTo>
                      <a:pt x="1024" y="794"/>
                    </a:lnTo>
                    <a:lnTo>
                      <a:pt x="1019" y="798"/>
                    </a:lnTo>
                    <a:lnTo>
                      <a:pt x="1013" y="799"/>
                    </a:lnTo>
                    <a:lnTo>
                      <a:pt x="1007" y="803"/>
                    </a:lnTo>
                    <a:lnTo>
                      <a:pt x="1002" y="803"/>
                    </a:lnTo>
                    <a:lnTo>
                      <a:pt x="195" y="803"/>
                    </a:lnTo>
                    <a:lnTo>
                      <a:pt x="195" y="803"/>
                    </a:lnTo>
                    <a:lnTo>
                      <a:pt x="189" y="803"/>
                    </a:lnTo>
                    <a:lnTo>
                      <a:pt x="184" y="799"/>
                    </a:lnTo>
                    <a:lnTo>
                      <a:pt x="178" y="798"/>
                    </a:lnTo>
                    <a:lnTo>
                      <a:pt x="173" y="794"/>
                    </a:lnTo>
                    <a:lnTo>
                      <a:pt x="170" y="789"/>
                    </a:lnTo>
                    <a:lnTo>
                      <a:pt x="167" y="784"/>
                    </a:lnTo>
                    <a:lnTo>
                      <a:pt x="165" y="777"/>
                    </a:lnTo>
                    <a:lnTo>
                      <a:pt x="165" y="772"/>
                    </a:lnTo>
                    <a:lnTo>
                      <a:pt x="165" y="256"/>
                    </a:lnTo>
                    <a:lnTo>
                      <a:pt x="165" y="256"/>
                    </a:lnTo>
                    <a:lnTo>
                      <a:pt x="165" y="251"/>
                    </a:lnTo>
                    <a:lnTo>
                      <a:pt x="167" y="244"/>
                    </a:lnTo>
                    <a:lnTo>
                      <a:pt x="170" y="239"/>
                    </a:lnTo>
                    <a:lnTo>
                      <a:pt x="173" y="236"/>
                    </a:lnTo>
                    <a:lnTo>
                      <a:pt x="178" y="231"/>
                    </a:lnTo>
                    <a:lnTo>
                      <a:pt x="184" y="229"/>
                    </a:lnTo>
                    <a:lnTo>
                      <a:pt x="189" y="227"/>
                    </a:lnTo>
                    <a:lnTo>
                      <a:pt x="195" y="226"/>
                    </a:lnTo>
                    <a:lnTo>
                      <a:pt x="1002" y="226"/>
                    </a:lnTo>
                    <a:lnTo>
                      <a:pt x="1002" y="226"/>
                    </a:lnTo>
                    <a:lnTo>
                      <a:pt x="1007" y="227"/>
                    </a:lnTo>
                    <a:lnTo>
                      <a:pt x="1013" y="229"/>
                    </a:lnTo>
                    <a:lnTo>
                      <a:pt x="1019" y="231"/>
                    </a:lnTo>
                    <a:lnTo>
                      <a:pt x="1024" y="236"/>
                    </a:lnTo>
                    <a:lnTo>
                      <a:pt x="1027" y="239"/>
                    </a:lnTo>
                    <a:lnTo>
                      <a:pt x="1030" y="244"/>
                    </a:lnTo>
                    <a:lnTo>
                      <a:pt x="1032" y="251"/>
                    </a:lnTo>
                    <a:lnTo>
                      <a:pt x="1032" y="256"/>
                    </a:lnTo>
                    <a:lnTo>
                      <a:pt x="1032" y="359"/>
                    </a:lnTo>
                    <a:lnTo>
                      <a:pt x="1197" y="229"/>
                    </a:lnTo>
                    <a:lnTo>
                      <a:pt x="1197" y="79"/>
                    </a:lnTo>
                    <a:lnTo>
                      <a:pt x="1197" y="79"/>
                    </a:lnTo>
                    <a:lnTo>
                      <a:pt x="1196" y="71"/>
                    </a:lnTo>
                    <a:lnTo>
                      <a:pt x="1194" y="64"/>
                    </a:lnTo>
                    <a:lnTo>
                      <a:pt x="1191" y="57"/>
                    </a:lnTo>
                    <a:lnTo>
                      <a:pt x="1186" y="50"/>
                    </a:lnTo>
                    <a:lnTo>
                      <a:pt x="1179" y="45"/>
                    </a:lnTo>
                    <a:lnTo>
                      <a:pt x="1172" y="42"/>
                    </a:lnTo>
                    <a:lnTo>
                      <a:pt x="1164" y="39"/>
                    </a:lnTo>
                    <a:lnTo>
                      <a:pt x="1157" y="39"/>
                    </a:lnTo>
                    <a:lnTo>
                      <a:pt x="285" y="39"/>
                    </a:lnTo>
                    <a:lnTo>
                      <a:pt x="285" y="39"/>
                    </a:lnTo>
                    <a:lnTo>
                      <a:pt x="283" y="30"/>
                    </a:lnTo>
                    <a:lnTo>
                      <a:pt x="280" y="23"/>
                    </a:lnTo>
                    <a:lnTo>
                      <a:pt x="276" y="17"/>
                    </a:lnTo>
                    <a:lnTo>
                      <a:pt x="271" y="12"/>
                    </a:lnTo>
                    <a:lnTo>
                      <a:pt x="266" y="6"/>
                    </a:lnTo>
                    <a:lnTo>
                      <a:pt x="259" y="3"/>
                    </a:lnTo>
                    <a:lnTo>
                      <a:pt x="251" y="1"/>
                    </a:lnTo>
                    <a:lnTo>
                      <a:pt x="243" y="0"/>
                    </a:lnTo>
                    <a:lnTo>
                      <a:pt x="185" y="0"/>
                    </a:lnTo>
                    <a:lnTo>
                      <a:pt x="185" y="0"/>
                    </a:lnTo>
                    <a:lnTo>
                      <a:pt x="177" y="1"/>
                    </a:lnTo>
                    <a:lnTo>
                      <a:pt x="170" y="3"/>
                    </a:lnTo>
                    <a:lnTo>
                      <a:pt x="163" y="6"/>
                    </a:lnTo>
                    <a:lnTo>
                      <a:pt x="157" y="12"/>
                    </a:lnTo>
                    <a:lnTo>
                      <a:pt x="152" y="17"/>
                    </a:lnTo>
                    <a:lnTo>
                      <a:pt x="148" y="23"/>
                    </a:lnTo>
                    <a:lnTo>
                      <a:pt x="145" y="30"/>
                    </a:lnTo>
                    <a:lnTo>
                      <a:pt x="145" y="39"/>
                    </a:lnTo>
                    <a:lnTo>
                      <a:pt x="40" y="39"/>
                    </a:lnTo>
                    <a:lnTo>
                      <a:pt x="40" y="39"/>
                    </a:lnTo>
                    <a:lnTo>
                      <a:pt x="32" y="39"/>
                    </a:lnTo>
                    <a:lnTo>
                      <a:pt x="25" y="42"/>
                    </a:lnTo>
                    <a:lnTo>
                      <a:pt x="17" y="45"/>
                    </a:lnTo>
                    <a:lnTo>
                      <a:pt x="11" y="50"/>
                    </a:lnTo>
                    <a:lnTo>
                      <a:pt x="6" y="57"/>
                    </a:lnTo>
                    <a:lnTo>
                      <a:pt x="3" y="64"/>
                    </a:lnTo>
                    <a:lnTo>
                      <a:pt x="0" y="71"/>
                    </a:lnTo>
                    <a:lnTo>
                      <a:pt x="0" y="79"/>
                    </a:lnTo>
                    <a:lnTo>
                      <a:pt x="0" y="808"/>
                    </a:lnTo>
                    <a:lnTo>
                      <a:pt x="0" y="808"/>
                    </a:lnTo>
                    <a:lnTo>
                      <a:pt x="0" y="823"/>
                    </a:lnTo>
                    <a:lnTo>
                      <a:pt x="3" y="840"/>
                    </a:lnTo>
                    <a:lnTo>
                      <a:pt x="6" y="853"/>
                    </a:lnTo>
                    <a:lnTo>
                      <a:pt x="11" y="869"/>
                    </a:lnTo>
                    <a:lnTo>
                      <a:pt x="18" y="882"/>
                    </a:lnTo>
                    <a:lnTo>
                      <a:pt x="25" y="896"/>
                    </a:lnTo>
                    <a:lnTo>
                      <a:pt x="35" y="907"/>
                    </a:lnTo>
                    <a:lnTo>
                      <a:pt x="45" y="917"/>
                    </a:lnTo>
                    <a:lnTo>
                      <a:pt x="55" y="928"/>
                    </a:lnTo>
                    <a:lnTo>
                      <a:pt x="67" y="938"/>
                    </a:lnTo>
                    <a:lnTo>
                      <a:pt x="81" y="944"/>
                    </a:lnTo>
                    <a:lnTo>
                      <a:pt x="94" y="951"/>
                    </a:lnTo>
                    <a:lnTo>
                      <a:pt x="109" y="956"/>
                    </a:lnTo>
                    <a:lnTo>
                      <a:pt x="123" y="961"/>
                    </a:lnTo>
                    <a:lnTo>
                      <a:pt x="140" y="963"/>
                    </a:lnTo>
                    <a:lnTo>
                      <a:pt x="155" y="963"/>
                    </a:lnTo>
                    <a:lnTo>
                      <a:pt x="1049" y="963"/>
                    </a:lnTo>
                    <a:lnTo>
                      <a:pt x="1049" y="963"/>
                    </a:lnTo>
                    <a:lnTo>
                      <a:pt x="1064" y="963"/>
                    </a:lnTo>
                    <a:lnTo>
                      <a:pt x="1079" y="961"/>
                    </a:lnTo>
                    <a:lnTo>
                      <a:pt x="1093" y="956"/>
                    </a:lnTo>
                    <a:lnTo>
                      <a:pt x="1106" y="953"/>
                    </a:lnTo>
                    <a:lnTo>
                      <a:pt x="1120" y="946"/>
                    </a:lnTo>
                    <a:lnTo>
                      <a:pt x="1132" y="938"/>
                    </a:lnTo>
                    <a:lnTo>
                      <a:pt x="1143" y="929"/>
                    </a:lnTo>
                    <a:lnTo>
                      <a:pt x="1153" y="921"/>
                    </a:lnTo>
                    <a:lnTo>
                      <a:pt x="1164" y="911"/>
                    </a:lnTo>
                    <a:lnTo>
                      <a:pt x="1172" y="899"/>
                    </a:lnTo>
                    <a:lnTo>
                      <a:pt x="1179" y="887"/>
                    </a:lnTo>
                    <a:lnTo>
                      <a:pt x="1186" y="874"/>
                    </a:lnTo>
                    <a:lnTo>
                      <a:pt x="1191" y="860"/>
                    </a:lnTo>
                    <a:lnTo>
                      <a:pt x="1194" y="845"/>
                    </a:lnTo>
                    <a:lnTo>
                      <a:pt x="1196" y="831"/>
                    </a:lnTo>
                    <a:lnTo>
                      <a:pt x="1197" y="816"/>
                    </a:lnTo>
                    <a:lnTo>
                      <a:pt x="1197" y="516"/>
                    </a:lnTo>
                    <a:lnTo>
                      <a:pt x="1405" y="357"/>
                    </a:lnTo>
                    <a:lnTo>
                      <a:pt x="1471" y="305"/>
                    </a:lnTo>
                    <a:lnTo>
                      <a:pt x="1471" y="305"/>
                    </a:lnTo>
                    <a:lnTo>
                      <a:pt x="1474" y="303"/>
                    </a:lnTo>
                    <a:lnTo>
                      <a:pt x="1474" y="298"/>
                    </a:lnTo>
                    <a:lnTo>
                      <a:pt x="1474" y="295"/>
                    </a:lnTo>
                    <a:lnTo>
                      <a:pt x="1472" y="292"/>
                    </a:lnTo>
                    <a:lnTo>
                      <a:pt x="1466" y="283"/>
                    </a:lnTo>
                    <a:lnTo>
                      <a:pt x="1501" y="254"/>
                    </a:lnTo>
                    <a:lnTo>
                      <a:pt x="1501" y="254"/>
                    </a:lnTo>
                    <a:lnTo>
                      <a:pt x="1506" y="251"/>
                    </a:lnTo>
                    <a:lnTo>
                      <a:pt x="1509" y="246"/>
                    </a:lnTo>
                    <a:lnTo>
                      <a:pt x="1511" y="241"/>
                    </a:lnTo>
                    <a:lnTo>
                      <a:pt x="1513" y="234"/>
                    </a:lnTo>
                    <a:lnTo>
                      <a:pt x="1513" y="229"/>
                    </a:lnTo>
                    <a:lnTo>
                      <a:pt x="1511" y="222"/>
                    </a:lnTo>
                    <a:lnTo>
                      <a:pt x="1509" y="217"/>
                    </a:lnTo>
                    <a:lnTo>
                      <a:pt x="1506" y="212"/>
                    </a:lnTo>
                    <a:lnTo>
                      <a:pt x="1489" y="190"/>
                    </a:lnTo>
                    <a:close/>
                    <a:moveTo>
                      <a:pt x="556" y="143"/>
                    </a:moveTo>
                    <a:lnTo>
                      <a:pt x="639" y="143"/>
                    </a:lnTo>
                    <a:lnTo>
                      <a:pt x="639" y="172"/>
                    </a:lnTo>
                    <a:lnTo>
                      <a:pt x="556" y="172"/>
                    </a:lnTo>
                    <a:lnTo>
                      <a:pt x="556" y="143"/>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a:latin typeface="FrutigerNext LT Medium" panose="020B0603040504020204" pitchFamily="34" charset="0"/>
                </a:endParaRPr>
              </a:p>
            </p:txBody>
          </p:sp>
        </p:grpSp>
        <p:sp>
          <p:nvSpPr>
            <p:cNvPr id="78" name="下箭头 77"/>
            <p:cNvSpPr/>
            <p:nvPr/>
          </p:nvSpPr>
          <p:spPr bwMode="auto">
            <a:xfrm rot="5400000" flipV="1">
              <a:off x="2186138" y="3389092"/>
              <a:ext cx="551543" cy="312056"/>
            </a:xfrm>
            <a:prstGeom prst="downArrow">
              <a:avLst/>
            </a:prstGeom>
            <a:solidFill>
              <a:srgbClr val="558ED5"/>
            </a:solidFill>
            <a:ln w="9525">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mtClean="0">
                <a:latin typeface="FrutigerNext LT Medium" panose="020B0603040504020204" pitchFamily="34" charset="0"/>
              </a:endParaRPr>
            </a:p>
          </p:txBody>
        </p:sp>
        <p:sp>
          <p:nvSpPr>
            <p:cNvPr id="79" name="矩形 78"/>
            <p:cNvSpPr/>
            <p:nvPr/>
          </p:nvSpPr>
          <p:spPr>
            <a:xfrm>
              <a:off x="1777751" y="3044307"/>
              <a:ext cx="401120" cy="293982"/>
            </a:xfrm>
            <a:prstGeom prst="rect">
              <a:avLst/>
            </a:prstGeom>
            <a:noFill/>
            <a:ln w="25400" cap="flat" cmpd="sng" algn="ctr">
              <a:noFill/>
              <a:prstDash val="solid"/>
            </a:ln>
            <a:effectLst/>
          </p:spPr>
          <p:txBody>
            <a:bodyPr rtlCol="0" anchor="ctr"/>
            <a:lstStyle/>
            <a:p>
              <a:pPr defTabSz="685709" fontAlgn="auto">
                <a:spcBef>
                  <a:spcPts val="0"/>
                </a:spcBef>
                <a:spcAft>
                  <a:spcPts val="0"/>
                </a:spcAft>
                <a:defRPr/>
              </a:pPr>
              <a:r>
                <a:rPr lang="en-US" altLang="zh-CN" sz="1200" kern="0" dirty="0">
                  <a:solidFill>
                    <a:schemeClr val="bg1"/>
                  </a:solidFill>
                  <a:latin typeface="FrutigerNext LT Medium" panose="020B0603040504020204" pitchFamily="34" charset="0"/>
                  <a:ea typeface="微软雅黑" pitchFamily="34" charset="-122"/>
                  <a:cs typeface="Arial" pitchFamily="34" charset="0"/>
                </a:rPr>
                <a:t>IT</a:t>
              </a:r>
              <a:endParaRPr lang="en-US" altLang="zh-CN" sz="1200" kern="0" dirty="0">
                <a:solidFill>
                  <a:schemeClr val="bg1"/>
                </a:solidFill>
                <a:latin typeface="FrutigerNext LT Medium" panose="020B0603040504020204" pitchFamily="34" charset="0"/>
                <a:ea typeface="微软雅黑" pitchFamily="34" charset="-122"/>
                <a:cs typeface="Arial" pitchFamily="34" charset="0"/>
              </a:endParaRPr>
            </a:p>
          </p:txBody>
        </p:sp>
        <p:sp>
          <p:nvSpPr>
            <p:cNvPr id="80" name="下箭头 79"/>
            <p:cNvSpPr/>
            <p:nvPr/>
          </p:nvSpPr>
          <p:spPr bwMode="auto">
            <a:xfrm rot="5400000">
              <a:off x="4107466" y="3383646"/>
              <a:ext cx="551543" cy="322947"/>
            </a:xfrm>
            <a:prstGeom prst="downArrow">
              <a:avLst/>
            </a:prstGeom>
            <a:solidFill>
              <a:srgbClr val="558ED5"/>
            </a:solidFill>
            <a:ln w="9525">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zh-CN" altLang="en-US" smtClean="0">
                <a:latin typeface="FrutigerNext LT Medium" panose="020B0603040504020204" pitchFamily="34" charset="0"/>
              </a:endParaRPr>
            </a:p>
          </p:txBody>
        </p:sp>
        <p:sp>
          <p:nvSpPr>
            <p:cNvPr id="81" name="矩形 80"/>
            <p:cNvSpPr/>
            <p:nvPr/>
          </p:nvSpPr>
          <p:spPr>
            <a:xfrm>
              <a:off x="4484677" y="3037054"/>
              <a:ext cx="524499" cy="301235"/>
            </a:xfrm>
            <a:prstGeom prst="rect">
              <a:avLst/>
            </a:prstGeom>
            <a:noFill/>
            <a:ln w="25400" cap="flat" cmpd="sng" algn="ctr">
              <a:noFill/>
              <a:prstDash val="solid"/>
            </a:ln>
            <a:effectLst/>
          </p:spPr>
          <p:txBody>
            <a:bodyPr rtlCol="0" anchor="ctr"/>
            <a:lstStyle/>
            <a:p>
              <a:pPr defTabSz="685709" fontAlgn="auto">
                <a:spcBef>
                  <a:spcPts val="0"/>
                </a:spcBef>
                <a:spcAft>
                  <a:spcPts val="0"/>
                </a:spcAft>
                <a:defRPr/>
              </a:pPr>
              <a:r>
                <a:rPr lang="en-US" altLang="zh-CN" sz="1200" kern="0" dirty="0">
                  <a:solidFill>
                    <a:schemeClr val="bg1"/>
                  </a:solidFill>
                  <a:latin typeface="FrutigerNext LT Medium" panose="020B0603040504020204" pitchFamily="34" charset="0"/>
                  <a:ea typeface="微软雅黑" pitchFamily="34" charset="-122"/>
                  <a:cs typeface="Arial" pitchFamily="34" charset="0"/>
                </a:rPr>
                <a:t>CT</a:t>
              </a:r>
              <a:endParaRPr lang="en-US" altLang="zh-CN" sz="1200" kern="0" dirty="0">
                <a:solidFill>
                  <a:schemeClr val="bg1"/>
                </a:solidFill>
                <a:latin typeface="FrutigerNext LT Medium" panose="020B0603040504020204" pitchFamily="34" charset="0"/>
                <a:ea typeface="微软雅黑" pitchFamily="34" charset="-122"/>
                <a:cs typeface="Arial" pitchFamily="34" charset="0"/>
              </a:endParaRPr>
            </a:p>
          </p:txBody>
        </p:sp>
      </p:grpSp>
      <p:sp>
        <p:nvSpPr>
          <p:cNvPr id="104" name="文本框 103"/>
          <p:cNvSpPr txBox="1"/>
          <p:nvPr/>
        </p:nvSpPr>
        <p:spPr>
          <a:xfrm>
            <a:off x="1746324" y="1863756"/>
            <a:ext cx="1880643" cy="369332"/>
          </a:xfrm>
          <a:prstGeom prst="rect">
            <a:avLst/>
          </a:prstGeom>
          <a:noFill/>
        </p:spPr>
        <p:txBody>
          <a:bodyPr wrap="none" rtlCol="0">
            <a:spAutoFit/>
          </a:bodyPr>
          <a:lstStyle/>
          <a:p>
            <a:pPr algn="ctr"/>
            <a:r>
              <a:rPr lang="en-US" b="1" dirty="0">
                <a:solidFill>
                  <a:srgbClr val="FFC000"/>
                </a:solidFill>
                <a:latin typeface="FrutigerNext LT Medium" panose="020B0603040504020204" pitchFamily="34" charset="0"/>
                <a:ea typeface="微软雅黑" pitchFamily="34" charset="-122"/>
              </a:rPr>
              <a:t>ICT convergence</a:t>
            </a:r>
          </a:p>
        </p:txBody>
      </p:sp>
      <p:sp>
        <p:nvSpPr>
          <p:cNvPr id="105" name="文本框 104"/>
          <p:cNvSpPr txBox="1"/>
          <p:nvPr/>
        </p:nvSpPr>
        <p:spPr>
          <a:xfrm>
            <a:off x="5291129" y="1863756"/>
            <a:ext cx="1989648" cy="369332"/>
          </a:xfrm>
          <a:prstGeom prst="rect">
            <a:avLst/>
          </a:prstGeom>
          <a:noFill/>
        </p:spPr>
        <p:txBody>
          <a:bodyPr wrap="none" rtlCol="0">
            <a:spAutoFit/>
          </a:bodyPr>
          <a:lstStyle/>
          <a:p>
            <a:pPr algn="ctr"/>
            <a:r>
              <a:rPr lang="en-US" b="1" dirty="0">
                <a:solidFill>
                  <a:srgbClr val="FFC000"/>
                </a:solidFill>
                <a:latin typeface="FrutigerNext LT Medium" panose="020B0603040504020204" pitchFamily="34" charset="0"/>
                <a:ea typeface="微软雅黑" pitchFamily="34" charset="-122"/>
              </a:rPr>
              <a:t>Unified hardware</a:t>
            </a:r>
          </a:p>
        </p:txBody>
      </p:sp>
      <p:sp>
        <p:nvSpPr>
          <p:cNvPr id="117" name="TextBox 155"/>
          <p:cNvSpPr txBox="1"/>
          <p:nvPr/>
        </p:nvSpPr>
        <p:spPr>
          <a:xfrm>
            <a:off x="1247779" y="4833828"/>
            <a:ext cx="3849949" cy="365735"/>
          </a:xfrm>
          <a:prstGeom prst="rect">
            <a:avLst/>
          </a:prstGeom>
          <a:noFill/>
        </p:spPr>
        <p:txBody>
          <a:bodyPr wrap="none" lIns="87876" tIns="43939" rIns="87876" bIns="43939" rtlCol="0">
            <a:spAutoFit/>
          </a:bodyPr>
          <a:lstStyle/>
          <a:p>
            <a:r>
              <a:rPr lang="en-US" altLang="zh-CN" b="1" i="1" dirty="0" smtClean="0">
                <a:solidFill>
                  <a:srgbClr val="FFC000"/>
                </a:solidFill>
                <a:latin typeface="FrutigerNext LT Medium" panose="020B0603040504020204" pitchFamily="34" charset="0"/>
              </a:rPr>
              <a:t>Flatted network with energy saving</a:t>
            </a:r>
            <a:endParaRPr lang="zh-CN" altLang="en-US" b="1" i="1" dirty="0">
              <a:solidFill>
                <a:srgbClr val="FFC000"/>
              </a:solidFill>
              <a:latin typeface="FrutigerNext LT Medium" panose="020B0603040504020204" pitchFamily="34" charset="0"/>
            </a:endParaRPr>
          </a:p>
        </p:txBody>
      </p:sp>
    </p:spTree>
    <p:extLst>
      <p:ext uri="{BB962C8B-B14F-4D97-AF65-F5344CB8AC3E}">
        <p14:creationId xmlns:p14="http://schemas.microsoft.com/office/powerpoint/2010/main" val="29498942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箭头连接符 170"/>
          <p:cNvCxnSpPr>
            <a:cxnSpLocks noChangeShapeType="1"/>
          </p:cNvCxnSpPr>
          <p:nvPr/>
        </p:nvCxnSpPr>
        <p:spPr bwMode="auto">
          <a:xfrm flipV="1">
            <a:off x="1858477" y="4245642"/>
            <a:ext cx="728937" cy="0"/>
          </a:xfrm>
          <a:prstGeom prst="straightConnector1">
            <a:avLst/>
          </a:prstGeom>
          <a:noFill/>
          <a:ln w="25400" algn="ctr">
            <a:solidFill>
              <a:srgbClr val="FFC000"/>
            </a:solidFill>
            <a:round/>
            <a:headEnd/>
            <a:tailEnd type="arrow" w="med" len="med"/>
          </a:ln>
        </p:spPr>
      </p:cxnSp>
      <p:sp>
        <p:nvSpPr>
          <p:cNvPr id="3" name="TextBox 48"/>
          <p:cNvSpPr txBox="1"/>
          <p:nvPr/>
        </p:nvSpPr>
        <p:spPr bwMode="auto">
          <a:xfrm>
            <a:off x="5880588" y="2040390"/>
            <a:ext cx="369296" cy="251184"/>
          </a:xfrm>
          <a:prstGeom prst="rect">
            <a:avLst/>
          </a:prstGeom>
          <a:noFill/>
          <a:ln>
            <a:noFill/>
          </a:ln>
        </p:spPr>
        <p:txBody>
          <a:bodyPr vert="eaVert" wrap="square" lIns="68562" tIns="34281" rIns="68562" bIns="34281" anchor="ctr">
            <a:spAutoFit/>
          </a:bodyPr>
          <a:lstStyle/>
          <a:p>
            <a:pPr algn="ctr">
              <a:buFont typeface="Wingdings" pitchFamily="2" charset="2"/>
              <a:buNone/>
              <a:defRPr/>
            </a:pPr>
            <a:r>
              <a:rPr lang="en-US" altLang="zh-CN" sz="750" dirty="0">
                <a:solidFill>
                  <a:schemeClr val="bg1"/>
                </a:solidFill>
                <a:latin typeface="+mn-lt"/>
              </a:rPr>
              <a:t>……</a:t>
            </a:r>
            <a:endParaRPr lang="zh-CN" altLang="en-US" sz="750" dirty="0">
              <a:solidFill>
                <a:schemeClr val="bg1"/>
              </a:solidFill>
              <a:latin typeface="+mn-lt"/>
            </a:endParaRPr>
          </a:p>
        </p:txBody>
      </p:sp>
      <p:sp>
        <p:nvSpPr>
          <p:cNvPr id="4" name="TextBox 50"/>
          <p:cNvSpPr txBox="1"/>
          <p:nvPr/>
        </p:nvSpPr>
        <p:spPr bwMode="auto">
          <a:xfrm>
            <a:off x="5541681" y="1712210"/>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1</a:t>
            </a:r>
            <a:endParaRPr lang="zh-CN" altLang="en-US" sz="750" dirty="0">
              <a:solidFill>
                <a:schemeClr val="bg1"/>
              </a:solidFill>
              <a:latin typeface="+mn-lt"/>
            </a:endParaRPr>
          </a:p>
        </p:txBody>
      </p:sp>
      <p:sp>
        <p:nvSpPr>
          <p:cNvPr id="5" name="TextBox 51"/>
          <p:cNvSpPr txBox="1"/>
          <p:nvPr/>
        </p:nvSpPr>
        <p:spPr bwMode="auto">
          <a:xfrm>
            <a:off x="5541681" y="1868923"/>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2</a:t>
            </a:r>
            <a:endParaRPr lang="zh-CN" altLang="en-US" sz="750" dirty="0">
              <a:solidFill>
                <a:schemeClr val="bg1"/>
              </a:solidFill>
              <a:latin typeface="+mn-lt"/>
            </a:endParaRPr>
          </a:p>
        </p:txBody>
      </p:sp>
      <p:sp>
        <p:nvSpPr>
          <p:cNvPr id="6" name="TextBox 52"/>
          <p:cNvSpPr txBox="1"/>
          <p:nvPr/>
        </p:nvSpPr>
        <p:spPr bwMode="auto">
          <a:xfrm>
            <a:off x="5541681" y="2171328"/>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n</a:t>
            </a:r>
            <a:endParaRPr lang="zh-CN" altLang="en-US" sz="750" dirty="0">
              <a:solidFill>
                <a:schemeClr val="bg1"/>
              </a:solidFill>
              <a:latin typeface="+mn-lt"/>
            </a:endParaRPr>
          </a:p>
        </p:txBody>
      </p:sp>
      <p:sp>
        <p:nvSpPr>
          <p:cNvPr id="7" name="右大括号 6"/>
          <p:cNvSpPr/>
          <p:nvPr/>
        </p:nvSpPr>
        <p:spPr bwMode="auto">
          <a:xfrm>
            <a:off x="6379818" y="1878005"/>
            <a:ext cx="108466" cy="485125"/>
          </a:xfrm>
          <a:prstGeom prst="rightBrace">
            <a:avLst/>
          </a:prstGeom>
          <a:noFill/>
          <a:ln w="9525" cap="flat" cmpd="sng" algn="ctr">
            <a:solidFill>
              <a:srgbClr val="FFC000"/>
            </a:solidFill>
            <a:prstDash val="solid"/>
            <a:round/>
            <a:headEnd type="none" w="med" len="med"/>
            <a:tailEnd type="none" w="med" len="med"/>
          </a:ln>
          <a:effectLst/>
        </p:spPr>
        <p:txBody>
          <a:bodyPr rtlCol="0" anchor="ctr"/>
          <a:lstStyle/>
          <a:p>
            <a:pPr algn="ctr"/>
            <a:endParaRPr lang="zh-CN" altLang="en-US" sz="1125" dirty="0">
              <a:latin typeface="+mn-lt"/>
            </a:endParaRPr>
          </a:p>
        </p:txBody>
      </p:sp>
      <p:cxnSp>
        <p:nvCxnSpPr>
          <p:cNvPr id="8" name="肘形连接符 174"/>
          <p:cNvCxnSpPr>
            <a:cxnSpLocks noChangeShapeType="1"/>
            <a:stCxn id="60" idx="3"/>
          </p:cNvCxnSpPr>
          <p:nvPr/>
        </p:nvCxnSpPr>
        <p:spPr bwMode="auto">
          <a:xfrm flipV="1">
            <a:off x="5052267" y="2342810"/>
            <a:ext cx="1219086" cy="92546"/>
          </a:xfrm>
          <a:prstGeom prst="bentConnector3">
            <a:avLst>
              <a:gd name="adj1" fmla="val 50000"/>
            </a:avLst>
          </a:prstGeom>
          <a:noFill/>
          <a:ln w="25400" algn="ctr">
            <a:solidFill>
              <a:srgbClr val="FFC000"/>
            </a:solidFill>
            <a:round/>
            <a:headEnd/>
            <a:tailEnd type="arrow" w="med" len="med"/>
          </a:ln>
        </p:spPr>
      </p:cxnSp>
      <p:cxnSp>
        <p:nvCxnSpPr>
          <p:cNvPr id="9" name="肘形连接符 174"/>
          <p:cNvCxnSpPr>
            <a:cxnSpLocks noChangeShapeType="1"/>
            <a:stCxn id="60" idx="3"/>
          </p:cNvCxnSpPr>
          <p:nvPr/>
        </p:nvCxnSpPr>
        <p:spPr bwMode="auto">
          <a:xfrm flipV="1">
            <a:off x="5052267" y="1881720"/>
            <a:ext cx="1219086" cy="553636"/>
          </a:xfrm>
          <a:prstGeom prst="bentConnector3">
            <a:avLst>
              <a:gd name="adj1" fmla="val 50000"/>
            </a:avLst>
          </a:prstGeom>
          <a:noFill/>
          <a:ln w="25400" algn="ctr">
            <a:solidFill>
              <a:srgbClr val="FFC000"/>
            </a:solidFill>
            <a:round/>
            <a:headEnd/>
            <a:tailEnd type="arrow" w="med" len="med"/>
          </a:ln>
        </p:spPr>
      </p:cxnSp>
      <p:sp>
        <p:nvSpPr>
          <p:cNvPr id="10" name="TextBox 17"/>
          <p:cNvSpPr txBox="1"/>
          <p:nvPr/>
        </p:nvSpPr>
        <p:spPr bwMode="auto">
          <a:xfrm>
            <a:off x="2837638" y="4707320"/>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1</a:t>
            </a:r>
            <a:endParaRPr lang="zh-CN" altLang="en-US" sz="750" dirty="0">
              <a:solidFill>
                <a:schemeClr val="bg1"/>
              </a:solidFill>
              <a:latin typeface="+mn-lt"/>
            </a:endParaRPr>
          </a:p>
        </p:txBody>
      </p:sp>
      <p:sp>
        <p:nvSpPr>
          <p:cNvPr id="11" name="TextBox 19"/>
          <p:cNvSpPr txBox="1"/>
          <p:nvPr/>
        </p:nvSpPr>
        <p:spPr bwMode="auto">
          <a:xfrm>
            <a:off x="2837638" y="5180814"/>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n</a:t>
            </a:r>
            <a:endParaRPr lang="zh-CN" altLang="en-US" sz="750" dirty="0">
              <a:solidFill>
                <a:schemeClr val="bg1"/>
              </a:solidFill>
              <a:latin typeface="+mn-lt"/>
            </a:endParaRPr>
          </a:p>
        </p:txBody>
      </p:sp>
      <p:sp>
        <p:nvSpPr>
          <p:cNvPr id="12" name="TextBox 20"/>
          <p:cNvSpPr txBox="1"/>
          <p:nvPr/>
        </p:nvSpPr>
        <p:spPr bwMode="auto">
          <a:xfrm>
            <a:off x="3056238" y="5050681"/>
            <a:ext cx="369296" cy="228589"/>
          </a:xfrm>
          <a:prstGeom prst="rect">
            <a:avLst/>
          </a:prstGeom>
          <a:noFill/>
          <a:ln>
            <a:noFill/>
          </a:ln>
        </p:spPr>
        <p:txBody>
          <a:bodyPr vert="eaVert" wrap="square" lIns="68562" tIns="34281" rIns="68562" bIns="34281" anchor="ctr">
            <a:spAutoFit/>
          </a:bodyPr>
          <a:lstStyle/>
          <a:p>
            <a:pPr algn="ctr">
              <a:buFont typeface="Wingdings" pitchFamily="2" charset="2"/>
              <a:buNone/>
              <a:defRPr/>
            </a:pPr>
            <a:r>
              <a:rPr lang="en-US" altLang="zh-CN" sz="750" dirty="0">
                <a:solidFill>
                  <a:schemeClr val="bg1"/>
                </a:solidFill>
                <a:latin typeface="+mn-lt"/>
              </a:rPr>
              <a:t>……</a:t>
            </a:r>
            <a:endParaRPr lang="zh-CN" altLang="en-US" sz="750" dirty="0">
              <a:solidFill>
                <a:schemeClr val="bg1"/>
              </a:solidFill>
              <a:latin typeface="+mn-lt"/>
            </a:endParaRPr>
          </a:p>
        </p:txBody>
      </p:sp>
      <p:sp>
        <p:nvSpPr>
          <p:cNvPr id="13" name="矩形 12"/>
          <p:cNvSpPr/>
          <p:nvPr/>
        </p:nvSpPr>
        <p:spPr bwMode="auto">
          <a:xfrm>
            <a:off x="2674938" y="4900617"/>
            <a:ext cx="1430349" cy="148118"/>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Isolated E-fuse</a:t>
            </a:r>
            <a:endParaRPr lang="zh-CN" altLang="en-US" sz="900" dirty="0">
              <a:solidFill>
                <a:schemeClr val="bg1"/>
              </a:solidFill>
              <a:latin typeface="+mn-lt"/>
              <a:ea typeface="MS PGothic" pitchFamily="34" charset="-128"/>
            </a:endParaRPr>
          </a:p>
        </p:txBody>
      </p:sp>
      <p:cxnSp>
        <p:nvCxnSpPr>
          <p:cNvPr id="14" name="肘形连接符 174"/>
          <p:cNvCxnSpPr>
            <a:cxnSpLocks noChangeShapeType="1"/>
            <a:endCxn id="15" idx="1"/>
          </p:cNvCxnSpPr>
          <p:nvPr/>
        </p:nvCxnSpPr>
        <p:spPr bwMode="auto">
          <a:xfrm>
            <a:off x="1834730" y="4974676"/>
            <a:ext cx="819919" cy="458778"/>
          </a:xfrm>
          <a:prstGeom prst="bentConnector3">
            <a:avLst>
              <a:gd name="adj1" fmla="val 81"/>
            </a:avLst>
          </a:prstGeom>
          <a:noFill/>
          <a:ln w="25400" algn="ctr">
            <a:solidFill>
              <a:srgbClr val="FFC000"/>
            </a:solidFill>
            <a:round/>
            <a:headEnd/>
            <a:tailEnd type="arrow" w="med" len="med"/>
          </a:ln>
        </p:spPr>
      </p:cxnSp>
      <p:sp>
        <p:nvSpPr>
          <p:cNvPr id="15" name="矩形 14"/>
          <p:cNvSpPr/>
          <p:nvPr/>
        </p:nvSpPr>
        <p:spPr bwMode="auto">
          <a:xfrm>
            <a:off x="2654649" y="5359394"/>
            <a:ext cx="1430349" cy="148118"/>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Isolated E-fuse</a:t>
            </a:r>
            <a:endParaRPr lang="zh-CN" altLang="en-US" sz="900" dirty="0">
              <a:solidFill>
                <a:schemeClr val="bg1"/>
              </a:solidFill>
              <a:latin typeface="+mn-lt"/>
              <a:ea typeface="MS PGothic" pitchFamily="34" charset="-128"/>
            </a:endParaRPr>
          </a:p>
        </p:txBody>
      </p:sp>
      <p:cxnSp>
        <p:nvCxnSpPr>
          <p:cNvPr id="16" name="直接箭头连接符 170"/>
          <p:cNvCxnSpPr>
            <a:cxnSpLocks noChangeShapeType="1"/>
            <a:stCxn id="13" idx="3"/>
            <a:endCxn id="39" idx="1"/>
          </p:cNvCxnSpPr>
          <p:nvPr/>
        </p:nvCxnSpPr>
        <p:spPr bwMode="auto">
          <a:xfrm flipV="1">
            <a:off x="4105287" y="4965430"/>
            <a:ext cx="2624529" cy="9246"/>
          </a:xfrm>
          <a:prstGeom prst="straightConnector1">
            <a:avLst/>
          </a:prstGeom>
          <a:noFill/>
          <a:ln w="25400" algn="ctr">
            <a:solidFill>
              <a:srgbClr val="FFC000"/>
            </a:solidFill>
            <a:prstDash val="dash"/>
            <a:round/>
            <a:headEnd/>
            <a:tailEnd type="arrow" w="med" len="med"/>
          </a:ln>
        </p:spPr>
      </p:cxnSp>
      <p:cxnSp>
        <p:nvCxnSpPr>
          <p:cNvPr id="17" name="直接箭头连接符 170"/>
          <p:cNvCxnSpPr>
            <a:cxnSpLocks noChangeShapeType="1"/>
            <a:stCxn id="15" idx="3"/>
            <a:endCxn id="40" idx="1"/>
          </p:cNvCxnSpPr>
          <p:nvPr/>
        </p:nvCxnSpPr>
        <p:spPr bwMode="auto">
          <a:xfrm>
            <a:off x="4084997" y="5433453"/>
            <a:ext cx="2644818" cy="3534"/>
          </a:xfrm>
          <a:prstGeom prst="straightConnector1">
            <a:avLst/>
          </a:prstGeom>
          <a:noFill/>
          <a:ln w="25400" algn="ctr">
            <a:solidFill>
              <a:srgbClr val="FFC000"/>
            </a:solidFill>
            <a:prstDash val="dash"/>
            <a:round/>
            <a:headEnd/>
            <a:tailEnd type="arrow" w="med" len="med"/>
          </a:ln>
        </p:spPr>
      </p:cxnSp>
      <p:sp>
        <p:nvSpPr>
          <p:cNvPr id="18" name="矩形 17"/>
          <p:cNvSpPr/>
          <p:nvPr/>
        </p:nvSpPr>
        <p:spPr bwMode="auto">
          <a:xfrm>
            <a:off x="870272" y="4024181"/>
            <a:ext cx="809442" cy="157200"/>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HVDC</a:t>
            </a:r>
            <a:endParaRPr lang="zh-CN" altLang="en-US" sz="900" dirty="0">
              <a:solidFill>
                <a:schemeClr val="bg1"/>
              </a:solidFill>
              <a:latin typeface="+mn-lt"/>
              <a:ea typeface="MS PGothic" pitchFamily="34" charset="-128"/>
            </a:endParaRPr>
          </a:p>
        </p:txBody>
      </p:sp>
      <p:sp>
        <p:nvSpPr>
          <p:cNvPr id="19" name="矩形 18"/>
          <p:cNvSpPr/>
          <p:nvPr/>
        </p:nvSpPr>
        <p:spPr bwMode="auto">
          <a:xfrm>
            <a:off x="2613952" y="3703402"/>
            <a:ext cx="831366" cy="157200"/>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Converter</a:t>
            </a:r>
            <a:endParaRPr lang="zh-CN" altLang="en-US" sz="900" dirty="0">
              <a:solidFill>
                <a:schemeClr val="bg1"/>
              </a:solidFill>
              <a:latin typeface="+mn-lt"/>
              <a:ea typeface="MS PGothic" pitchFamily="34" charset="-128"/>
            </a:endParaRPr>
          </a:p>
        </p:txBody>
      </p:sp>
      <p:cxnSp>
        <p:nvCxnSpPr>
          <p:cNvPr id="20" name="直接箭头连接符 163"/>
          <p:cNvCxnSpPr>
            <a:cxnSpLocks noChangeShapeType="1"/>
          </p:cNvCxnSpPr>
          <p:nvPr/>
        </p:nvCxnSpPr>
        <p:spPr bwMode="auto">
          <a:xfrm>
            <a:off x="580684" y="4102750"/>
            <a:ext cx="296974" cy="0"/>
          </a:xfrm>
          <a:prstGeom prst="straightConnector1">
            <a:avLst/>
          </a:prstGeom>
          <a:noFill/>
          <a:ln w="25400" algn="ctr">
            <a:solidFill>
              <a:srgbClr val="FFC000"/>
            </a:solidFill>
            <a:round/>
            <a:headEnd/>
            <a:tailEnd type="arrow" w="med" len="med"/>
          </a:ln>
        </p:spPr>
      </p:cxnSp>
      <p:cxnSp>
        <p:nvCxnSpPr>
          <p:cNvPr id="21" name="直接箭头连接符 172"/>
          <p:cNvCxnSpPr>
            <a:cxnSpLocks noChangeShapeType="1"/>
            <a:stCxn id="19" idx="3"/>
          </p:cNvCxnSpPr>
          <p:nvPr/>
        </p:nvCxnSpPr>
        <p:spPr bwMode="auto">
          <a:xfrm flipV="1">
            <a:off x="3445318" y="3781972"/>
            <a:ext cx="1254695" cy="30"/>
          </a:xfrm>
          <a:prstGeom prst="straightConnector1">
            <a:avLst/>
          </a:prstGeom>
          <a:noFill/>
          <a:ln w="25400" algn="ctr">
            <a:solidFill>
              <a:srgbClr val="FFC000"/>
            </a:solidFill>
            <a:round/>
            <a:headEnd/>
            <a:tailEnd type="arrow" w="med" len="med"/>
          </a:ln>
        </p:spPr>
      </p:cxnSp>
      <p:cxnSp>
        <p:nvCxnSpPr>
          <p:cNvPr id="22" name="肘形连接符 174"/>
          <p:cNvCxnSpPr>
            <a:cxnSpLocks noChangeShapeType="1"/>
          </p:cNvCxnSpPr>
          <p:nvPr/>
        </p:nvCxnSpPr>
        <p:spPr bwMode="auto">
          <a:xfrm flipV="1">
            <a:off x="1845524" y="3801200"/>
            <a:ext cx="759068" cy="427800"/>
          </a:xfrm>
          <a:prstGeom prst="bentConnector3">
            <a:avLst>
              <a:gd name="adj1" fmla="val -862"/>
            </a:avLst>
          </a:prstGeom>
          <a:noFill/>
          <a:ln w="25400" algn="ctr">
            <a:solidFill>
              <a:srgbClr val="FFC000"/>
            </a:solidFill>
            <a:round/>
            <a:headEnd/>
            <a:tailEnd type="arrow" w="med" len="med"/>
          </a:ln>
        </p:spPr>
      </p:cxnSp>
      <p:sp>
        <p:nvSpPr>
          <p:cNvPr id="23" name="TextBox 35"/>
          <p:cNvSpPr txBox="1"/>
          <p:nvPr/>
        </p:nvSpPr>
        <p:spPr bwMode="auto">
          <a:xfrm>
            <a:off x="308486" y="3510346"/>
            <a:ext cx="532057"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AC</a:t>
            </a:r>
            <a:endParaRPr lang="zh-CN" altLang="en-US" sz="750" dirty="0">
              <a:solidFill>
                <a:schemeClr val="bg1"/>
              </a:solidFill>
              <a:latin typeface="+mn-lt"/>
            </a:endParaRPr>
          </a:p>
        </p:txBody>
      </p:sp>
      <p:sp>
        <p:nvSpPr>
          <p:cNvPr id="24" name="TextBox 37"/>
          <p:cNvSpPr txBox="1"/>
          <p:nvPr/>
        </p:nvSpPr>
        <p:spPr bwMode="auto">
          <a:xfrm>
            <a:off x="5174501" y="5105675"/>
            <a:ext cx="1972189" cy="184648"/>
          </a:xfrm>
          <a:prstGeom prst="rect">
            <a:avLst/>
          </a:prstGeom>
          <a:noFill/>
          <a:ln>
            <a:noFill/>
          </a:ln>
        </p:spPr>
        <p:txBody>
          <a:bodyPr wrap="square" lIns="68562" tIns="34281" rIns="68562" bIns="34281">
            <a:spAutoFit/>
          </a:bodyPr>
          <a:lstStyle/>
          <a:p>
            <a:pPr algn="ctr">
              <a:buFont typeface="Wingdings" pitchFamily="2" charset="2"/>
              <a:buNone/>
              <a:defRPr/>
            </a:pPr>
            <a:r>
              <a:rPr lang="en-US" altLang="zh-CN" sz="750" dirty="0">
                <a:solidFill>
                  <a:schemeClr val="bg1"/>
                </a:solidFill>
                <a:latin typeface="+mn-lt"/>
              </a:rPr>
              <a:t>Remote HVDC</a:t>
            </a:r>
            <a:endParaRPr lang="zh-CN" altLang="en-US" sz="750" dirty="0">
              <a:solidFill>
                <a:schemeClr val="bg1"/>
              </a:solidFill>
              <a:latin typeface="+mn-lt"/>
            </a:endParaRPr>
          </a:p>
        </p:txBody>
      </p:sp>
      <p:cxnSp>
        <p:nvCxnSpPr>
          <p:cNvPr id="25" name="直接连接符 189"/>
          <p:cNvCxnSpPr>
            <a:cxnSpLocks noChangeShapeType="1"/>
          </p:cNvCxnSpPr>
          <p:nvPr/>
        </p:nvCxnSpPr>
        <p:spPr bwMode="auto">
          <a:xfrm flipH="1">
            <a:off x="1834730" y="4247897"/>
            <a:ext cx="3651" cy="728937"/>
          </a:xfrm>
          <a:prstGeom prst="line">
            <a:avLst/>
          </a:prstGeom>
          <a:noFill/>
          <a:ln w="25400" algn="ctr">
            <a:solidFill>
              <a:srgbClr val="FFC000"/>
            </a:solidFill>
            <a:round/>
            <a:headEnd/>
            <a:tailEnd/>
          </a:ln>
        </p:spPr>
      </p:cxnSp>
      <p:cxnSp>
        <p:nvCxnSpPr>
          <p:cNvPr id="26" name="肘形连接符 174"/>
          <p:cNvCxnSpPr>
            <a:cxnSpLocks noChangeShapeType="1"/>
            <a:stCxn id="19" idx="3"/>
          </p:cNvCxnSpPr>
          <p:nvPr/>
        </p:nvCxnSpPr>
        <p:spPr bwMode="auto">
          <a:xfrm flipV="1">
            <a:off x="3445318" y="3631468"/>
            <a:ext cx="1254695" cy="150533"/>
          </a:xfrm>
          <a:prstGeom prst="bentConnector3">
            <a:avLst>
              <a:gd name="adj1" fmla="val 50000"/>
            </a:avLst>
          </a:prstGeom>
          <a:noFill/>
          <a:ln w="25400" algn="ctr">
            <a:solidFill>
              <a:srgbClr val="FFC000"/>
            </a:solidFill>
            <a:round/>
            <a:headEnd/>
            <a:tailEnd type="arrow" w="med" len="med"/>
          </a:ln>
        </p:spPr>
      </p:cxnSp>
      <p:cxnSp>
        <p:nvCxnSpPr>
          <p:cNvPr id="27" name="肘形连接符 174"/>
          <p:cNvCxnSpPr>
            <a:cxnSpLocks noChangeShapeType="1"/>
            <a:stCxn id="19" idx="3"/>
          </p:cNvCxnSpPr>
          <p:nvPr/>
        </p:nvCxnSpPr>
        <p:spPr bwMode="auto">
          <a:xfrm>
            <a:off x="3445318" y="3782002"/>
            <a:ext cx="1254695" cy="285990"/>
          </a:xfrm>
          <a:prstGeom prst="bentConnector3">
            <a:avLst>
              <a:gd name="adj1" fmla="val 50000"/>
            </a:avLst>
          </a:prstGeom>
          <a:noFill/>
          <a:ln w="25400" algn="ctr">
            <a:solidFill>
              <a:srgbClr val="FFC000"/>
            </a:solidFill>
            <a:round/>
            <a:headEnd/>
            <a:tailEnd type="arrow" w="med" len="med"/>
          </a:ln>
        </p:spPr>
      </p:cxnSp>
      <p:sp>
        <p:nvSpPr>
          <p:cNvPr id="28" name="TextBox 48"/>
          <p:cNvSpPr txBox="1"/>
          <p:nvPr/>
        </p:nvSpPr>
        <p:spPr bwMode="auto">
          <a:xfrm>
            <a:off x="4284044" y="3764721"/>
            <a:ext cx="369296" cy="251184"/>
          </a:xfrm>
          <a:prstGeom prst="rect">
            <a:avLst/>
          </a:prstGeom>
          <a:noFill/>
          <a:ln>
            <a:noFill/>
          </a:ln>
        </p:spPr>
        <p:txBody>
          <a:bodyPr vert="eaVert" wrap="square" lIns="68562" tIns="34281" rIns="68562" bIns="34281" anchor="ctr">
            <a:spAutoFit/>
          </a:bodyPr>
          <a:lstStyle/>
          <a:p>
            <a:pPr algn="ctr">
              <a:buFont typeface="Wingdings" pitchFamily="2" charset="2"/>
              <a:buNone/>
              <a:defRPr/>
            </a:pPr>
            <a:r>
              <a:rPr lang="en-US" altLang="zh-CN" sz="750" dirty="0">
                <a:solidFill>
                  <a:schemeClr val="bg1"/>
                </a:solidFill>
                <a:latin typeface="+mn-lt"/>
              </a:rPr>
              <a:t>……</a:t>
            </a:r>
            <a:endParaRPr lang="zh-CN" altLang="en-US" sz="750" dirty="0">
              <a:solidFill>
                <a:schemeClr val="bg1"/>
              </a:solidFill>
              <a:latin typeface="+mn-lt"/>
            </a:endParaRPr>
          </a:p>
        </p:txBody>
      </p:sp>
      <p:sp>
        <p:nvSpPr>
          <p:cNvPr id="29" name="TextBox 50"/>
          <p:cNvSpPr txBox="1"/>
          <p:nvPr/>
        </p:nvSpPr>
        <p:spPr bwMode="auto">
          <a:xfrm>
            <a:off x="3945137" y="3436542"/>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1</a:t>
            </a:r>
            <a:endParaRPr lang="zh-CN" altLang="en-US" sz="750" dirty="0">
              <a:solidFill>
                <a:schemeClr val="bg1"/>
              </a:solidFill>
              <a:latin typeface="+mn-lt"/>
            </a:endParaRPr>
          </a:p>
        </p:txBody>
      </p:sp>
      <p:sp>
        <p:nvSpPr>
          <p:cNvPr id="30" name="TextBox 51"/>
          <p:cNvSpPr txBox="1"/>
          <p:nvPr/>
        </p:nvSpPr>
        <p:spPr bwMode="auto">
          <a:xfrm>
            <a:off x="3945137" y="3593256"/>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2</a:t>
            </a:r>
            <a:endParaRPr lang="zh-CN" altLang="en-US" sz="750" dirty="0">
              <a:solidFill>
                <a:schemeClr val="bg1"/>
              </a:solidFill>
              <a:latin typeface="+mn-lt"/>
            </a:endParaRPr>
          </a:p>
        </p:txBody>
      </p:sp>
      <p:sp>
        <p:nvSpPr>
          <p:cNvPr id="31" name="TextBox 52"/>
          <p:cNvSpPr txBox="1"/>
          <p:nvPr/>
        </p:nvSpPr>
        <p:spPr bwMode="auto">
          <a:xfrm>
            <a:off x="3945137" y="3895661"/>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n</a:t>
            </a:r>
            <a:endParaRPr lang="zh-CN" altLang="en-US" sz="750" dirty="0">
              <a:solidFill>
                <a:schemeClr val="bg1"/>
              </a:solidFill>
              <a:latin typeface="+mn-lt"/>
            </a:endParaRPr>
          </a:p>
        </p:txBody>
      </p:sp>
      <p:sp>
        <p:nvSpPr>
          <p:cNvPr id="32" name="TextBox 55"/>
          <p:cNvSpPr txBox="1"/>
          <p:nvPr/>
        </p:nvSpPr>
        <p:spPr bwMode="auto">
          <a:xfrm>
            <a:off x="4246099" y="4209521"/>
            <a:ext cx="253879" cy="251184"/>
          </a:xfrm>
          <a:prstGeom prst="rect">
            <a:avLst/>
          </a:prstGeom>
          <a:noFill/>
          <a:ln>
            <a:noFill/>
          </a:ln>
        </p:spPr>
        <p:txBody>
          <a:bodyPr vert="eaVert" wrap="square" lIns="68562" tIns="34281" rIns="68562" bIns="34281" anchor="ctr">
            <a:spAutoFit/>
          </a:bodyPr>
          <a:lstStyle/>
          <a:p>
            <a:pPr algn="ctr">
              <a:buFont typeface="Wingdings" pitchFamily="2" charset="2"/>
              <a:buNone/>
              <a:defRPr/>
            </a:pPr>
            <a:r>
              <a:rPr lang="en-US" altLang="zh-CN" sz="750" dirty="0">
                <a:solidFill>
                  <a:schemeClr val="bg1"/>
                </a:solidFill>
                <a:latin typeface="+mn-lt"/>
              </a:rPr>
              <a:t>…</a:t>
            </a:r>
            <a:endParaRPr lang="zh-CN" altLang="en-US" sz="750" dirty="0">
              <a:solidFill>
                <a:schemeClr val="bg1"/>
              </a:solidFill>
              <a:latin typeface="+mn-lt"/>
            </a:endParaRPr>
          </a:p>
        </p:txBody>
      </p:sp>
      <p:sp>
        <p:nvSpPr>
          <p:cNvPr id="33" name="TextBox 56"/>
          <p:cNvSpPr txBox="1"/>
          <p:nvPr/>
        </p:nvSpPr>
        <p:spPr bwMode="auto">
          <a:xfrm>
            <a:off x="3373214" y="4266454"/>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HVDC</a:t>
            </a:r>
            <a:endParaRPr lang="zh-CN" altLang="en-US" sz="750" dirty="0">
              <a:solidFill>
                <a:schemeClr val="bg1"/>
              </a:solidFill>
              <a:latin typeface="+mn-lt"/>
            </a:endParaRPr>
          </a:p>
        </p:txBody>
      </p:sp>
      <p:sp>
        <p:nvSpPr>
          <p:cNvPr id="34" name="矩形 33"/>
          <p:cNvSpPr/>
          <p:nvPr/>
        </p:nvSpPr>
        <p:spPr bwMode="auto">
          <a:xfrm>
            <a:off x="2506240" y="3631468"/>
            <a:ext cx="1029673" cy="758228"/>
          </a:xfrm>
          <a:prstGeom prst="rect">
            <a:avLst/>
          </a:prstGeom>
          <a:noFill/>
          <a:ln w="25400" cap="flat" cmpd="sng" algn="ctr">
            <a:solidFill>
              <a:srgbClr val="FFC000"/>
            </a:solidFill>
            <a:prstDash val="sysDot"/>
            <a:round/>
            <a:headEnd type="none" w="med" len="med"/>
            <a:tailEnd type="none" w="med" len="med"/>
          </a:ln>
          <a:effectLst/>
        </p:spPr>
        <p:txBody>
          <a:bodyPr vert="horz" wrap="square" lIns="68562" tIns="34281" rIns="68562" bIns="34281" numCol="1" rtlCol="0" anchor="t" anchorCtr="0" compatLnSpc="1">
            <a:prstTxWarp prst="textNoShape">
              <a:avLst/>
            </a:prstTxWarp>
          </a:bodyPr>
          <a:lstStyle/>
          <a:p>
            <a:pPr defTabSz="878725" eaLnBrk="0" hangingPunct="0"/>
            <a:endParaRPr lang="zh-CN" altLang="en-US" sz="1125" dirty="0">
              <a:solidFill>
                <a:schemeClr val="bg1"/>
              </a:solidFill>
              <a:latin typeface="+mn-lt"/>
              <a:ea typeface="MS PGothic" pitchFamily="34" charset="-128"/>
            </a:endParaRPr>
          </a:p>
        </p:txBody>
      </p:sp>
      <p:sp>
        <p:nvSpPr>
          <p:cNvPr id="35" name="矩形 34"/>
          <p:cNvSpPr/>
          <p:nvPr/>
        </p:nvSpPr>
        <p:spPr bwMode="auto">
          <a:xfrm>
            <a:off x="2597448" y="4744207"/>
            <a:ext cx="1589263" cy="860421"/>
          </a:xfrm>
          <a:prstGeom prst="rect">
            <a:avLst/>
          </a:prstGeom>
          <a:noFill/>
          <a:ln w="25400" cap="flat" cmpd="sng" algn="ctr">
            <a:solidFill>
              <a:srgbClr val="FFC000"/>
            </a:solidFill>
            <a:prstDash val="sysDot"/>
            <a:round/>
            <a:headEnd type="none" w="med" len="med"/>
            <a:tailEnd type="none" w="med" len="med"/>
          </a:ln>
          <a:effectLst/>
        </p:spPr>
        <p:txBody>
          <a:bodyPr vert="horz" wrap="square" lIns="68562" tIns="34281" rIns="68562" bIns="34281" numCol="1" rtlCol="0" anchor="t" anchorCtr="0" compatLnSpc="1">
            <a:prstTxWarp prst="textNoShape">
              <a:avLst/>
            </a:prstTxWarp>
          </a:bodyPr>
          <a:lstStyle/>
          <a:p>
            <a:pPr defTabSz="878725" eaLnBrk="0" hangingPunct="0"/>
            <a:endParaRPr lang="zh-CN" altLang="en-US" sz="1125" dirty="0">
              <a:solidFill>
                <a:schemeClr val="bg1"/>
              </a:solidFill>
              <a:latin typeface="+mn-lt"/>
              <a:ea typeface="MS PGothic" pitchFamily="34" charset="-128"/>
            </a:endParaRPr>
          </a:p>
        </p:txBody>
      </p:sp>
      <p:sp>
        <p:nvSpPr>
          <p:cNvPr id="36" name="TextBox 67"/>
          <p:cNvSpPr txBox="1"/>
          <p:nvPr/>
        </p:nvSpPr>
        <p:spPr>
          <a:xfrm>
            <a:off x="4875822" y="3630890"/>
            <a:ext cx="1263280" cy="415498"/>
          </a:xfrm>
          <a:prstGeom prst="rect">
            <a:avLst/>
          </a:prstGeom>
          <a:noFill/>
          <a:ln>
            <a:noFill/>
          </a:ln>
        </p:spPr>
        <p:txBody>
          <a:bodyPr wrap="square" rtlCol="0">
            <a:spAutoFit/>
          </a:bodyPr>
          <a:lstStyle/>
          <a:p>
            <a:r>
              <a:rPr lang="en-US" altLang="zh-CN" sz="1050" b="1" dirty="0">
                <a:solidFill>
                  <a:schemeClr val="bg1"/>
                </a:solidFill>
                <a:latin typeface="+mn-lt"/>
              </a:rPr>
              <a:t>Network Equipment</a:t>
            </a:r>
            <a:endParaRPr lang="zh-CN" altLang="en-US" sz="1050" b="1" dirty="0">
              <a:solidFill>
                <a:schemeClr val="bg1"/>
              </a:solidFill>
              <a:latin typeface="+mn-lt"/>
            </a:endParaRPr>
          </a:p>
        </p:txBody>
      </p:sp>
      <p:sp>
        <p:nvSpPr>
          <p:cNvPr id="37" name="TextBox 68"/>
          <p:cNvSpPr txBox="1"/>
          <p:nvPr/>
        </p:nvSpPr>
        <p:spPr>
          <a:xfrm>
            <a:off x="4891740" y="4317932"/>
            <a:ext cx="896399" cy="253916"/>
          </a:xfrm>
          <a:prstGeom prst="rect">
            <a:avLst/>
          </a:prstGeom>
          <a:noFill/>
          <a:ln>
            <a:noFill/>
          </a:ln>
        </p:spPr>
        <p:txBody>
          <a:bodyPr wrap="none" rtlCol="0">
            <a:spAutoFit/>
          </a:bodyPr>
          <a:lstStyle/>
          <a:p>
            <a:r>
              <a:rPr lang="en-US" altLang="zh-CN" sz="1050" b="1" dirty="0">
                <a:solidFill>
                  <a:schemeClr val="bg1"/>
                </a:solidFill>
                <a:latin typeface="+mn-lt"/>
              </a:rPr>
              <a:t>IT Systems</a:t>
            </a:r>
            <a:endParaRPr lang="zh-CN" altLang="en-US" sz="1050" b="1" dirty="0">
              <a:solidFill>
                <a:schemeClr val="bg1"/>
              </a:solidFill>
              <a:latin typeface="+mn-lt"/>
            </a:endParaRPr>
          </a:p>
        </p:txBody>
      </p:sp>
      <p:sp>
        <p:nvSpPr>
          <p:cNvPr id="38" name="TextBox 69"/>
          <p:cNvSpPr txBox="1"/>
          <p:nvPr/>
        </p:nvSpPr>
        <p:spPr bwMode="auto">
          <a:xfrm>
            <a:off x="3293237" y="3595682"/>
            <a:ext cx="1001939"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48V DC</a:t>
            </a:r>
            <a:endParaRPr lang="zh-CN" altLang="en-US" sz="750" dirty="0">
              <a:solidFill>
                <a:schemeClr val="bg1"/>
              </a:solidFill>
              <a:latin typeface="+mn-lt"/>
            </a:endParaRPr>
          </a:p>
        </p:txBody>
      </p:sp>
      <p:sp>
        <p:nvSpPr>
          <p:cNvPr id="39" name="矩形 38"/>
          <p:cNvSpPr/>
          <p:nvPr/>
        </p:nvSpPr>
        <p:spPr bwMode="auto">
          <a:xfrm>
            <a:off x="6729815" y="4880180"/>
            <a:ext cx="705030" cy="170501"/>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Converter</a:t>
            </a:r>
            <a:endParaRPr lang="zh-CN" altLang="en-US" sz="900" dirty="0">
              <a:solidFill>
                <a:schemeClr val="bg1"/>
              </a:solidFill>
              <a:latin typeface="+mn-lt"/>
              <a:ea typeface="MS PGothic" pitchFamily="34" charset="-128"/>
            </a:endParaRPr>
          </a:p>
        </p:txBody>
      </p:sp>
      <p:sp>
        <p:nvSpPr>
          <p:cNvPr id="40" name="矩形 39"/>
          <p:cNvSpPr/>
          <p:nvPr/>
        </p:nvSpPr>
        <p:spPr bwMode="auto">
          <a:xfrm>
            <a:off x="6729815" y="5351737"/>
            <a:ext cx="705030" cy="170501"/>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Converter</a:t>
            </a:r>
            <a:endParaRPr lang="zh-CN" altLang="en-US" sz="900" dirty="0">
              <a:solidFill>
                <a:schemeClr val="bg1"/>
              </a:solidFill>
              <a:latin typeface="+mn-lt"/>
              <a:ea typeface="MS PGothic" pitchFamily="34" charset="-128"/>
            </a:endParaRPr>
          </a:p>
        </p:txBody>
      </p:sp>
      <p:sp>
        <p:nvSpPr>
          <p:cNvPr id="41" name="TextBox 82"/>
          <p:cNvSpPr txBox="1"/>
          <p:nvPr/>
        </p:nvSpPr>
        <p:spPr bwMode="auto">
          <a:xfrm>
            <a:off x="8087321" y="5058845"/>
            <a:ext cx="369296" cy="251184"/>
          </a:xfrm>
          <a:prstGeom prst="rect">
            <a:avLst/>
          </a:prstGeom>
          <a:noFill/>
          <a:ln>
            <a:noFill/>
          </a:ln>
        </p:spPr>
        <p:txBody>
          <a:bodyPr vert="eaVert" wrap="square" lIns="68562" tIns="34281" rIns="68562" bIns="34281" anchor="ctr">
            <a:spAutoFit/>
          </a:bodyPr>
          <a:lstStyle/>
          <a:p>
            <a:pPr algn="ctr">
              <a:buFont typeface="Wingdings" pitchFamily="2" charset="2"/>
              <a:buNone/>
              <a:defRPr/>
            </a:pPr>
            <a:r>
              <a:rPr lang="en-US" altLang="zh-CN" sz="750" dirty="0">
                <a:solidFill>
                  <a:schemeClr val="bg1"/>
                </a:solidFill>
                <a:latin typeface="+mn-lt"/>
              </a:rPr>
              <a:t>……</a:t>
            </a:r>
            <a:endParaRPr lang="zh-CN" altLang="en-US" sz="750" dirty="0">
              <a:solidFill>
                <a:schemeClr val="bg1"/>
              </a:solidFill>
              <a:latin typeface="+mn-lt"/>
            </a:endParaRPr>
          </a:p>
        </p:txBody>
      </p:sp>
      <p:sp>
        <p:nvSpPr>
          <p:cNvPr id="42" name="TextBox 84"/>
          <p:cNvSpPr txBox="1"/>
          <p:nvPr/>
        </p:nvSpPr>
        <p:spPr bwMode="auto">
          <a:xfrm>
            <a:off x="7814476" y="4843555"/>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1</a:t>
            </a:r>
            <a:endParaRPr lang="zh-CN" altLang="en-US" sz="750" dirty="0">
              <a:solidFill>
                <a:schemeClr val="bg1"/>
              </a:solidFill>
              <a:latin typeface="+mn-lt"/>
            </a:endParaRPr>
          </a:p>
        </p:txBody>
      </p:sp>
      <p:sp>
        <p:nvSpPr>
          <p:cNvPr id="43" name="TextBox 85"/>
          <p:cNvSpPr txBox="1"/>
          <p:nvPr/>
        </p:nvSpPr>
        <p:spPr bwMode="auto">
          <a:xfrm>
            <a:off x="7814476" y="5349447"/>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n</a:t>
            </a:r>
            <a:endParaRPr lang="zh-CN" altLang="en-US" sz="750" dirty="0">
              <a:solidFill>
                <a:schemeClr val="bg1"/>
              </a:solidFill>
              <a:latin typeface="+mn-lt"/>
            </a:endParaRPr>
          </a:p>
        </p:txBody>
      </p:sp>
      <p:cxnSp>
        <p:nvCxnSpPr>
          <p:cNvPr id="44" name="直接箭头连接符 163"/>
          <p:cNvCxnSpPr>
            <a:cxnSpLocks noChangeShapeType="1"/>
            <a:stCxn id="39" idx="3"/>
          </p:cNvCxnSpPr>
          <p:nvPr/>
        </p:nvCxnSpPr>
        <p:spPr bwMode="auto">
          <a:xfrm>
            <a:off x="7434845" y="4965430"/>
            <a:ext cx="548561" cy="7862"/>
          </a:xfrm>
          <a:prstGeom prst="straightConnector1">
            <a:avLst/>
          </a:prstGeom>
          <a:noFill/>
          <a:ln w="25400" algn="ctr">
            <a:solidFill>
              <a:srgbClr val="FFC000"/>
            </a:solidFill>
            <a:round/>
            <a:headEnd/>
            <a:tailEnd type="arrow" w="med" len="med"/>
          </a:ln>
        </p:spPr>
      </p:cxnSp>
      <p:cxnSp>
        <p:nvCxnSpPr>
          <p:cNvPr id="45" name="直接箭头连接符 163"/>
          <p:cNvCxnSpPr>
            <a:cxnSpLocks noChangeShapeType="1"/>
            <a:stCxn id="40" idx="3"/>
          </p:cNvCxnSpPr>
          <p:nvPr/>
        </p:nvCxnSpPr>
        <p:spPr bwMode="auto">
          <a:xfrm>
            <a:off x="7434845" y="5436987"/>
            <a:ext cx="545485" cy="0"/>
          </a:xfrm>
          <a:prstGeom prst="straightConnector1">
            <a:avLst/>
          </a:prstGeom>
          <a:noFill/>
          <a:ln w="25400" algn="ctr">
            <a:solidFill>
              <a:srgbClr val="FFC000"/>
            </a:solidFill>
            <a:round/>
            <a:headEnd/>
            <a:tailEnd type="arrow" w="med" len="med"/>
          </a:ln>
        </p:spPr>
      </p:cxnSp>
      <p:sp>
        <p:nvSpPr>
          <p:cNvPr id="46" name="TextBox 90"/>
          <p:cNvSpPr txBox="1"/>
          <p:nvPr/>
        </p:nvSpPr>
        <p:spPr bwMode="auto">
          <a:xfrm>
            <a:off x="7300636" y="4712383"/>
            <a:ext cx="1001939"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48V DC</a:t>
            </a:r>
            <a:endParaRPr lang="zh-CN" altLang="en-US" sz="750" dirty="0">
              <a:solidFill>
                <a:schemeClr val="bg1"/>
              </a:solidFill>
              <a:latin typeface="+mn-lt"/>
            </a:endParaRPr>
          </a:p>
        </p:txBody>
      </p:sp>
      <p:sp>
        <p:nvSpPr>
          <p:cNvPr id="47" name="矩形 46"/>
          <p:cNvSpPr/>
          <p:nvPr/>
        </p:nvSpPr>
        <p:spPr bwMode="auto">
          <a:xfrm>
            <a:off x="2613950" y="4159258"/>
            <a:ext cx="831366" cy="157200"/>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Converter</a:t>
            </a:r>
            <a:endParaRPr lang="zh-CN" altLang="en-US" sz="900" dirty="0">
              <a:solidFill>
                <a:schemeClr val="bg1"/>
              </a:solidFill>
              <a:latin typeface="+mn-lt"/>
              <a:ea typeface="MS PGothic" pitchFamily="34" charset="-128"/>
            </a:endParaRPr>
          </a:p>
        </p:txBody>
      </p:sp>
      <p:cxnSp>
        <p:nvCxnSpPr>
          <p:cNvPr id="48" name="直接箭头连接符 172"/>
          <p:cNvCxnSpPr>
            <a:cxnSpLocks noChangeShapeType="1"/>
          </p:cNvCxnSpPr>
          <p:nvPr/>
        </p:nvCxnSpPr>
        <p:spPr bwMode="auto">
          <a:xfrm flipV="1">
            <a:off x="3445319" y="4229470"/>
            <a:ext cx="1254696" cy="0"/>
          </a:xfrm>
          <a:prstGeom prst="straightConnector1">
            <a:avLst/>
          </a:prstGeom>
          <a:noFill/>
          <a:ln w="25400" algn="ctr">
            <a:solidFill>
              <a:srgbClr val="FFC000"/>
            </a:solidFill>
            <a:round/>
            <a:headEnd/>
            <a:tailEnd type="arrow" w="med" len="med"/>
          </a:ln>
        </p:spPr>
      </p:cxnSp>
      <p:sp>
        <p:nvSpPr>
          <p:cNvPr id="49" name="TextBox 109"/>
          <p:cNvSpPr txBox="1"/>
          <p:nvPr/>
        </p:nvSpPr>
        <p:spPr bwMode="auto">
          <a:xfrm>
            <a:off x="3945137" y="4057906"/>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1</a:t>
            </a:r>
            <a:endParaRPr lang="zh-CN" altLang="en-US" sz="750" dirty="0">
              <a:solidFill>
                <a:schemeClr val="bg1"/>
              </a:solidFill>
              <a:latin typeface="+mn-lt"/>
            </a:endParaRPr>
          </a:p>
        </p:txBody>
      </p:sp>
      <p:sp>
        <p:nvSpPr>
          <p:cNvPr id="50" name="TextBox 110"/>
          <p:cNvSpPr txBox="1"/>
          <p:nvPr/>
        </p:nvSpPr>
        <p:spPr bwMode="auto">
          <a:xfrm>
            <a:off x="3945137" y="4302733"/>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2</a:t>
            </a:r>
            <a:endParaRPr lang="zh-CN" altLang="en-US" sz="750" dirty="0">
              <a:solidFill>
                <a:schemeClr val="bg1"/>
              </a:solidFill>
              <a:latin typeface="+mn-lt"/>
            </a:endParaRPr>
          </a:p>
        </p:txBody>
      </p:sp>
      <p:sp>
        <p:nvSpPr>
          <p:cNvPr id="51" name="TextBox 111"/>
          <p:cNvSpPr txBox="1"/>
          <p:nvPr/>
        </p:nvSpPr>
        <p:spPr bwMode="auto">
          <a:xfrm>
            <a:off x="3318981" y="4041871"/>
            <a:ext cx="1001939"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48V DC</a:t>
            </a:r>
            <a:endParaRPr lang="zh-CN" altLang="en-US" sz="750" dirty="0">
              <a:solidFill>
                <a:schemeClr val="bg1"/>
              </a:solidFill>
              <a:latin typeface="+mn-lt"/>
            </a:endParaRPr>
          </a:p>
        </p:txBody>
      </p:sp>
      <p:sp>
        <p:nvSpPr>
          <p:cNvPr id="52" name="TextBox 134"/>
          <p:cNvSpPr txBox="1"/>
          <p:nvPr/>
        </p:nvSpPr>
        <p:spPr bwMode="auto">
          <a:xfrm>
            <a:off x="3373214" y="4444633"/>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AC</a:t>
            </a:r>
            <a:endParaRPr lang="zh-CN" altLang="en-US" sz="750" dirty="0">
              <a:solidFill>
                <a:schemeClr val="bg1"/>
              </a:solidFill>
              <a:latin typeface="+mn-lt"/>
            </a:endParaRPr>
          </a:p>
        </p:txBody>
      </p:sp>
      <p:cxnSp>
        <p:nvCxnSpPr>
          <p:cNvPr id="53" name="直接箭头连接符 170"/>
          <p:cNvCxnSpPr>
            <a:cxnSpLocks noChangeShapeType="1"/>
          </p:cNvCxnSpPr>
          <p:nvPr/>
        </p:nvCxnSpPr>
        <p:spPr bwMode="auto">
          <a:xfrm>
            <a:off x="1649500" y="4622933"/>
            <a:ext cx="3050735" cy="0"/>
          </a:xfrm>
          <a:prstGeom prst="straightConnector1">
            <a:avLst/>
          </a:prstGeom>
          <a:noFill/>
          <a:ln w="25400" algn="ctr">
            <a:solidFill>
              <a:srgbClr val="FFC000"/>
            </a:solidFill>
            <a:round/>
            <a:headEnd/>
            <a:tailEnd type="arrow" w="med" len="med"/>
          </a:ln>
        </p:spPr>
      </p:cxnSp>
      <p:sp>
        <p:nvSpPr>
          <p:cNvPr id="54" name="右大括号 53"/>
          <p:cNvSpPr/>
          <p:nvPr/>
        </p:nvSpPr>
        <p:spPr bwMode="auto">
          <a:xfrm>
            <a:off x="4783274" y="4173454"/>
            <a:ext cx="108466" cy="485125"/>
          </a:xfrm>
          <a:prstGeom prst="rightBrace">
            <a:avLst/>
          </a:prstGeom>
          <a:noFill/>
          <a:ln w="9525" cap="flat" cmpd="sng" algn="ctr">
            <a:solidFill>
              <a:srgbClr val="FFC000"/>
            </a:solidFill>
            <a:prstDash val="solid"/>
            <a:round/>
            <a:headEnd type="none" w="med" len="med"/>
            <a:tailEnd type="none" w="med" len="med"/>
          </a:ln>
          <a:effectLst/>
        </p:spPr>
        <p:txBody>
          <a:bodyPr rtlCol="0" anchor="ctr"/>
          <a:lstStyle/>
          <a:p>
            <a:pPr algn="ctr"/>
            <a:endParaRPr lang="zh-CN" altLang="en-US" sz="1125" dirty="0">
              <a:latin typeface="+mn-lt"/>
            </a:endParaRPr>
          </a:p>
        </p:txBody>
      </p:sp>
      <p:sp>
        <p:nvSpPr>
          <p:cNvPr id="55" name="右大括号 54"/>
          <p:cNvSpPr/>
          <p:nvPr/>
        </p:nvSpPr>
        <p:spPr bwMode="auto">
          <a:xfrm>
            <a:off x="4783274" y="3589208"/>
            <a:ext cx="108466" cy="485125"/>
          </a:xfrm>
          <a:prstGeom prst="rightBrace">
            <a:avLst/>
          </a:prstGeom>
          <a:noFill/>
          <a:ln w="9525" cap="flat" cmpd="sng" algn="ctr">
            <a:solidFill>
              <a:srgbClr val="FFC000"/>
            </a:solidFill>
            <a:prstDash val="solid"/>
            <a:round/>
            <a:headEnd type="none" w="med" len="med"/>
            <a:tailEnd type="none" w="med" len="med"/>
          </a:ln>
          <a:effectLst/>
        </p:spPr>
        <p:txBody>
          <a:bodyPr rtlCol="0" anchor="ctr"/>
          <a:lstStyle/>
          <a:p>
            <a:pPr algn="ctr"/>
            <a:endParaRPr lang="zh-CN" altLang="en-US" sz="1125" dirty="0">
              <a:latin typeface="+mn-lt"/>
            </a:endParaRPr>
          </a:p>
        </p:txBody>
      </p:sp>
      <p:sp>
        <p:nvSpPr>
          <p:cNvPr id="56" name="TextBox 154"/>
          <p:cNvSpPr txBox="1"/>
          <p:nvPr/>
        </p:nvSpPr>
        <p:spPr>
          <a:xfrm>
            <a:off x="6535350" y="4176101"/>
            <a:ext cx="2092623" cy="265457"/>
          </a:xfrm>
          <a:prstGeom prst="rect">
            <a:avLst/>
          </a:prstGeom>
          <a:noFill/>
          <a:ln>
            <a:noFill/>
          </a:ln>
        </p:spPr>
        <p:txBody>
          <a:bodyPr wrap="square" rtlCol="0">
            <a:spAutoFit/>
          </a:bodyPr>
          <a:lstStyle/>
          <a:p>
            <a:r>
              <a:rPr lang="en-US" altLang="zh-CN" sz="1125" b="1" dirty="0">
                <a:solidFill>
                  <a:srgbClr val="FFC000"/>
                </a:solidFill>
                <a:latin typeface="+mn-lt"/>
              </a:rPr>
              <a:t>Remote Site</a:t>
            </a:r>
            <a:endParaRPr lang="zh-CN" altLang="en-US" sz="1125" b="1" dirty="0">
              <a:solidFill>
                <a:srgbClr val="FFC000"/>
              </a:solidFill>
              <a:latin typeface="+mn-lt"/>
            </a:endParaRPr>
          </a:p>
        </p:txBody>
      </p:sp>
      <p:sp>
        <p:nvSpPr>
          <p:cNvPr id="57" name="矩形 56"/>
          <p:cNvSpPr/>
          <p:nvPr/>
        </p:nvSpPr>
        <p:spPr bwMode="auto">
          <a:xfrm>
            <a:off x="717217" y="3360905"/>
            <a:ext cx="5377348" cy="2336945"/>
          </a:xfrm>
          <a:prstGeom prst="rect">
            <a:avLst/>
          </a:prstGeom>
          <a:noFill/>
          <a:ln w="9525" cap="flat" cmpd="sng" algn="ctr">
            <a:solidFill>
              <a:schemeClr val="bg1"/>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878872">
              <a:buClr>
                <a:srgbClr val="CC9900"/>
              </a:buClr>
              <a:buFont typeface="Wingdings" pitchFamily="2" charset="2"/>
              <a:buChar char="n"/>
            </a:pPr>
            <a:endParaRPr lang="zh-CN" altLang="en-US" b="1" dirty="0" smtClean="0">
              <a:latin typeface="+mn-lt"/>
              <a:ea typeface="SimSun" pitchFamily="2" charset="-122"/>
            </a:endParaRPr>
          </a:p>
        </p:txBody>
      </p:sp>
      <p:sp>
        <p:nvSpPr>
          <p:cNvPr id="58" name="TextBox 143"/>
          <p:cNvSpPr txBox="1"/>
          <p:nvPr/>
        </p:nvSpPr>
        <p:spPr>
          <a:xfrm>
            <a:off x="799038" y="3321792"/>
            <a:ext cx="1272001" cy="265457"/>
          </a:xfrm>
          <a:prstGeom prst="rect">
            <a:avLst/>
          </a:prstGeom>
          <a:noFill/>
          <a:ln>
            <a:noFill/>
          </a:ln>
        </p:spPr>
        <p:txBody>
          <a:bodyPr wrap="square" rtlCol="0">
            <a:spAutoFit/>
          </a:bodyPr>
          <a:lstStyle/>
          <a:p>
            <a:r>
              <a:rPr lang="en-US" altLang="zh-CN" sz="1125" b="1" dirty="0">
                <a:solidFill>
                  <a:srgbClr val="FFC000"/>
                </a:solidFill>
                <a:latin typeface="+mn-lt"/>
              </a:rPr>
              <a:t>Central Office</a:t>
            </a:r>
            <a:endParaRPr lang="zh-CN" altLang="en-US" sz="1125" b="1" dirty="0">
              <a:solidFill>
                <a:srgbClr val="FFC000"/>
              </a:solidFill>
              <a:latin typeface="+mn-lt"/>
            </a:endParaRPr>
          </a:p>
        </p:txBody>
      </p:sp>
      <p:sp>
        <p:nvSpPr>
          <p:cNvPr id="59" name="TextBox 155"/>
          <p:cNvSpPr txBox="1"/>
          <p:nvPr/>
        </p:nvSpPr>
        <p:spPr>
          <a:xfrm>
            <a:off x="6236751" y="3331876"/>
            <a:ext cx="2572837" cy="6924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0951" indent="-130951">
              <a:buFont typeface="Arial" panose="020B0604020202020204" pitchFamily="34" charset="0"/>
              <a:buChar char="•"/>
            </a:pPr>
            <a:r>
              <a:rPr lang="en-US" altLang="zh-CN" dirty="0" smtClean="0">
                <a:solidFill>
                  <a:schemeClr val="lt1"/>
                </a:solidFill>
                <a:latin typeface="+mn-lt"/>
                <a:ea typeface="+mn-ea"/>
              </a:rPr>
              <a:t>Unified power </a:t>
            </a:r>
            <a:r>
              <a:rPr lang="en-US" altLang="zh-CN" dirty="0">
                <a:solidFill>
                  <a:schemeClr val="lt1"/>
                </a:solidFill>
                <a:latin typeface="+mn-lt"/>
                <a:ea typeface="+mn-ea"/>
              </a:rPr>
              <a:t>s</a:t>
            </a:r>
            <a:r>
              <a:rPr lang="en-US" altLang="zh-CN" dirty="0" smtClean="0">
                <a:solidFill>
                  <a:schemeClr val="lt1"/>
                </a:solidFill>
                <a:latin typeface="+mn-lt"/>
                <a:ea typeface="+mn-ea"/>
              </a:rPr>
              <a:t>upply </a:t>
            </a:r>
            <a:r>
              <a:rPr lang="en-US" altLang="zh-CN" dirty="0">
                <a:solidFill>
                  <a:schemeClr val="lt1"/>
                </a:solidFill>
                <a:latin typeface="+mn-lt"/>
                <a:ea typeface="+mn-ea"/>
              </a:rPr>
              <a:t>p</a:t>
            </a:r>
            <a:r>
              <a:rPr lang="en-US" altLang="zh-CN" dirty="0" smtClean="0">
                <a:solidFill>
                  <a:schemeClr val="lt1"/>
                </a:solidFill>
                <a:latin typeface="+mn-lt"/>
                <a:ea typeface="+mn-ea"/>
              </a:rPr>
              <a:t>latform</a:t>
            </a:r>
          </a:p>
          <a:p>
            <a:pPr marL="130951" indent="-130951">
              <a:buFont typeface="Arial" panose="020B0604020202020204" pitchFamily="34" charset="0"/>
              <a:buChar char="•"/>
            </a:pPr>
            <a:r>
              <a:rPr lang="en-US" altLang="zh-CN" dirty="0" smtClean="0">
                <a:solidFill>
                  <a:schemeClr val="lt1"/>
                </a:solidFill>
                <a:latin typeface="+mn-lt"/>
                <a:ea typeface="+mn-ea"/>
              </a:rPr>
              <a:t>High equipment adaptability</a:t>
            </a:r>
          </a:p>
          <a:p>
            <a:pPr marL="130951" indent="-130951">
              <a:buFont typeface="Arial" panose="020B0604020202020204" pitchFamily="34" charset="0"/>
              <a:buChar char="•"/>
            </a:pPr>
            <a:r>
              <a:rPr lang="en-US" altLang="zh-CN" dirty="0" smtClean="0">
                <a:solidFill>
                  <a:schemeClr val="lt1"/>
                </a:solidFill>
                <a:latin typeface="+mn-lt"/>
                <a:ea typeface="+mn-ea"/>
              </a:rPr>
              <a:t>Centralized battery backup</a:t>
            </a:r>
            <a:endParaRPr lang="zh-CN" altLang="en-US" dirty="0">
              <a:solidFill>
                <a:schemeClr val="lt1"/>
              </a:solidFill>
              <a:latin typeface="+mn-lt"/>
              <a:ea typeface="+mn-ea"/>
            </a:endParaRPr>
          </a:p>
        </p:txBody>
      </p:sp>
      <p:sp>
        <p:nvSpPr>
          <p:cNvPr id="60" name="矩形 59"/>
          <p:cNvSpPr/>
          <p:nvPr/>
        </p:nvSpPr>
        <p:spPr bwMode="auto">
          <a:xfrm>
            <a:off x="4238862" y="2356419"/>
            <a:ext cx="813406" cy="157877"/>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E-fuse</a:t>
            </a:r>
            <a:endParaRPr lang="zh-CN" altLang="en-US" sz="900" dirty="0">
              <a:solidFill>
                <a:schemeClr val="bg1"/>
              </a:solidFill>
              <a:latin typeface="+mn-lt"/>
              <a:ea typeface="MS PGothic" pitchFamily="34" charset="-128"/>
            </a:endParaRPr>
          </a:p>
        </p:txBody>
      </p:sp>
      <p:sp>
        <p:nvSpPr>
          <p:cNvPr id="61" name="矩形 60"/>
          <p:cNvSpPr/>
          <p:nvPr/>
        </p:nvSpPr>
        <p:spPr bwMode="auto">
          <a:xfrm>
            <a:off x="862415" y="2356418"/>
            <a:ext cx="809442" cy="157200"/>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Solar module</a:t>
            </a:r>
            <a:endParaRPr lang="zh-CN" altLang="en-US" sz="900" dirty="0">
              <a:solidFill>
                <a:schemeClr val="bg1"/>
              </a:solidFill>
              <a:latin typeface="+mn-lt"/>
              <a:ea typeface="MS PGothic" pitchFamily="34" charset="-128"/>
            </a:endParaRPr>
          </a:p>
        </p:txBody>
      </p:sp>
      <p:cxnSp>
        <p:nvCxnSpPr>
          <p:cNvPr id="62" name="直接箭头连接符 163"/>
          <p:cNvCxnSpPr>
            <a:cxnSpLocks noChangeShapeType="1"/>
          </p:cNvCxnSpPr>
          <p:nvPr/>
        </p:nvCxnSpPr>
        <p:spPr bwMode="auto">
          <a:xfrm>
            <a:off x="533267" y="2436234"/>
            <a:ext cx="328552" cy="0"/>
          </a:xfrm>
          <a:prstGeom prst="straightConnector1">
            <a:avLst/>
          </a:prstGeom>
          <a:noFill/>
          <a:ln w="25400" algn="ctr">
            <a:solidFill>
              <a:srgbClr val="FFC000"/>
            </a:solidFill>
            <a:round/>
            <a:headEnd/>
            <a:tailEnd type="arrow" w="med" len="med"/>
          </a:ln>
        </p:spPr>
      </p:cxnSp>
      <p:sp>
        <p:nvSpPr>
          <p:cNvPr id="63" name="TextBox 35"/>
          <p:cNvSpPr txBox="1"/>
          <p:nvPr/>
        </p:nvSpPr>
        <p:spPr bwMode="auto">
          <a:xfrm>
            <a:off x="333882" y="2255274"/>
            <a:ext cx="532057"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Solar DC</a:t>
            </a:r>
            <a:endParaRPr lang="zh-CN" altLang="en-US" sz="750" dirty="0">
              <a:solidFill>
                <a:schemeClr val="bg1"/>
              </a:solidFill>
              <a:latin typeface="+mn-lt"/>
            </a:endParaRPr>
          </a:p>
        </p:txBody>
      </p:sp>
      <p:cxnSp>
        <p:nvCxnSpPr>
          <p:cNvPr id="64" name="直接箭头连接符 163"/>
          <p:cNvCxnSpPr>
            <a:cxnSpLocks noChangeShapeType="1"/>
            <a:stCxn id="61" idx="3"/>
            <a:endCxn id="60" idx="1"/>
          </p:cNvCxnSpPr>
          <p:nvPr/>
        </p:nvCxnSpPr>
        <p:spPr bwMode="auto">
          <a:xfrm>
            <a:off x="1671857" y="2435019"/>
            <a:ext cx="2567005" cy="338"/>
          </a:xfrm>
          <a:prstGeom prst="straightConnector1">
            <a:avLst/>
          </a:prstGeom>
          <a:noFill/>
          <a:ln w="25400" algn="ctr">
            <a:solidFill>
              <a:srgbClr val="FFC000"/>
            </a:solidFill>
            <a:round/>
            <a:headEnd/>
            <a:tailEnd type="arrow" w="med" len="med"/>
          </a:ln>
        </p:spPr>
      </p:cxnSp>
      <p:sp>
        <p:nvSpPr>
          <p:cNvPr id="65" name="TextBox 69"/>
          <p:cNvSpPr txBox="1"/>
          <p:nvPr/>
        </p:nvSpPr>
        <p:spPr bwMode="auto">
          <a:xfrm>
            <a:off x="1612013" y="2233923"/>
            <a:ext cx="1001939"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48V DC</a:t>
            </a:r>
            <a:endParaRPr lang="zh-CN" altLang="en-US" sz="750" dirty="0">
              <a:solidFill>
                <a:schemeClr val="bg1"/>
              </a:solidFill>
              <a:latin typeface="+mn-lt"/>
            </a:endParaRPr>
          </a:p>
        </p:txBody>
      </p:sp>
      <p:sp>
        <p:nvSpPr>
          <p:cNvPr id="66" name="矩形 65"/>
          <p:cNvSpPr/>
          <p:nvPr/>
        </p:nvSpPr>
        <p:spPr bwMode="auto">
          <a:xfrm>
            <a:off x="2430935" y="2741691"/>
            <a:ext cx="813406" cy="157877"/>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Battery</a:t>
            </a:r>
            <a:endParaRPr lang="zh-CN" altLang="en-US" sz="900" dirty="0">
              <a:solidFill>
                <a:schemeClr val="bg1"/>
              </a:solidFill>
              <a:latin typeface="+mn-lt"/>
              <a:ea typeface="MS PGothic" pitchFamily="34" charset="-128"/>
            </a:endParaRPr>
          </a:p>
        </p:txBody>
      </p:sp>
      <p:cxnSp>
        <p:nvCxnSpPr>
          <p:cNvPr id="67" name="肘形连接符 66"/>
          <p:cNvCxnSpPr>
            <a:stCxn id="61" idx="3"/>
            <a:endCxn id="66" idx="1"/>
          </p:cNvCxnSpPr>
          <p:nvPr/>
        </p:nvCxnSpPr>
        <p:spPr>
          <a:xfrm>
            <a:off x="1671856" y="2435019"/>
            <a:ext cx="759079" cy="385611"/>
          </a:xfrm>
          <a:prstGeom prst="bentConnector3">
            <a:avLst>
              <a:gd name="adj1" fmla="val 50000"/>
            </a:avLst>
          </a:prstGeom>
          <a:noFill/>
          <a:ln w="25400" algn="ctr">
            <a:solidFill>
              <a:srgbClr val="FFC000"/>
            </a:solidFill>
            <a:round/>
            <a:headEnd/>
            <a:tailEnd type="arrow" w="med" len="med"/>
          </a:ln>
        </p:spPr>
      </p:cxnSp>
      <p:cxnSp>
        <p:nvCxnSpPr>
          <p:cNvPr id="68" name="肘形连接符 67"/>
          <p:cNvCxnSpPr/>
          <p:nvPr/>
        </p:nvCxnSpPr>
        <p:spPr>
          <a:xfrm>
            <a:off x="2960766" y="2436046"/>
            <a:ext cx="1278096" cy="224275"/>
          </a:xfrm>
          <a:prstGeom prst="bentConnector3">
            <a:avLst>
              <a:gd name="adj1" fmla="val 50000"/>
            </a:avLst>
          </a:prstGeom>
          <a:noFill/>
          <a:ln w="25400" algn="ctr">
            <a:solidFill>
              <a:srgbClr val="FFC000"/>
            </a:solidFill>
            <a:round/>
            <a:headEnd/>
            <a:tailEnd type="arrow" w="med" len="med"/>
          </a:ln>
        </p:spPr>
      </p:cxnSp>
      <p:sp>
        <p:nvSpPr>
          <p:cNvPr id="69" name="TextBox 50"/>
          <p:cNvSpPr txBox="1"/>
          <p:nvPr/>
        </p:nvSpPr>
        <p:spPr bwMode="auto">
          <a:xfrm>
            <a:off x="2405978" y="2900149"/>
            <a:ext cx="838138" cy="300064"/>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Intelligent Management</a:t>
            </a:r>
            <a:endParaRPr lang="zh-CN" altLang="en-US" sz="750" dirty="0">
              <a:solidFill>
                <a:schemeClr val="bg1"/>
              </a:solidFill>
              <a:latin typeface="+mn-lt"/>
            </a:endParaRPr>
          </a:p>
        </p:txBody>
      </p:sp>
      <p:sp>
        <p:nvSpPr>
          <p:cNvPr id="70" name="TextBox 50"/>
          <p:cNvSpPr txBox="1"/>
          <p:nvPr/>
        </p:nvSpPr>
        <p:spPr bwMode="auto">
          <a:xfrm>
            <a:off x="4232572" y="2145992"/>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Adjustable</a:t>
            </a:r>
            <a:endParaRPr lang="zh-CN" altLang="en-US" sz="750" dirty="0">
              <a:solidFill>
                <a:schemeClr val="bg1"/>
              </a:solidFill>
              <a:latin typeface="+mn-lt"/>
            </a:endParaRPr>
          </a:p>
        </p:txBody>
      </p:sp>
      <p:sp>
        <p:nvSpPr>
          <p:cNvPr id="71" name="TextBox 67"/>
          <p:cNvSpPr txBox="1"/>
          <p:nvPr/>
        </p:nvSpPr>
        <p:spPr>
          <a:xfrm>
            <a:off x="6535351" y="1916454"/>
            <a:ext cx="1263280" cy="415498"/>
          </a:xfrm>
          <a:prstGeom prst="rect">
            <a:avLst/>
          </a:prstGeom>
          <a:noFill/>
          <a:ln>
            <a:noFill/>
          </a:ln>
        </p:spPr>
        <p:txBody>
          <a:bodyPr wrap="square" rtlCol="0">
            <a:spAutoFit/>
          </a:bodyPr>
          <a:lstStyle/>
          <a:p>
            <a:r>
              <a:rPr lang="en-US" altLang="zh-CN" sz="1050" b="1" dirty="0">
                <a:solidFill>
                  <a:schemeClr val="bg1"/>
                </a:solidFill>
                <a:latin typeface="+mn-lt"/>
              </a:rPr>
              <a:t>Network Equipment</a:t>
            </a:r>
            <a:endParaRPr lang="zh-CN" altLang="en-US" sz="1050" b="1" dirty="0">
              <a:solidFill>
                <a:schemeClr val="bg1"/>
              </a:solidFill>
              <a:latin typeface="+mn-lt"/>
            </a:endParaRPr>
          </a:p>
        </p:txBody>
      </p:sp>
      <p:sp>
        <p:nvSpPr>
          <p:cNvPr id="72" name="矩形 71"/>
          <p:cNvSpPr/>
          <p:nvPr/>
        </p:nvSpPr>
        <p:spPr bwMode="auto">
          <a:xfrm>
            <a:off x="4238862" y="2565773"/>
            <a:ext cx="813406" cy="157877"/>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Converter</a:t>
            </a:r>
            <a:endParaRPr lang="zh-CN" altLang="en-US" sz="900" dirty="0">
              <a:solidFill>
                <a:schemeClr val="bg1"/>
              </a:solidFill>
              <a:latin typeface="+mn-lt"/>
              <a:ea typeface="MS PGothic" pitchFamily="34" charset="-128"/>
            </a:endParaRPr>
          </a:p>
        </p:txBody>
      </p:sp>
      <p:sp>
        <p:nvSpPr>
          <p:cNvPr id="73" name="矩形 72"/>
          <p:cNvSpPr/>
          <p:nvPr/>
        </p:nvSpPr>
        <p:spPr bwMode="auto">
          <a:xfrm>
            <a:off x="4238862" y="3102339"/>
            <a:ext cx="813406" cy="157877"/>
          </a:xfrm>
          <a:prstGeom prst="rect">
            <a:avLst/>
          </a:prstGeom>
          <a:solidFill>
            <a:srgbClr val="FFC000"/>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HVDC</a:t>
            </a:r>
            <a:endParaRPr lang="zh-CN" altLang="en-US" sz="900" dirty="0">
              <a:solidFill>
                <a:schemeClr val="bg1"/>
              </a:solidFill>
              <a:latin typeface="+mn-lt"/>
              <a:ea typeface="MS PGothic" pitchFamily="34" charset="-128"/>
            </a:endParaRPr>
          </a:p>
        </p:txBody>
      </p:sp>
      <p:sp>
        <p:nvSpPr>
          <p:cNvPr id="74" name="TextBox 48"/>
          <p:cNvSpPr txBox="1"/>
          <p:nvPr/>
        </p:nvSpPr>
        <p:spPr bwMode="auto">
          <a:xfrm>
            <a:off x="4514723" y="2929752"/>
            <a:ext cx="369296" cy="251184"/>
          </a:xfrm>
          <a:prstGeom prst="rect">
            <a:avLst/>
          </a:prstGeom>
          <a:noFill/>
          <a:ln>
            <a:noFill/>
          </a:ln>
        </p:spPr>
        <p:txBody>
          <a:bodyPr vert="eaVert" wrap="square" lIns="68562" tIns="34281" rIns="68562" bIns="34281" anchor="ctr">
            <a:spAutoFit/>
          </a:bodyPr>
          <a:lstStyle/>
          <a:p>
            <a:pPr algn="ctr">
              <a:buFont typeface="Wingdings" pitchFamily="2" charset="2"/>
              <a:buNone/>
              <a:defRPr/>
            </a:pPr>
            <a:r>
              <a:rPr lang="en-US" altLang="zh-CN" sz="750" dirty="0">
                <a:solidFill>
                  <a:schemeClr val="bg1"/>
                </a:solidFill>
                <a:latin typeface="+mn-lt"/>
              </a:rPr>
              <a:t>……</a:t>
            </a:r>
            <a:endParaRPr lang="zh-CN" altLang="en-US" sz="750" dirty="0">
              <a:solidFill>
                <a:schemeClr val="bg1"/>
              </a:solidFill>
              <a:latin typeface="+mn-lt"/>
            </a:endParaRPr>
          </a:p>
        </p:txBody>
      </p:sp>
      <p:cxnSp>
        <p:nvCxnSpPr>
          <p:cNvPr id="75" name="肘形连接符 174"/>
          <p:cNvCxnSpPr>
            <a:cxnSpLocks noChangeShapeType="1"/>
            <a:stCxn id="60" idx="3"/>
          </p:cNvCxnSpPr>
          <p:nvPr/>
        </p:nvCxnSpPr>
        <p:spPr bwMode="auto">
          <a:xfrm flipV="1">
            <a:off x="5052267" y="2095741"/>
            <a:ext cx="1219086" cy="339616"/>
          </a:xfrm>
          <a:prstGeom prst="bentConnector3">
            <a:avLst>
              <a:gd name="adj1" fmla="val 50000"/>
            </a:avLst>
          </a:prstGeom>
          <a:noFill/>
          <a:ln w="25400" algn="ctr">
            <a:solidFill>
              <a:srgbClr val="FFC000"/>
            </a:solidFill>
            <a:round/>
            <a:headEnd/>
            <a:tailEnd type="arrow" w="med" len="med"/>
          </a:ln>
        </p:spPr>
      </p:cxnSp>
      <p:cxnSp>
        <p:nvCxnSpPr>
          <p:cNvPr id="77" name="肘形连接符 174"/>
          <p:cNvCxnSpPr>
            <a:cxnSpLocks noChangeShapeType="1"/>
          </p:cNvCxnSpPr>
          <p:nvPr/>
        </p:nvCxnSpPr>
        <p:spPr bwMode="auto">
          <a:xfrm>
            <a:off x="5052267" y="2655338"/>
            <a:ext cx="1219086" cy="192727"/>
          </a:xfrm>
          <a:prstGeom prst="bentConnector3">
            <a:avLst>
              <a:gd name="adj1" fmla="val 50000"/>
            </a:avLst>
          </a:prstGeom>
          <a:noFill/>
          <a:ln w="25400" algn="ctr">
            <a:solidFill>
              <a:srgbClr val="FFC000"/>
            </a:solidFill>
            <a:round/>
            <a:headEnd/>
            <a:tailEnd type="arrow" w="med" len="med"/>
          </a:ln>
        </p:spPr>
      </p:cxnSp>
      <p:sp>
        <p:nvSpPr>
          <p:cNvPr id="78" name="TextBox 50"/>
          <p:cNvSpPr txBox="1"/>
          <p:nvPr/>
        </p:nvSpPr>
        <p:spPr bwMode="auto">
          <a:xfrm>
            <a:off x="5541681" y="2643271"/>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1</a:t>
            </a:r>
            <a:endParaRPr lang="zh-CN" altLang="en-US" sz="750" dirty="0">
              <a:solidFill>
                <a:schemeClr val="bg1"/>
              </a:solidFill>
              <a:latin typeface="+mn-lt"/>
            </a:endParaRPr>
          </a:p>
        </p:txBody>
      </p:sp>
      <p:cxnSp>
        <p:nvCxnSpPr>
          <p:cNvPr id="79" name="肘形连接符 174"/>
          <p:cNvCxnSpPr>
            <a:cxnSpLocks noChangeShapeType="1"/>
          </p:cNvCxnSpPr>
          <p:nvPr/>
        </p:nvCxnSpPr>
        <p:spPr bwMode="auto">
          <a:xfrm>
            <a:off x="5052267" y="2655338"/>
            <a:ext cx="1219086" cy="434775"/>
          </a:xfrm>
          <a:prstGeom prst="bentConnector3">
            <a:avLst>
              <a:gd name="adj1" fmla="val 50000"/>
            </a:avLst>
          </a:prstGeom>
          <a:noFill/>
          <a:ln w="25400" algn="ctr">
            <a:solidFill>
              <a:srgbClr val="FFC000"/>
            </a:solidFill>
            <a:round/>
            <a:headEnd/>
            <a:tailEnd type="arrow" w="med" len="med"/>
          </a:ln>
        </p:spPr>
      </p:cxnSp>
      <p:sp>
        <p:nvSpPr>
          <p:cNvPr id="80" name="TextBox 51"/>
          <p:cNvSpPr txBox="1"/>
          <p:nvPr/>
        </p:nvSpPr>
        <p:spPr bwMode="auto">
          <a:xfrm>
            <a:off x="5541681" y="2887988"/>
            <a:ext cx="838138" cy="184648"/>
          </a:xfrm>
          <a:prstGeom prst="rect">
            <a:avLst/>
          </a:prstGeom>
          <a:noFill/>
          <a:ln>
            <a:noFill/>
          </a:ln>
        </p:spPr>
        <p:txBody>
          <a:bodyPr lIns="68562" tIns="34281" rIns="68562" bIns="34281">
            <a:spAutoFit/>
          </a:bodyPr>
          <a:lstStyle/>
          <a:p>
            <a:pPr algn="ctr">
              <a:buFont typeface="Wingdings" pitchFamily="2" charset="2"/>
              <a:buNone/>
              <a:defRPr/>
            </a:pPr>
            <a:r>
              <a:rPr lang="en-US" altLang="zh-CN" sz="750" dirty="0">
                <a:solidFill>
                  <a:schemeClr val="bg1"/>
                </a:solidFill>
                <a:latin typeface="+mn-lt"/>
              </a:rPr>
              <a:t>Output 2</a:t>
            </a:r>
            <a:endParaRPr lang="zh-CN" altLang="en-US" sz="750" dirty="0">
              <a:solidFill>
                <a:schemeClr val="bg1"/>
              </a:solidFill>
              <a:latin typeface="+mn-lt"/>
            </a:endParaRPr>
          </a:p>
        </p:txBody>
      </p:sp>
      <p:sp>
        <p:nvSpPr>
          <p:cNvPr id="81" name="右大括号 80"/>
          <p:cNvSpPr/>
          <p:nvPr/>
        </p:nvSpPr>
        <p:spPr bwMode="auto">
          <a:xfrm>
            <a:off x="6379818" y="2604450"/>
            <a:ext cx="108466" cy="485125"/>
          </a:xfrm>
          <a:prstGeom prst="rightBrace">
            <a:avLst/>
          </a:prstGeom>
          <a:noFill/>
          <a:ln w="9525" cap="flat" cmpd="sng" algn="ctr">
            <a:solidFill>
              <a:srgbClr val="FFC000"/>
            </a:solidFill>
            <a:prstDash val="solid"/>
            <a:round/>
            <a:headEnd type="none" w="med" len="med"/>
            <a:tailEnd type="none" w="med" len="med"/>
          </a:ln>
          <a:effectLst/>
        </p:spPr>
        <p:txBody>
          <a:bodyPr rtlCol="0" anchor="ctr"/>
          <a:lstStyle/>
          <a:p>
            <a:pPr algn="ctr"/>
            <a:endParaRPr lang="zh-CN" altLang="en-US" sz="1125" dirty="0">
              <a:latin typeface="+mn-lt"/>
            </a:endParaRPr>
          </a:p>
        </p:txBody>
      </p:sp>
      <p:sp>
        <p:nvSpPr>
          <p:cNvPr id="82" name="TextBox 67"/>
          <p:cNvSpPr txBox="1"/>
          <p:nvPr/>
        </p:nvSpPr>
        <p:spPr>
          <a:xfrm>
            <a:off x="6535351" y="2691411"/>
            <a:ext cx="1263280" cy="253916"/>
          </a:xfrm>
          <a:prstGeom prst="rect">
            <a:avLst/>
          </a:prstGeom>
          <a:noFill/>
          <a:ln>
            <a:noFill/>
          </a:ln>
        </p:spPr>
        <p:txBody>
          <a:bodyPr wrap="square" rtlCol="0">
            <a:spAutoFit/>
          </a:bodyPr>
          <a:lstStyle/>
          <a:p>
            <a:r>
              <a:rPr lang="en-US" altLang="zh-CN" sz="1050" b="1" dirty="0">
                <a:solidFill>
                  <a:schemeClr val="bg1"/>
                </a:solidFill>
                <a:latin typeface="+mn-lt"/>
              </a:rPr>
              <a:t>Social Service</a:t>
            </a:r>
            <a:endParaRPr lang="zh-CN" altLang="en-US" sz="1050" b="1" dirty="0">
              <a:solidFill>
                <a:schemeClr val="bg1"/>
              </a:solidFill>
              <a:latin typeface="+mn-lt"/>
            </a:endParaRPr>
          </a:p>
        </p:txBody>
      </p:sp>
      <p:sp>
        <p:nvSpPr>
          <p:cNvPr id="83" name="矩形 82"/>
          <p:cNvSpPr/>
          <p:nvPr/>
        </p:nvSpPr>
        <p:spPr bwMode="auto">
          <a:xfrm>
            <a:off x="714140" y="1712210"/>
            <a:ext cx="5370692" cy="1588400"/>
          </a:xfrm>
          <a:prstGeom prst="rect">
            <a:avLst/>
          </a:prstGeom>
          <a:noFill/>
          <a:ln w="9525" cap="flat" cmpd="sng" algn="ctr">
            <a:solidFill>
              <a:schemeClr val="bg1"/>
            </a:solidFill>
            <a:prstDash val="solid"/>
            <a:roun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defTabSz="878872">
              <a:buClr>
                <a:srgbClr val="CC9900"/>
              </a:buClr>
              <a:buFont typeface="Wingdings" pitchFamily="2" charset="2"/>
              <a:buChar char="n"/>
            </a:pPr>
            <a:endParaRPr lang="zh-CN" altLang="en-US" b="1" dirty="0" smtClean="0">
              <a:latin typeface="+mn-lt"/>
              <a:ea typeface="SimSun" pitchFamily="2" charset="-122"/>
            </a:endParaRPr>
          </a:p>
        </p:txBody>
      </p:sp>
      <p:sp>
        <p:nvSpPr>
          <p:cNvPr id="84" name="TextBox 143"/>
          <p:cNvSpPr txBox="1"/>
          <p:nvPr/>
        </p:nvSpPr>
        <p:spPr>
          <a:xfrm>
            <a:off x="849040" y="1764785"/>
            <a:ext cx="1272001" cy="265457"/>
          </a:xfrm>
          <a:prstGeom prst="rect">
            <a:avLst/>
          </a:prstGeom>
          <a:noFill/>
          <a:ln>
            <a:noFill/>
          </a:ln>
        </p:spPr>
        <p:txBody>
          <a:bodyPr wrap="square" rtlCol="0">
            <a:spAutoFit/>
          </a:bodyPr>
          <a:lstStyle/>
          <a:p>
            <a:r>
              <a:rPr lang="en-US" altLang="zh-CN" sz="1125" b="1" dirty="0">
                <a:solidFill>
                  <a:srgbClr val="FFC000"/>
                </a:solidFill>
                <a:latin typeface="+mn-lt"/>
              </a:rPr>
              <a:t>Local Site</a:t>
            </a:r>
            <a:endParaRPr lang="zh-CN" altLang="en-US" sz="1125" b="1" dirty="0">
              <a:solidFill>
                <a:srgbClr val="FFC000"/>
              </a:solidFill>
              <a:latin typeface="+mn-lt"/>
            </a:endParaRPr>
          </a:p>
        </p:txBody>
      </p:sp>
      <p:sp>
        <p:nvSpPr>
          <p:cNvPr id="85" name="矩形 84"/>
          <p:cNvSpPr/>
          <p:nvPr/>
        </p:nvSpPr>
        <p:spPr bwMode="auto">
          <a:xfrm>
            <a:off x="862415" y="2745262"/>
            <a:ext cx="809442" cy="157200"/>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Rectifier</a:t>
            </a:r>
            <a:endParaRPr lang="zh-CN" altLang="en-US" sz="900" dirty="0">
              <a:solidFill>
                <a:schemeClr val="bg1"/>
              </a:solidFill>
              <a:latin typeface="+mn-lt"/>
              <a:ea typeface="MS PGothic" pitchFamily="34" charset="-128"/>
            </a:endParaRPr>
          </a:p>
        </p:txBody>
      </p:sp>
      <p:cxnSp>
        <p:nvCxnSpPr>
          <p:cNvPr id="86" name="肘形连接符 172"/>
          <p:cNvCxnSpPr>
            <a:stCxn id="23" idx="0"/>
            <a:endCxn id="85" idx="1"/>
          </p:cNvCxnSpPr>
          <p:nvPr/>
        </p:nvCxnSpPr>
        <p:spPr>
          <a:xfrm rot="5400000" flipH="1" flipV="1">
            <a:off x="375223" y="3023154"/>
            <a:ext cx="686484" cy="287900"/>
          </a:xfrm>
          <a:prstGeom prst="bentConnector2">
            <a:avLst/>
          </a:prstGeom>
          <a:noFill/>
          <a:ln w="25400" algn="ctr">
            <a:solidFill>
              <a:srgbClr val="FFC000"/>
            </a:solidFill>
            <a:round/>
            <a:headEnd/>
            <a:tailEnd type="arrow" w="med" len="med"/>
          </a:ln>
        </p:spPr>
      </p:cxnSp>
      <p:cxnSp>
        <p:nvCxnSpPr>
          <p:cNvPr id="87" name="直接箭头连接符 170"/>
          <p:cNvCxnSpPr>
            <a:cxnSpLocks noChangeShapeType="1"/>
            <a:endCxn id="66" idx="1"/>
          </p:cNvCxnSpPr>
          <p:nvPr/>
        </p:nvCxnSpPr>
        <p:spPr bwMode="auto">
          <a:xfrm flipV="1">
            <a:off x="1671856" y="2820629"/>
            <a:ext cx="759079" cy="0"/>
          </a:xfrm>
          <a:prstGeom prst="straightConnector1">
            <a:avLst/>
          </a:prstGeom>
          <a:noFill/>
          <a:ln w="25400" algn="ctr">
            <a:solidFill>
              <a:srgbClr val="FFC000"/>
            </a:solidFill>
            <a:round/>
            <a:headEnd/>
            <a:tailEnd type="arrow" w="med" len="med"/>
          </a:ln>
        </p:spPr>
      </p:cxnSp>
      <p:cxnSp>
        <p:nvCxnSpPr>
          <p:cNvPr id="88" name="肘形连接符 87"/>
          <p:cNvCxnSpPr/>
          <p:nvPr/>
        </p:nvCxnSpPr>
        <p:spPr>
          <a:xfrm>
            <a:off x="5036546" y="3184155"/>
            <a:ext cx="1693270" cy="1696025"/>
          </a:xfrm>
          <a:prstGeom prst="bentConnector3">
            <a:avLst>
              <a:gd name="adj1" fmla="val 68211"/>
            </a:avLst>
          </a:prstGeom>
          <a:ln w="25400">
            <a:solidFill>
              <a:srgbClr val="FFC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89" name="矩形 88"/>
          <p:cNvSpPr/>
          <p:nvPr/>
        </p:nvSpPr>
        <p:spPr>
          <a:xfrm>
            <a:off x="6379819" y="1753408"/>
            <a:ext cx="1248217" cy="15017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0" name="矩形 89"/>
          <p:cNvSpPr/>
          <p:nvPr/>
        </p:nvSpPr>
        <p:spPr>
          <a:xfrm>
            <a:off x="4783274" y="3389478"/>
            <a:ext cx="1248217" cy="135147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1" name="矩形 90"/>
          <p:cNvSpPr/>
          <p:nvPr/>
        </p:nvSpPr>
        <p:spPr>
          <a:xfrm>
            <a:off x="6488285" y="4108968"/>
            <a:ext cx="2139690" cy="15700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93" name="肘形连接符 92"/>
          <p:cNvCxnSpPr/>
          <p:nvPr/>
        </p:nvCxnSpPr>
        <p:spPr>
          <a:xfrm>
            <a:off x="2960766" y="2436051"/>
            <a:ext cx="1281337" cy="761934"/>
          </a:xfrm>
          <a:prstGeom prst="bentConnector3">
            <a:avLst>
              <a:gd name="adj1" fmla="val 50000"/>
            </a:avLst>
          </a:prstGeom>
          <a:noFill/>
          <a:ln w="25400" algn="ctr">
            <a:solidFill>
              <a:srgbClr val="FFC000"/>
            </a:solidFill>
            <a:round/>
            <a:headEnd/>
            <a:tailEnd type="arrow" w="med" len="med"/>
          </a:ln>
        </p:spPr>
      </p:cxnSp>
      <p:sp>
        <p:nvSpPr>
          <p:cNvPr id="94" name="椭圆 191"/>
          <p:cNvSpPr>
            <a:spLocks noChangeArrowheads="1"/>
          </p:cNvSpPr>
          <p:nvPr/>
        </p:nvSpPr>
        <p:spPr bwMode="auto">
          <a:xfrm>
            <a:off x="2024406" y="2797964"/>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95" name="椭圆 191"/>
          <p:cNvSpPr>
            <a:spLocks noChangeArrowheads="1"/>
          </p:cNvSpPr>
          <p:nvPr/>
        </p:nvSpPr>
        <p:spPr bwMode="auto">
          <a:xfrm>
            <a:off x="2026184" y="2412238"/>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cxnSp>
        <p:nvCxnSpPr>
          <p:cNvPr id="96" name="直接箭头连接符 170"/>
          <p:cNvCxnSpPr>
            <a:cxnSpLocks noChangeShapeType="1"/>
          </p:cNvCxnSpPr>
          <p:nvPr/>
        </p:nvCxnSpPr>
        <p:spPr bwMode="auto">
          <a:xfrm>
            <a:off x="1833396" y="4450015"/>
            <a:ext cx="2861752" cy="1588"/>
          </a:xfrm>
          <a:prstGeom prst="straightConnector1">
            <a:avLst/>
          </a:prstGeom>
          <a:noFill/>
          <a:ln w="25400" algn="ctr">
            <a:solidFill>
              <a:srgbClr val="FFC000"/>
            </a:solidFill>
            <a:round/>
            <a:headEnd/>
            <a:tailEnd type="arrow" w="med" len="med"/>
          </a:ln>
        </p:spPr>
      </p:cxnSp>
      <p:sp>
        <p:nvSpPr>
          <p:cNvPr id="97" name="椭圆 191"/>
          <p:cNvSpPr>
            <a:spLocks noChangeArrowheads="1"/>
          </p:cNvSpPr>
          <p:nvPr/>
        </p:nvSpPr>
        <p:spPr bwMode="auto">
          <a:xfrm>
            <a:off x="1811168" y="4430841"/>
            <a:ext cx="54222" cy="39202"/>
          </a:xfrm>
          <a:prstGeom prst="ellipse">
            <a:avLst/>
          </a:prstGeom>
          <a:solidFill>
            <a:schemeClr val="tx1"/>
          </a:solidFill>
          <a:ln w="25400" algn="ctr">
            <a:solidFill>
              <a:srgbClr val="F67B00"/>
            </a:solidFill>
            <a:round/>
            <a:headEnd/>
            <a:tailEnd/>
          </a:ln>
        </p:spPr>
        <p:txBody>
          <a:bodyPr lIns="68562" tIns="34281" rIns="68562" bIns="34281"/>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cxnSp>
        <p:nvCxnSpPr>
          <p:cNvPr id="98" name="形状 130"/>
          <p:cNvCxnSpPr>
            <a:stCxn id="18" idx="3"/>
          </p:cNvCxnSpPr>
          <p:nvPr/>
        </p:nvCxnSpPr>
        <p:spPr bwMode="auto">
          <a:xfrm>
            <a:off x="1679714" y="4102781"/>
            <a:ext cx="158260" cy="228100"/>
          </a:xfrm>
          <a:prstGeom prst="bentConnector2">
            <a:avLst/>
          </a:prstGeom>
          <a:noFill/>
          <a:ln w="25400" algn="ctr">
            <a:solidFill>
              <a:srgbClr val="FFC000"/>
            </a:solidFill>
            <a:round/>
            <a:headEn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9" name="椭圆 191"/>
          <p:cNvSpPr>
            <a:spLocks noChangeArrowheads="1"/>
          </p:cNvSpPr>
          <p:nvPr/>
        </p:nvSpPr>
        <p:spPr bwMode="auto">
          <a:xfrm>
            <a:off x="1804027" y="4080825"/>
            <a:ext cx="54222" cy="39202"/>
          </a:xfrm>
          <a:prstGeom prst="ellipse">
            <a:avLst/>
          </a:prstGeom>
          <a:solidFill>
            <a:schemeClr val="tx1"/>
          </a:solidFill>
          <a:ln w="25400" algn="ctr">
            <a:solidFill>
              <a:srgbClr val="F67B00"/>
            </a:solidFill>
            <a:round/>
            <a:headEnd/>
            <a:tailEnd/>
          </a:ln>
        </p:spPr>
        <p:txBody>
          <a:bodyPr lIns="68562" tIns="34281" rIns="68562" bIns="34281"/>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00" name="矩形 99"/>
          <p:cNvSpPr/>
          <p:nvPr/>
        </p:nvSpPr>
        <p:spPr bwMode="auto">
          <a:xfrm>
            <a:off x="833842" y="4544201"/>
            <a:ext cx="809442" cy="157200"/>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UPS</a:t>
            </a:r>
            <a:endParaRPr lang="zh-CN" altLang="en-US" sz="900" dirty="0">
              <a:solidFill>
                <a:schemeClr val="bg1"/>
              </a:solidFill>
              <a:latin typeface="+mn-lt"/>
              <a:ea typeface="MS PGothic" pitchFamily="34" charset="-128"/>
            </a:endParaRPr>
          </a:p>
        </p:txBody>
      </p:sp>
      <p:cxnSp>
        <p:nvCxnSpPr>
          <p:cNvPr id="101" name="形状 134"/>
          <p:cNvCxnSpPr>
            <a:stCxn id="100" idx="1"/>
            <a:endCxn id="23" idx="2"/>
          </p:cNvCxnSpPr>
          <p:nvPr/>
        </p:nvCxnSpPr>
        <p:spPr bwMode="auto">
          <a:xfrm rot="10800000">
            <a:off x="574516" y="3694995"/>
            <a:ext cx="259327" cy="927807"/>
          </a:xfrm>
          <a:prstGeom prst="bentConnector2">
            <a:avLst/>
          </a:prstGeom>
          <a:noFill/>
          <a:ln w="25400" algn="ctr">
            <a:solidFill>
              <a:srgbClr val="FFC000"/>
            </a:solidFill>
            <a:round/>
            <a:headEn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 name="直接箭头连接符 101"/>
          <p:cNvCxnSpPr>
            <a:endCxn id="13" idx="1"/>
          </p:cNvCxnSpPr>
          <p:nvPr/>
        </p:nvCxnSpPr>
        <p:spPr bwMode="auto">
          <a:xfrm>
            <a:off x="1846188" y="4971263"/>
            <a:ext cx="828750" cy="3413"/>
          </a:xfrm>
          <a:prstGeom prst="straightConnector1">
            <a:avLst/>
          </a:prstGeom>
          <a:noFill/>
          <a:ln w="25400" algn="ctr">
            <a:solidFill>
              <a:srgbClr val="FFC000"/>
            </a:solidFill>
            <a:round/>
            <a:headEnd/>
            <a:tailEnd type="arrow"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椭圆 191"/>
          <p:cNvSpPr>
            <a:spLocks noChangeArrowheads="1"/>
          </p:cNvSpPr>
          <p:nvPr/>
        </p:nvSpPr>
        <p:spPr bwMode="auto">
          <a:xfrm>
            <a:off x="1807596" y="4952289"/>
            <a:ext cx="54222" cy="39202"/>
          </a:xfrm>
          <a:prstGeom prst="ellipse">
            <a:avLst/>
          </a:prstGeom>
          <a:solidFill>
            <a:schemeClr val="tx1"/>
          </a:solidFill>
          <a:ln w="25400" algn="ctr">
            <a:solidFill>
              <a:srgbClr val="F67B00"/>
            </a:solidFill>
            <a:round/>
            <a:headEnd/>
            <a:tailEnd/>
          </a:ln>
        </p:spPr>
        <p:txBody>
          <a:bodyPr lIns="68562" tIns="34281" rIns="68562" bIns="34281"/>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04" name="椭圆 191"/>
          <p:cNvSpPr>
            <a:spLocks noChangeArrowheads="1"/>
          </p:cNvSpPr>
          <p:nvPr/>
        </p:nvSpPr>
        <p:spPr bwMode="auto">
          <a:xfrm>
            <a:off x="1807599" y="4227258"/>
            <a:ext cx="54222" cy="39202"/>
          </a:xfrm>
          <a:prstGeom prst="ellipse">
            <a:avLst/>
          </a:prstGeom>
          <a:solidFill>
            <a:schemeClr val="tx1"/>
          </a:solidFill>
          <a:ln w="25400" algn="ctr">
            <a:solidFill>
              <a:srgbClr val="F67B00"/>
            </a:solidFill>
            <a:round/>
            <a:headEnd/>
            <a:tailEnd/>
          </a:ln>
        </p:spPr>
        <p:txBody>
          <a:bodyPr lIns="68562" tIns="34281" rIns="68562" bIns="34281"/>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05" name="椭圆 191"/>
          <p:cNvSpPr>
            <a:spLocks noChangeArrowheads="1"/>
          </p:cNvSpPr>
          <p:nvPr/>
        </p:nvSpPr>
        <p:spPr bwMode="auto">
          <a:xfrm>
            <a:off x="549218" y="4083206"/>
            <a:ext cx="54222" cy="39202"/>
          </a:xfrm>
          <a:prstGeom prst="ellipse">
            <a:avLst/>
          </a:prstGeom>
          <a:solidFill>
            <a:schemeClr val="tx1"/>
          </a:solidFill>
          <a:ln w="25400" algn="ctr">
            <a:solidFill>
              <a:srgbClr val="F67B00"/>
            </a:solidFill>
            <a:round/>
            <a:headEnd/>
            <a:tailEnd/>
          </a:ln>
        </p:spPr>
        <p:txBody>
          <a:bodyPr lIns="68562" tIns="34281" rIns="68562" bIns="34281"/>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07" name="椭圆 191"/>
          <p:cNvSpPr>
            <a:spLocks noChangeArrowheads="1"/>
          </p:cNvSpPr>
          <p:nvPr/>
        </p:nvSpPr>
        <p:spPr bwMode="auto">
          <a:xfrm>
            <a:off x="3570886" y="2419381"/>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08" name="椭圆 191"/>
          <p:cNvSpPr>
            <a:spLocks noChangeArrowheads="1"/>
          </p:cNvSpPr>
          <p:nvPr/>
        </p:nvSpPr>
        <p:spPr bwMode="auto">
          <a:xfrm>
            <a:off x="3576244" y="2639031"/>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09" name="椭圆 191"/>
          <p:cNvSpPr>
            <a:spLocks noChangeArrowheads="1"/>
          </p:cNvSpPr>
          <p:nvPr/>
        </p:nvSpPr>
        <p:spPr bwMode="auto">
          <a:xfrm>
            <a:off x="3572672" y="3174586"/>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10" name="椭圆 191"/>
          <p:cNvSpPr>
            <a:spLocks noChangeArrowheads="1"/>
          </p:cNvSpPr>
          <p:nvPr/>
        </p:nvSpPr>
        <p:spPr bwMode="auto">
          <a:xfrm>
            <a:off x="4045905" y="3612283"/>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11" name="椭圆 191"/>
          <p:cNvSpPr>
            <a:spLocks noChangeArrowheads="1"/>
          </p:cNvSpPr>
          <p:nvPr/>
        </p:nvSpPr>
        <p:spPr bwMode="auto">
          <a:xfrm>
            <a:off x="4044118" y="3760503"/>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12" name="椭圆 191"/>
          <p:cNvSpPr>
            <a:spLocks noChangeArrowheads="1"/>
          </p:cNvSpPr>
          <p:nvPr/>
        </p:nvSpPr>
        <p:spPr bwMode="auto">
          <a:xfrm>
            <a:off x="5638822" y="2822967"/>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13" name="椭圆 191"/>
          <p:cNvSpPr>
            <a:spLocks noChangeArrowheads="1"/>
          </p:cNvSpPr>
          <p:nvPr/>
        </p:nvSpPr>
        <p:spPr bwMode="auto">
          <a:xfrm>
            <a:off x="5635250" y="2322948"/>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14" name="椭圆 191"/>
          <p:cNvSpPr>
            <a:spLocks noChangeArrowheads="1"/>
          </p:cNvSpPr>
          <p:nvPr/>
        </p:nvSpPr>
        <p:spPr bwMode="auto">
          <a:xfrm>
            <a:off x="5631678" y="2072939"/>
            <a:ext cx="54222" cy="39203"/>
          </a:xfrm>
          <a:prstGeom prst="ellipse">
            <a:avLst/>
          </a:prstGeom>
          <a:solidFill>
            <a:schemeClr val="tx1"/>
          </a:solidFill>
          <a:ln w="25400" algn="ctr">
            <a:solidFill>
              <a:srgbClr val="F67B00"/>
            </a:solidFill>
            <a:round/>
            <a:headEnd/>
            <a:tailEnd/>
          </a:ln>
        </p:spPr>
        <p:txBody>
          <a:bodyPr lIns="87876" tIns="43938" rIns="87876" bIns="43938"/>
          <a:lstStyle/>
          <a:p>
            <a:pPr eaLnBrk="0" hangingPunct="0">
              <a:buFont typeface="Wingdings" pitchFamily="2" charset="2"/>
              <a:buNone/>
            </a:pPr>
            <a:endParaRPr lang="zh-CN" altLang="en-US" sz="1125" dirty="0">
              <a:solidFill>
                <a:schemeClr val="bg1"/>
              </a:solidFill>
              <a:latin typeface="+mn-lt"/>
              <a:ea typeface="MS PGothic" pitchFamily="34" charset="-128"/>
            </a:endParaRPr>
          </a:p>
        </p:txBody>
      </p:sp>
      <p:sp>
        <p:nvSpPr>
          <p:cNvPr id="115" name="矩形 114"/>
          <p:cNvSpPr/>
          <p:nvPr/>
        </p:nvSpPr>
        <p:spPr bwMode="auto">
          <a:xfrm>
            <a:off x="878251" y="3661233"/>
            <a:ext cx="813406" cy="157877"/>
          </a:xfrm>
          <a:prstGeom prst="rect">
            <a:avLst/>
          </a:prstGeom>
          <a:solidFill>
            <a:schemeClr val="tx1">
              <a:lumMod val="65000"/>
              <a:lumOff val="35000"/>
            </a:schemeClr>
          </a:solidFill>
          <a:ln w="25400" cap="flat" cmpd="sng" algn="ctr">
            <a:solidFill>
              <a:schemeClr val="bg1"/>
            </a:solidFill>
            <a:prstDash val="solid"/>
            <a:round/>
            <a:headEnd type="none" w="med" len="med"/>
            <a:tailEnd type="none" w="med" len="med"/>
          </a:ln>
          <a:effectLst/>
        </p:spPr>
        <p:txBody>
          <a:bodyPr lIns="68562" tIns="34281" rIns="68562" bIns="34281" anchor="ctr"/>
          <a:lstStyle/>
          <a:p>
            <a:pPr algn="ctr" eaLnBrk="0" hangingPunct="0">
              <a:buFont typeface="Wingdings" pitchFamily="2" charset="2"/>
              <a:buNone/>
              <a:defRPr/>
            </a:pPr>
            <a:r>
              <a:rPr lang="en-US" altLang="zh-CN" sz="900" dirty="0">
                <a:solidFill>
                  <a:schemeClr val="bg1"/>
                </a:solidFill>
                <a:latin typeface="+mn-lt"/>
                <a:ea typeface="MS PGothic" pitchFamily="34" charset="-128"/>
              </a:rPr>
              <a:t>Battery</a:t>
            </a:r>
            <a:endParaRPr lang="zh-CN" altLang="en-US" sz="900" dirty="0">
              <a:solidFill>
                <a:schemeClr val="bg1"/>
              </a:solidFill>
              <a:latin typeface="+mn-lt"/>
              <a:ea typeface="MS PGothic" pitchFamily="34" charset="-128"/>
            </a:endParaRPr>
          </a:p>
        </p:txBody>
      </p:sp>
      <p:cxnSp>
        <p:nvCxnSpPr>
          <p:cNvPr id="116" name="直接箭头连接符 170"/>
          <p:cNvCxnSpPr>
            <a:cxnSpLocks noChangeShapeType="1"/>
          </p:cNvCxnSpPr>
          <p:nvPr/>
        </p:nvCxnSpPr>
        <p:spPr bwMode="auto">
          <a:xfrm flipV="1">
            <a:off x="1260886" y="3811477"/>
            <a:ext cx="0" cy="215981"/>
          </a:xfrm>
          <a:prstGeom prst="straightConnector1">
            <a:avLst/>
          </a:prstGeom>
          <a:noFill/>
          <a:ln w="25400" algn="ctr">
            <a:solidFill>
              <a:srgbClr val="FFC000"/>
            </a:solidFill>
            <a:round/>
            <a:headEnd/>
            <a:tailEnd type="arrow" w="med" len="med"/>
          </a:ln>
        </p:spPr>
      </p:cxnSp>
      <p:sp>
        <p:nvSpPr>
          <p:cNvPr id="117" name="标题 41"/>
          <p:cNvSpPr txBox="1">
            <a:spLocks/>
          </p:cNvSpPr>
          <p:nvPr/>
        </p:nvSpPr>
        <p:spPr>
          <a:xfrm>
            <a:off x="144687" y="945734"/>
            <a:ext cx="7829320" cy="539953"/>
          </a:xfrm>
          <a:prstGeom prst="rect">
            <a:avLst/>
          </a:prstGeom>
        </p:spPr>
        <p:txBody>
          <a:bodyPr vert="horz" lIns="91450" tIns="45725" rIns="91450" bIns="45725" rtlCol="0" anchor="ctr">
            <a:normAutofit/>
          </a:bodyPr>
          <a:lstStyle>
            <a:lvl1pPr marL="0" marR="0" indent="0" algn="l" defTabSz="609844" rtl="0" eaLnBrk="1" fontAlgn="auto" latinLnBrk="0" hangingPunct="1">
              <a:lnSpc>
                <a:spcPct val="100000"/>
              </a:lnSpc>
              <a:spcBef>
                <a:spcPct val="0"/>
              </a:spcBef>
              <a:spcAft>
                <a:spcPts val="0"/>
              </a:spcAft>
              <a:buClrTx/>
              <a:buSzTx/>
              <a:buFontTx/>
              <a:buNone/>
              <a:tabLst/>
              <a:defRPr sz="3501" b="1" kern="1200">
                <a:solidFill>
                  <a:schemeClr val="bg1"/>
                </a:solidFill>
                <a:latin typeface="+mj-lt"/>
                <a:ea typeface="+mj-ea"/>
                <a:cs typeface="+mj-cs"/>
              </a:defRPr>
            </a:lvl1pPr>
          </a:lstStyle>
          <a:p>
            <a:endParaRPr lang="zh-CN" altLang="en-US" sz="2400" dirty="0"/>
          </a:p>
        </p:txBody>
      </p:sp>
      <p:sp>
        <p:nvSpPr>
          <p:cNvPr id="118" name="标题 1"/>
          <p:cNvSpPr txBox="1">
            <a:spLocks/>
          </p:cNvSpPr>
          <p:nvPr/>
        </p:nvSpPr>
        <p:spPr>
          <a:xfrm>
            <a:off x="360692" y="1123843"/>
            <a:ext cx="8259837" cy="696768"/>
          </a:xfrm>
          <a:prstGeom prst="rect">
            <a:avLst/>
          </a:prstGeom>
        </p:spPr>
        <p:txBody>
          <a:bodyPr vert="horz" lIns="91450" tIns="45725" rIns="91450" bIns="45725" rtlCol="0" anchor="ctr">
            <a:noAutofit/>
          </a:bodyPr>
          <a:lstStyle/>
          <a:p>
            <a:r>
              <a:rPr lang="en-US" altLang="zh-CN" sz="2400" b="1" dirty="0">
                <a:solidFill>
                  <a:schemeClr val="bg1"/>
                </a:solidFill>
                <a:latin typeface="Arial" panose="020B0604020202020204" pitchFamily="34" charset="0"/>
                <a:cs typeface="Arial" panose="020B0604020202020204" pitchFamily="34" charset="0"/>
              </a:rPr>
              <a:t>Power Requirement for New ICT </a:t>
            </a:r>
            <a:r>
              <a:rPr lang="en-US" altLang="zh-CN" sz="2400" b="1" dirty="0">
                <a:solidFill>
                  <a:schemeClr val="bg1"/>
                </a:solidFill>
                <a:latin typeface="Arial" panose="020B0604020202020204" pitchFamily="34" charset="0"/>
                <a:cs typeface="Arial" panose="020B0604020202020204" pitchFamily="34" charset="0"/>
              </a:rPr>
              <a:t>Facility </a:t>
            </a:r>
            <a:r>
              <a:rPr lang="en-US" altLang="zh-CN" sz="2400" b="1" dirty="0">
                <a:solidFill>
                  <a:schemeClr val="bg1"/>
                </a:solidFill>
                <a:latin typeface="Arial" panose="020B0604020202020204" pitchFamily="34" charset="0"/>
                <a:cs typeface="Arial" panose="020B0604020202020204" pitchFamily="34" charset="0"/>
              </a:rPr>
              <a:t>Architecture</a:t>
            </a:r>
            <a:endParaRPr lang="zh-CN" altLang="en-US"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2969611"/>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3179996" y="1809755"/>
            <a:ext cx="3025124" cy="623248"/>
          </a:xfrm>
          <a:prstGeom prst="rect">
            <a:avLst/>
          </a:prstGeom>
          <a:noFill/>
        </p:spPr>
        <p:txBody>
          <a:bodyPr wrap="none" rtlCol="0">
            <a:spAutoFit/>
          </a:bodyPr>
          <a:lstStyle/>
          <a:p>
            <a:pPr algn="ctr"/>
            <a:r>
              <a:rPr lang="en-US" sz="2100" b="1" dirty="0">
                <a:solidFill>
                  <a:srgbClr val="FFFF00"/>
                </a:solidFill>
                <a:latin typeface="FrutigerNext LT Medium" pitchFamily="34" charset="0"/>
                <a:ea typeface="Kozuka Gothic Pr6N EL" pitchFamily="34" charset="-128"/>
                <a:cs typeface="Arial" panose="020B0604020202020204" pitchFamily="34" charset="0"/>
              </a:rPr>
              <a:t>Working e</a:t>
            </a:r>
            <a:r>
              <a:rPr lang="en-US" altLang="zh-CN" sz="2100" b="1" dirty="0">
                <a:solidFill>
                  <a:srgbClr val="FFFF00"/>
                </a:solidFill>
                <a:latin typeface="FrutigerNext LT Medium" pitchFamily="34" charset="0"/>
                <a:ea typeface="Kozuka Gothic Pr6N EL" pitchFamily="34" charset="-128"/>
                <a:cs typeface="Arial" panose="020B0604020202020204" pitchFamily="34" charset="0"/>
              </a:rPr>
              <a:t>nvironment </a:t>
            </a:r>
          </a:p>
          <a:p>
            <a:pPr algn="ctr"/>
            <a:r>
              <a:rPr lang="en-US" altLang="zh-CN" sz="1350" dirty="0">
                <a:solidFill>
                  <a:prstClr val="white"/>
                </a:solidFill>
                <a:latin typeface="FrutigerNext LT Medium" pitchFamily="34" charset="0"/>
                <a:ea typeface="Kozuka Gothic Pr6N EL" pitchFamily="34" charset="-128"/>
                <a:cs typeface="Arial" panose="020B0604020202020204" pitchFamily="34" charset="0"/>
              </a:rPr>
              <a:t>self-adaptable</a:t>
            </a:r>
            <a:r>
              <a:rPr lang="en-US" sz="1350" dirty="0">
                <a:solidFill>
                  <a:prstClr val="white"/>
                </a:solidFill>
                <a:latin typeface="FrutigerNext LT Medium" pitchFamily="34" charset="0"/>
                <a:ea typeface="Kozuka Gothic Pr6N EL" pitchFamily="34" charset="-128"/>
                <a:cs typeface="Arial" panose="020B0604020202020204" pitchFamily="34" charset="0"/>
              </a:rPr>
              <a:t> </a:t>
            </a:r>
          </a:p>
        </p:txBody>
      </p:sp>
      <p:sp>
        <p:nvSpPr>
          <p:cNvPr id="5" name="文本框 4"/>
          <p:cNvSpPr txBox="1"/>
          <p:nvPr/>
        </p:nvSpPr>
        <p:spPr>
          <a:xfrm>
            <a:off x="6313513" y="1955567"/>
            <a:ext cx="2541968" cy="623248"/>
          </a:xfrm>
          <a:prstGeom prst="rect">
            <a:avLst/>
          </a:prstGeom>
          <a:noFill/>
        </p:spPr>
        <p:txBody>
          <a:bodyPr wrap="square" rtlCol="0">
            <a:spAutoFit/>
          </a:bodyPr>
          <a:lstStyle/>
          <a:p>
            <a:pPr algn="ctr"/>
            <a:r>
              <a:rPr lang="en-US" sz="2100" b="1" dirty="0">
                <a:solidFill>
                  <a:srgbClr val="FFFF00"/>
                </a:solidFill>
                <a:latin typeface="FrutigerNext LT Medium" pitchFamily="34" charset="0"/>
                <a:ea typeface="Kozuka Gothic Pr6N EL" pitchFamily="34" charset="-128"/>
                <a:cs typeface="Arial" panose="020B0604020202020204" pitchFamily="34" charset="0"/>
              </a:rPr>
              <a:t>Energy sharing </a:t>
            </a:r>
          </a:p>
          <a:p>
            <a:pPr algn="ctr"/>
            <a:r>
              <a:rPr lang="en-US" sz="1350" dirty="0">
                <a:solidFill>
                  <a:prstClr val="white"/>
                </a:solidFill>
                <a:latin typeface="FrutigerNext LT Medium" pitchFamily="34" charset="0"/>
                <a:ea typeface="Kozuka Gothic Pr6N EL" pitchFamily="34" charset="-128"/>
                <a:cs typeface="Arial" panose="020B0604020202020204" pitchFamily="34" charset="0"/>
              </a:rPr>
              <a:t>easy to support</a:t>
            </a:r>
            <a:endParaRPr lang="en-US" altLang="zh-CN" sz="1350" dirty="0">
              <a:solidFill>
                <a:prstClr val="white"/>
              </a:solidFill>
              <a:latin typeface="FrutigerNext LT Medium" pitchFamily="34" charset="0"/>
              <a:ea typeface="Kozuka Gothic Pr6N EL" pitchFamily="34" charset="-128"/>
              <a:cs typeface="Arial" panose="020B0604020202020204" pitchFamily="34" charset="0"/>
            </a:endParaRPr>
          </a:p>
        </p:txBody>
      </p:sp>
      <p:sp>
        <p:nvSpPr>
          <p:cNvPr id="21" name="文本框 20"/>
          <p:cNvSpPr txBox="1"/>
          <p:nvPr/>
        </p:nvSpPr>
        <p:spPr>
          <a:xfrm>
            <a:off x="683260" y="1898808"/>
            <a:ext cx="2132315" cy="623248"/>
          </a:xfrm>
          <a:prstGeom prst="rect">
            <a:avLst/>
          </a:prstGeom>
          <a:noFill/>
        </p:spPr>
        <p:txBody>
          <a:bodyPr wrap="none" rtlCol="0">
            <a:spAutoFit/>
          </a:bodyPr>
          <a:lstStyle/>
          <a:p>
            <a:pPr algn="ctr"/>
            <a:r>
              <a:rPr lang="en-US" sz="2100" b="1" dirty="0">
                <a:solidFill>
                  <a:srgbClr val="FFFF00"/>
                </a:solidFill>
                <a:latin typeface="FrutigerNext LT Medium" pitchFamily="34" charset="0"/>
                <a:ea typeface="Kozuka Gothic Pr6N EL" pitchFamily="34" charset="-128"/>
                <a:cs typeface="Arial" panose="020B0604020202020204" pitchFamily="34" charset="0"/>
              </a:rPr>
              <a:t>Power function</a:t>
            </a:r>
          </a:p>
          <a:p>
            <a:pPr algn="ctr"/>
            <a:r>
              <a:rPr lang="en-US" sz="1350" dirty="0">
                <a:solidFill>
                  <a:prstClr val="white"/>
                </a:solidFill>
                <a:latin typeface="FrutigerNext LT Medium" pitchFamily="34" charset="0"/>
                <a:ea typeface="Kozuka Gothic Pr6N EL" pitchFamily="34" charset="-128"/>
                <a:cs typeface="Arial" panose="020B0604020202020204" pitchFamily="34" charset="0"/>
              </a:rPr>
              <a:t>can be defined</a:t>
            </a:r>
          </a:p>
        </p:txBody>
      </p:sp>
      <p:grpSp>
        <p:nvGrpSpPr>
          <p:cNvPr id="3" name="组合 2"/>
          <p:cNvGrpSpPr/>
          <p:nvPr/>
        </p:nvGrpSpPr>
        <p:grpSpPr>
          <a:xfrm>
            <a:off x="954706" y="2535846"/>
            <a:ext cx="7054202" cy="1601556"/>
            <a:chOff x="1057043" y="1704775"/>
            <a:chExt cx="9406419" cy="2135593"/>
          </a:xfrm>
        </p:grpSpPr>
        <p:cxnSp>
          <p:nvCxnSpPr>
            <p:cNvPr id="9" name="直接箭头连接符 8"/>
            <p:cNvCxnSpPr/>
            <p:nvPr/>
          </p:nvCxnSpPr>
          <p:spPr>
            <a:xfrm>
              <a:off x="3888645" y="2776428"/>
              <a:ext cx="720000" cy="0"/>
            </a:xfrm>
            <a:prstGeom prst="straightConnector1">
              <a:avLst/>
            </a:prstGeom>
            <a:ln w="50800">
              <a:solidFill>
                <a:srgbClr val="33CCF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1057043" y="2320363"/>
              <a:ext cx="2026744" cy="861849"/>
            </a:xfrm>
            <a:prstGeom prst="rect">
              <a:avLst/>
            </a:prstGeom>
            <a:noFill/>
          </p:spPr>
          <p:txBody>
            <a:bodyPr wrap="square" rtlCol="0">
              <a:spAutoFit/>
            </a:bodyPr>
            <a:lstStyle/>
            <a:p>
              <a:pPr algn="ctr"/>
              <a:r>
                <a:rPr lang="en-US" altLang="zh-CN" dirty="0" smtClean="0">
                  <a:solidFill>
                    <a:schemeClr val="bg1"/>
                  </a:solidFill>
                  <a:latin typeface="FrutigerNext LT Medium" panose="020B0603040504020204" pitchFamily="34" charset="0"/>
                </a:rPr>
                <a:t>Energy</a:t>
              </a:r>
            </a:p>
            <a:p>
              <a:pPr algn="ctr"/>
              <a:r>
                <a:rPr lang="en-US" altLang="zh-CN" dirty="0" smtClean="0">
                  <a:solidFill>
                    <a:schemeClr val="bg1"/>
                  </a:solidFill>
                  <a:latin typeface="FrutigerNext LT Medium" panose="020B0603040504020204" pitchFamily="34" charset="0"/>
                </a:rPr>
                <a:t>MIMO</a:t>
              </a:r>
              <a:endParaRPr lang="zh-CN" altLang="en-US" dirty="0" smtClean="0">
                <a:solidFill>
                  <a:schemeClr val="bg1"/>
                </a:solidFill>
                <a:latin typeface="FrutigerNext LT Medium" panose="020B0603040504020204" pitchFamily="34" charset="0"/>
              </a:endParaRPr>
            </a:p>
          </p:txBody>
        </p:sp>
        <p:sp>
          <p:nvSpPr>
            <p:cNvPr id="14" name="文本框 13"/>
            <p:cNvSpPr txBox="1"/>
            <p:nvPr/>
          </p:nvSpPr>
          <p:spPr>
            <a:xfrm>
              <a:off x="8465786" y="2310905"/>
              <a:ext cx="1997676" cy="861849"/>
            </a:xfrm>
            <a:prstGeom prst="rect">
              <a:avLst/>
            </a:prstGeom>
            <a:noFill/>
          </p:spPr>
          <p:txBody>
            <a:bodyPr wrap="square" rtlCol="0">
              <a:spAutoFit/>
            </a:bodyPr>
            <a:lstStyle/>
            <a:p>
              <a:pPr algn="ctr"/>
              <a:r>
                <a:rPr lang="en-US" altLang="zh-CN" dirty="0" smtClean="0">
                  <a:solidFill>
                    <a:schemeClr val="bg1"/>
                  </a:solidFill>
                  <a:latin typeface="FrutigerNext LT Medium" panose="020B0603040504020204" pitchFamily="34" charset="0"/>
                </a:rPr>
                <a:t>Multiple</a:t>
              </a:r>
            </a:p>
            <a:p>
              <a:pPr algn="ctr"/>
              <a:r>
                <a:rPr lang="en-US" altLang="zh-CN" dirty="0" smtClean="0">
                  <a:solidFill>
                    <a:schemeClr val="bg1"/>
                  </a:solidFill>
                  <a:latin typeface="FrutigerNext LT Medium" panose="020B0603040504020204" pitchFamily="34" charset="0"/>
                </a:rPr>
                <a:t>Business</a:t>
              </a:r>
              <a:endParaRPr lang="zh-CN" altLang="en-US" dirty="0" smtClean="0">
                <a:solidFill>
                  <a:schemeClr val="bg1"/>
                </a:solidFill>
                <a:latin typeface="FrutigerNext LT Medium" panose="020B0603040504020204" pitchFamily="34" charset="0"/>
              </a:endParaRPr>
            </a:p>
          </p:txBody>
        </p:sp>
        <p:sp>
          <p:nvSpPr>
            <p:cNvPr id="16" name="圆角矩形 15"/>
            <p:cNvSpPr/>
            <p:nvPr/>
          </p:nvSpPr>
          <p:spPr>
            <a:xfrm>
              <a:off x="2941283" y="1704775"/>
              <a:ext cx="886629" cy="326763"/>
            </a:xfrm>
            <a:prstGeom prst="roundRect">
              <a:avLst/>
            </a:prstGeom>
            <a:noFill/>
            <a:ln w="19050">
              <a:solidFill>
                <a:srgbClr val="FFC00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Solar</a:t>
              </a:r>
              <a:endParaRPr lang="en-US" sz="1200" dirty="0">
                <a:solidFill>
                  <a:srgbClr val="33CCFF"/>
                </a:solidFill>
                <a:latin typeface="FrutigerNext LT Medium" pitchFamily="34" charset="0"/>
                <a:cs typeface="Arial" panose="020B0604020202020204" pitchFamily="34" charset="0"/>
              </a:endParaRPr>
            </a:p>
          </p:txBody>
        </p:sp>
        <p:sp>
          <p:nvSpPr>
            <p:cNvPr id="17" name="圆角矩形 16"/>
            <p:cNvSpPr/>
            <p:nvPr/>
          </p:nvSpPr>
          <p:spPr>
            <a:xfrm>
              <a:off x="2941283" y="2156982"/>
              <a:ext cx="886629" cy="326763"/>
            </a:xfrm>
            <a:prstGeom prst="roundRect">
              <a:avLst/>
            </a:prstGeom>
            <a:noFill/>
            <a:ln w="19050">
              <a:solidFill>
                <a:srgbClr val="FFC00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Wind</a:t>
              </a:r>
              <a:endParaRPr lang="en-US" sz="1200" dirty="0">
                <a:solidFill>
                  <a:srgbClr val="33CCFF"/>
                </a:solidFill>
                <a:latin typeface="FrutigerNext LT Medium" pitchFamily="34" charset="0"/>
                <a:cs typeface="Arial" panose="020B0604020202020204" pitchFamily="34" charset="0"/>
              </a:endParaRPr>
            </a:p>
          </p:txBody>
        </p:sp>
        <p:sp>
          <p:nvSpPr>
            <p:cNvPr id="18" name="圆角矩形 17"/>
            <p:cNvSpPr/>
            <p:nvPr/>
          </p:nvSpPr>
          <p:spPr>
            <a:xfrm>
              <a:off x="2941283" y="2609189"/>
              <a:ext cx="886629" cy="326763"/>
            </a:xfrm>
            <a:prstGeom prst="roundRect">
              <a:avLst/>
            </a:prstGeom>
            <a:noFill/>
            <a:ln w="19050">
              <a:solidFill>
                <a:srgbClr val="FFC00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D.G.</a:t>
              </a:r>
              <a:endParaRPr lang="en-US" sz="1200" dirty="0">
                <a:solidFill>
                  <a:srgbClr val="33CCFF"/>
                </a:solidFill>
                <a:latin typeface="FrutigerNext LT Medium" pitchFamily="34" charset="0"/>
                <a:cs typeface="Arial" panose="020B0604020202020204" pitchFamily="34" charset="0"/>
              </a:endParaRPr>
            </a:p>
          </p:txBody>
        </p:sp>
        <p:sp>
          <p:nvSpPr>
            <p:cNvPr id="19" name="圆角矩形 18"/>
            <p:cNvSpPr/>
            <p:nvPr/>
          </p:nvSpPr>
          <p:spPr>
            <a:xfrm>
              <a:off x="2941283" y="3061396"/>
              <a:ext cx="886629" cy="326763"/>
            </a:xfrm>
            <a:prstGeom prst="roundRect">
              <a:avLst/>
            </a:prstGeom>
            <a:noFill/>
            <a:ln w="19050">
              <a:solidFill>
                <a:srgbClr val="FFC00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Grid</a:t>
              </a:r>
              <a:endParaRPr lang="en-US" sz="1200" dirty="0">
                <a:solidFill>
                  <a:srgbClr val="33CCFF"/>
                </a:solidFill>
                <a:latin typeface="FrutigerNext LT Medium" pitchFamily="34" charset="0"/>
                <a:cs typeface="Arial" panose="020B0604020202020204" pitchFamily="34" charset="0"/>
              </a:endParaRPr>
            </a:p>
          </p:txBody>
        </p:sp>
        <p:sp>
          <p:nvSpPr>
            <p:cNvPr id="20" name="圆角矩形 19"/>
            <p:cNvSpPr/>
            <p:nvPr/>
          </p:nvSpPr>
          <p:spPr>
            <a:xfrm>
              <a:off x="2941283" y="3513605"/>
              <a:ext cx="886629" cy="326763"/>
            </a:xfrm>
            <a:prstGeom prst="roundRect">
              <a:avLst/>
            </a:prstGeom>
            <a:noFill/>
            <a:ln w="19050">
              <a:solidFill>
                <a:srgbClr val="FFC00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Bat.</a:t>
              </a:r>
              <a:endParaRPr lang="en-US" sz="1200" dirty="0">
                <a:solidFill>
                  <a:srgbClr val="33CCFF"/>
                </a:solidFill>
                <a:latin typeface="FrutigerNext LT Medium" pitchFamily="34" charset="0"/>
                <a:cs typeface="Arial" panose="020B0604020202020204" pitchFamily="34" charset="0"/>
              </a:endParaRPr>
            </a:p>
          </p:txBody>
        </p:sp>
        <p:sp>
          <p:nvSpPr>
            <p:cNvPr id="23" name="圆角矩形 22"/>
            <p:cNvSpPr/>
            <p:nvPr/>
          </p:nvSpPr>
          <p:spPr>
            <a:xfrm>
              <a:off x="7537309" y="3513605"/>
              <a:ext cx="886629" cy="326763"/>
            </a:xfrm>
            <a:prstGeom prst="roundRect">
              <a:avLst/>
            </a:prstGeom>
            <a:noFill/>
            <a:ln w="19050">
              <a:solidFill>
                <a:srgbClr val="92D05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24Vdc</a:t>
              </a:r>
              <a:endParaRPr lang="en-US" sz="1200" dirty="0">
                <a:solidFill>
                  <a:srgbClr val="33CCFF"/>
                </a:solidFill>
                <a:latin typeface="FrutigerNext LT Medium" pitchFamily="34" charset="0"/>
                <a:cs typeface="Arial" panose="020B0604020202020204" pitchFamily="34" charset="0"/>
              </a:endParaRPr>
            </a:p>
          </p:txBody>
        </p:sp>
        <p:sp>
          <p:nvSpPr>
            <p:cNvPr id="24" name="圆角矩形 23"/>
            <p:cNvSpPr/>
            <p:nvPr/>
          </p:nvSpPr>
          <p:spPr>
            <a:xfrm>
              <a:off x="7537309" y="3061396"/>
              <a:ext cx="886629" cy="326763"/>
            </a:xfrm>
            <a:prstGeom prst="roundRect">
              <a:avLst/>
            </a:prstGeom>
            <a:noFill/>
            <a:ln w="19050">
              <a:solidFill>
                <a:srgbClr val="92D05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48Vdc</a:t>
              </a:r>
              <a:endParaRPr lang="en-US" sz="1200" dirty="0">
                <a:solidFill>
                  <a:srgbClr val="33CCFF"/>
                </a:solidFill>
                <a:latin typeface="FrutigerNext LT Medium" pitchFamily="34" charset="0"/>
                <a:cs typeface="Arial" panose="020B0604020202020204" pitchFamily="34" charset="0"/>
              </a:endParaRPr>
            </a:p>
          </p:txBody>
        </p:sp>
        <p:sp>
          <p:nvSpPr>
            <p:cNvPr id="25" name="圆角矩形 24"/>
            <p:cNvSpPr/>
            <p:nvPr/>
          </p:nvSpPr>
          <p:spPr>
            <a:xfrm>
              <a:off x="7537309" y="2609189"/>
              <a:ext cx="886629" cy="326763"/>
            </a:xfrm>
            <a:prstGeom prst="roundRect">
              <a:avLst/>
            </a:prstGeom>
            <a:noFill/>
            <a:ln w="19050">
              <a:solidFill>
                <a:srgbClr val="92D05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220Vac</a:t>
              </a:r>
              <a:endParaRPr lang="en-US" sz="1200" dirty="0">
                <a:solidFill>
                  <a:srgbClr val="33CCFF"/>
                </a:solidFill>
                <a:latin typeface="FrutigerNext LT Medium" pitchFamily="34" charset="0"/>
                <a:cs typeface="Arial" panose="020B0604020202020204" pitchFamily="34" charset="0"/>
              </a:endParaRPr>
            </a:p>
          </p:txBody>
        </p:sp>
        <p:sp>
          <p:nvSpPr>
            <p:cNvPr id="26" name="圆角矩形 25"/>
            <p:cNvSpPr/>
            <p:nvPr/>
          </p:nvSpPr>
          <p:spPr>
            <a:xfrm>
              <a:off x="7537309" y="2156982"/>
              <a:ext cx="886629" cy="326763"/>
            </a:xfrm>
            <a:prstGeom prst="roundRect">
              <a:avLst/>
            </a:prstGeom>
            <a:noFill/>
            <a:ln w="19050">
              <a:solidFill>
                <a:srgbClr val="92D05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400Vdc</a:t>
              </a:r>
              <a:endParaRPr lang="en-US" sz="1200" dirty="0">
                <a:solidFill>
                  <a:srgbClr val="33CCFF"/>
                </a:solidFill>
                <a:latin typeface="FrutigerNext LT Medium" pitchFamily="34" charset="0"/>
                <a:cs typeface="Arial" panose="020B0604020202020204" pitchFamily="34" charset="0"/>
              </a:endParaRPr>
            </a:p>
          </p:txBody>
        </p:sp>
        <p:sp>
          <p:nvSpPr>
            <p:cNvPr id="27" name="圆角矩形 26"/>
            <p:cNvSpPr/>
            <p:nvPr/>
          </p:nvSpPr>
          <p:spPr>
            <a:xfrm>
              <a:off x="7537309" y="1704775"/>
              <a:ext cx="886629" cy="326763"/>
            </a:xfrm>
            <a:prstGeom prst="roundRect">
              <a:avLst/>
            </a:prstGeom>
            <a:noFill/>
            <a:ln w="19050">
              <a:solidFill>
                <a:srgbClr val="92D050"/>
              </a:solidFill>
            </a:ln>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a:r>
                <a:rPr lang="en-US" sz="1200" dirty="0">
                  <a:solidFill>
                    <a:srgbClr val="33CCFF"/>
                  </a:solidFill>
                  <a:latin typeface="FrutigerNext LT Medium" pitchFamily="34" charset="0"/>
                  <a:cs typeface="Arial" panose="020B0604020202020204" pitchFamily="34" charset="0"/>
                </a:rPr>
                <a:t>&lt;5Vdc</a:t>
              </a:r>
              <a:endParaRPr lang="en-US" sz="1200" dirty="0">
                <a:solidFill>
                  <a:srgbClr val="33CCFF"/>
                </a:solidFill>
                <a:latin typeface="FrutigerNext LT Medium" pitchFamily="34" charset="0"/>
                <a:cs typeface="Arial" panose="020B0604020202020204" pitchFamily="34" charset="0"/>
              </a:endParaRPr>
            </a:p>
          </p:txBody>
        </p:sp>
        <p:pic>
          <p:nvPicPr>
            <p:cNvPr id="28" name="图片 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25050" y="1863575"/>
              <a:ext cx="2315121" cy="1721845"/>
            </a:xfrm>
            <a:prstGeom prst="rect">
              <a:avLst/>
            </a:prstGeom>
          </p:spPr>
        </p:pic>
        <p:cxnSp>
          <p:nvCxnSpPr>
            <p:cNvPr id="30" name="直接箭头连接符 29"/>
            <p:cNvCxnSpPr/>
            <p:nvPr/>
          </p:nvCxnSpPr>
          <p:spPr>
            <a:xfrm>
              <a:off x="6775462" y="2776428"/>
              <a:ext cx="720000" cy="0"/>
            </a:xfrm>
            <a:prstGeom prst="straightConnector1">
              <a:avLst/>
            </a:prstGeom>
            <a:ln w="50800">
              <a:solidFill>
                <a:srgbClr val="33CCFF"/>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7" name="矩形 6"/>
          <p:cNvSpPr/>
          <p:nvPr/>
        </p:nvSpPr>
        <p:spPr>
          <a:xfrm>
            <a:off x="1215239" y="3816675"/>
            <a:ext cx="6416682" cy="850826"/>
          </a:xfrm>
          <a:custGeom>
            <a:avLst/>
            <a:gdLst>
              <a:gd name="connsiteX0" fmla="*/ 0 w 425329"/>
              <a:gd name="connsiteY0" fmla="*/ 0 h 1143498"/>
              <a:gd name="connsiteX1" fmla="*/ 425329 w 425329"/>
              <a:gd name="connsiteY1" fmla="*/ 0 h 1143498"/>
              <a:gd name="connsiteX2" fmla="*/ 425329 w 425329"/>
              <a:gd name="connsiteY2" fmla="*/ 1143498 h 1143498"/>
              <a:gd name="connsiteX3" fmla="*/ 0 w 425329"/>
              <a:gd name="connsiteY3" fmla="*/ 1143498 h 1143498"/>
              <a:gd name="connsiteX4" fmla="*/ 0 w 425329"/>
              <a:gd name="connsiteY4" fmla="*/ 0 h 1143498"/>
              <a:gd name="connsiteX0" fmla="*/ 4069977 w 4495306"/>
              <a:gd name="connsiteY0" fmla="*/ 0 h 1143498"/>
              <a:gd name="connsiteX1" fmla="*/ 4495306 w 4495306"/>
              <a:gd name="connsiteY1" fmla="*/ 0 h 1143498"/>
              <a:gd name="connsiteX2" fmla="*/ 4495306 w 4495306"/>
              <a:gd name="connsiteY2" fmla="*/ 1143498 h 1143498"/>
              <a:gd name="connsiteX3" fmla="*/ 0 w 4495306"/>
              <a:gd name="connsiteY3" fmla="*/ 1134533 h 1143498"/>
              <a:gd name="connsiteX4" fmla="*/ 4069977 w 4495306"/>
              <a:gd name="connsiteY4" fmla="*/ 0 h 1143498"/>
              <a:gd name="connsiteX0" fmla="*/ 4069977 w 8556318"/>
              <a:gd name="connsiteY0" fmla="*/ 0 h 1134533"/>
              <a:gd name="connsiteX1" fmla="*/ 4495306 w 8556318"/>
              <a:gd name="connsiteY1" fmla="*/ 0 h 1134533"/>
              <a:gd name="connsiteX2" fmla="*/ 8556318 w 8556318"/>
              <a:gd name="connsiteY2" fmla="*/ 1134533 h 1134533"/>
              <a:gd name="connsiteX3" fmla="*/ 0 w 8556318"/>
              <a:gd name="connsiteY3" fmla="*/ 1134533 h 1134533"/>
              <a:gd name="connsiteX4" fmla="*/ 4069977 w 8556318"/>
              <a:gd name="connsiteY4" fmla="*/ 0 h 1134533"/>
              <a:gd name="connsiteX0" fmla="*/ 4069977 w 8556318"/>
              <a:gd name="connsiteY0" fmla="*/ 0 h 1134533"/>
              <a:gd name="connsiteX1" fmla="*/ 4495306 w 8556318"/>
              <a:gd name="connsiteY1" fmla="*/ 0 h 1134533"/>
              <a:gd name="connsiteX2" fmla="*/ 8556318 w 8556318"/>
              <a:gd name="connsiteY2" fmla="*/ 1134533 h 1134533"/>
              <a:gd name="connsiteX3" fmla="*/ 0 w 8556318"/>
              <a:gd name="connsiteY3" fmla="*/ 1134533 h 1134533"/>
              <a:gd name="connsiteX4" fmla="*/ 4069977 w 8556318"/>
              <a:gd name="connsiteY4" fmla="*/ 0 h 1134533"/>
              <a:gd name="connsiteX0" fmla="*/ 4069977 w 8556318"/>
              <a:gd name="connsiteY0" fmla="*/ 0 h 1134533"/>
              <a:gd name="connsiteX1" fmla="*/ 4495306 w 8556318"/>
              <a:gd name="connsiteY1" fmla="*/ 0 h 1134533"/>
              <a:gd name="connsiteX2" fmla="*/ 8556318 w 8556318"/>
              <a:gd name="connsiteY2" fmla="*/ 1134533 h 1134533"/>
              <a:gd name="connsiteX3" fmla="*/ 0 w 8556318"/>
              <a:gd name="connsiteY3" fmla="*/ 1134533 h 1134533"/>
              <a:gd name="connsiteX4" fmla="*/ 4069977 w 8556318"/>
              <a:gd name="connsiteY4" fmla="*/ 0 h 1134533"/>
              <a:gd name="connsiteX0" fmla="*/ 4069977 w 8556318"/>
              <a:gd name="connsiteY0" fmla="*/ 0 h 1134533"/>
              <a:gd name="connsiteX1" fmla="*/ 4495306 w 8556318"/>
              <a:gd name="connsiteY1" fmla="*/ 0 h 1134533"/>
              <a:gd name="connsiteX2" fmla="*/ 8556318 w 8556318"/>
              <a:gd name="connsiteY2" fmla="*/ 1134533 h 1134533"/>
              <a:gd name="connsiteX3" fmla="*/ 0 w 8556318"/>
              <a:gd name="connsiteY3" fmla="*/ 1134533 h 1134533"/>
              <a:gd name="connsiteX4" fmla="*/ 4069977 w 8556318"/>
              <a:gd name="connsiteY4" fmla="*/ 0 h 1134533"/>
              <a:gd name="connsiteX0" fmla="*/ 4069977 w 8556318"/>
              <a:gd name="connsiteY0" fmla="*/ 0 h 1134533"/>
              <a:gd name="connsiteX1" fmla="*/ 4495306 w 8556318"/>
              <a:gd name="connsiteY1" fmla="*/ 0 h 1134533"/>
              <a:gd name="connsiteX2" fmla="*/ 8556318 w 8556318"/>
              <a:gd name="connsiteY2" fmla="*/ 1134533 h 1134533"/>
              <a:gd name="connsiteX3" fmla="*/ 0 w 8556318"/>
              <a:gd name="connsiteY3" fmla="*/ 1134533 h 1134533"/>
              <a:gd name="connsiteX4" fmla="*/ 4069977 w 8556318"/>
              <a:gd name="connsiteY4" fmla="*/ 0 h 1134533"/>
              <a:gd name="connsiteX0" fmla="*/ 4069977 w 8556318"/>
              <a:gd name="connsiteY0" fmla="*/ 0 h 1134533"/>
              <a:gd name="connsiteX1" fmla="*/ 4495306 w 8556318"/>
              <a:gd name="connsiteY1" fmla="*/ 0 h 1134533"/>
              <a:gd name="connsiteX2" fmla="*/ 8556318 w 8556318"/>
              <a:gd name="connsiteY2" fmla="*/ 1134533 h 1134533"/>
              <a:gd name="connsiteX3" fmla="*/ 0 w 8556318"/>
              <a:gd name="connsiteY3" fmla="*/ 1134533 h 1134533"/>
              <a:gd name="connsiteX4" fmla="*/ 4069977 w 8556318"/>
              <a:gd name="connsiteY4" fmla="*/ 0 h 1134533"/>
              <a:gd name="connsiteX0" fmla="*/ 4069977 w 8556318"/>
              <a:gd name="connsiteY0" fmla="*/ 0 h 1134533"/>
              <a:gd name="connsiteX1" fmla="*/ 4495306 w 8556318"/>
              <a:gd name="connsiteY1" fmla="*/ 0 h 1134533"/>
              <a:gd name="connsiteX2" fmla="*/ 8556318 w 8556318"/>
              <a:gd name="connsiteY2" fmla="*/ 1134533 h 1134533"/>
              <a:gd name="connsiteX3" fmla="*/ 0 w 8556318"/>
              <a:gd name="connsiteY3" fmla="*/ 1134533 h 1134533"/>
              <a:gd name="connsiteX4" fmla="*/ 4069977 w 8556318"/>
              <a:gd name="connsiteY4" fmla="*/ 0 h 1134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6318" h="1134533">
                <a:moveTo>
                  <a:pt x="4069977" y="0"/>
                </a:moveTo>
                <a:lnTo>
                  <a:pt x="4495306" y="0"/>
                </a:lnTo>
                <a:cubicBezTo>
                  <a:pt x="5373849" y="951920"/>
                  <a:pt x="7121965" y="1052190"/>
                  <a:pt x="8556318" y="1134533"/>
                </a:cubicBezTo>
                <a:lnTo>
                  <a:pt x="0" y="1134533"/>
                </a:lnTo>
                <a:cubicBezTo>
                  <a:pt x="1356659" y="1079085"/>
                  <a:pt x="3206377" y="960883"/>
                  <a:pt x="4069977" y="0"/>
                </a:cubicBezTo>
                <a:close/>
              </a:path>
            </a:pathLst>
          </a:custGeom>
          <a:gradFill flip="none" rotWithShape="1">
            <a:gsLst>
              <a:gs pos="0">
                <a:schemeClr val="accent5">
                  <a:lumMod val="75000"/>
                  <a:tint val="66000"/>
                  <a:satMod val="160000"/>
                  <a:alpha val="18000"/>
                </a:schemeClr>
              </a:gs>
              <a:gs pos="100000">
                <a:schemeClr val="accent5">
                  <a:lumMod val="75000"/>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034299" y="4503842"/>
            <a:ext cx="830677" cy="253916"/>
          </a:xfrm>
          <a:prstGeom prst="rect">
            <a:avLst/>
          </a:prstGeom>
          <a:noFill/>
        </p:spPr>
        <p:txBody>
          <a:bodyPr wrap="none" rtlCol="0">
            <a:spAutoFit/>
          </a:bodyPr>
          <a:lstStyle/>
          <a:p>
            <a:pPr algn="ctr"/>
            <a:r>
              <a:rPr lang="en-US" altLang="zh-CN" sz="1050" dirty="0">
                <a:solidFill>
                  <a:schemeClr val="bg1"/>
                </a:solidFill>
                <a:latin typeface="+mn-lt"/>
                <a:ea typeface="微软雅黑" panose="020B0503020204020204" pitchFamily="34" charset="-122"/>
              </a:rPr>
              <a:t>electronics</a:t>
            </a:r>
            <a:endParaRPr lang="en-US" sz="1050" dirty="0">
              <a:solidFill>
                <a:schemeClr val="bg1"/>
              </a:solidFill>
              <a:latin typeface="+mn-lt"/>
              <a:ea typeface="微软雅黑" panose="020B0503020204020204" pitchFamily="34" charset="-122"/>
            </a:endParaRPr>
          </a:p>
        </p:txBody>
      </p:sp>
      <p:sp>
        <p:nvSpPr>
          <p:cNvPr id="36" name="Freeform 63"/>
          <p:cNvSpPr>
            <a:spLocks/>
          </p:cNvSpPr>
          <p:nvPr/>
        </p:nvSpPr>
        <p:spPr bwMode="auto">
          <a:xfrm>
            <a:off x="3847736" y="4495730"/>
            <a:ext cx="171209" cy="247035"/>
          </a:xfrm>
          <a:custGeom>
            <a:avLst/>
            <a:gdLst/>
            <a:ahLst/>
            <a:cxnLst>
              <a:cxn ang="0">
                <a:pos x="4913" y="0"/>
              </a:cxn>
              <a:cxn ang="0">
                <a:pos x="11380" y="9251"/>
              </a:cxn>
              <a:cxn ang="0">
                <a:pos x="8661" y="9251"/>
              </a:cxn>
              <a:cxn ang="0">
                <a:pos x="8667" y="9270"/>
              </a:cxn>
              <a:cxn ang="0">
                <a:pos x="4712" y="9270"/>
              </a:cxn>
              <a:cxn ang="0">
                <a:pos x="6491" y="16420"/>
              </a:cxn>
              <a:cxn ang="0">
                <a:pos x="0" y="7132"/>
              </a:cxn>
              <a:cxn ang="0">
                <a:pos x="6689" y="7132"/>
              </a:cxn>
              <a:cxn ang="0">
                <a:pos x="4913" y="0"/>
              </a:cxn>
            </a:cxnLst>
            <a:rect l="0" t="0" r="r" b="b"/>
            <a:pathLst>
              <a:path w="11380" h="16420">
                <a:moveTo>
                  <a:pt x="4913" y="0"/>
                </a:moveTo>
                <a:lnTo>
                  <a:pt x="11380" y="9251"/>
                </a:lnTo>
                <a:lnTo>
                  <a:pt x="8661" y="9251"/>
                </a:lnTo>
                <a:lnTo>
                  <a:pt x="8667" y="9270"/>
                </a:lnTo>
                <a:lnTo>
                  <a:pt x="4712" y="9270"/>
                </a:lnTo>
                <a:lnTo>
                  <a:pt x="6491" y="16420"/>
                </a:lnTo>
                <a:lnTo>
                  <a:pt x="0" y="7132"/>
                </a:lnTo>
                <a:lnTo>
                  <a:pt x="6689" y="7132"/>
                </a:lnTo>
                <a:lnTo>
                  <a:pt x="4913" y="0"/>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37" name="文本框 36"/>
          <p:cNvSpPr txBox="1"/>
          <p:nvPr/>
        </p:nvSpPr>
        <p:spPr>
          <a:xfrm>
            <a:off x="2506985" y="4503842"/>
            <a:ext cx="1311578" cy="253916"/>
          </a:xfrm>
          <a:prstGeom prst="rect">
            <a:avLst/>
          </a:prstGeom>
          <a:noFill/>
        </p:spPr>
        <p:txBody>
          <a:bodyPr wrap="none" rtlCol="0">
            <a:spAutoFit/>
          </a:bodyPr>
          <a:lstStyle/>
          <a:p>
            <a:pPr algn="ctr"/>
            <a:r>
              <a:rPr lang="en-US" altLang="zh-CN" sz="1050" dirty="0">
                <a:solidFill>
                  <a:schemeClr val="bg1"/>
                </a:solidFill>
                <a:latin typeface="+mn-lt"/>
                <a:ea typeface="微软雅黑" panose="020B0503020204020204" pitchFamily="34" charset="-122"/>
              </a:rPr>
              <a:t>telecommunication</a:t>
            </a:r>
            <a:endParaRPr lang="en-US" sz="1050" dirty="0">
              <a:solidFill>
                <a:schemeClr val="bg1"/>
              </a:solidFill>
              <a:latin typeface="+mn-lt"/>
              <a:ea typeface="微软雅黑" panose="020B0503020204020204" pitchFamily="34" charset="-122"/>
            </a:endParaRPr>
          </a:p>
        </p:txBody>
      </p:sp>
      <p:sp>
        <p:nvSpPr>
          <p:cNvPr id="38" name="Freeform 24"/>
          <p:cNvSpPr>
            <a:spLocks noEditPoints="1"/>
          </p:cNvSpPr>
          <p:nvPr/>
        </p:nvSpPr>
        <p:spPr bwMode="auto">
          <a:xfrm>
            <a:off x="2298395" y="4511257"/>
            <a:ext cx="215981" cy="215981"/>
          </a:xfrm>
          <a:custGeom>
            <a:avLst/>
            <a:gdLst/>
            <a:ahLst/>
            <a:cxnLst>
              <a:cxn ang="0">
                <a:pos x="0" y="548"/>
              </a:cxn>
              <a:cxn ang="0">
                <a:pos x="262" y="500"/>
              </a:cxn>
              <a:cxn ang="0">
                <a:pos x="206" y="424"/>
              </a:cxn>
              <a:cxn ang="0">
                <a:pos x="270" y="344"/>
              </a:cxn>
              <a:cxn ang="0">
                <a:pos x="296" y="356"/>
              </a:cxn>
              <a:cxn ang="0">
                <a:pos x="346" y="376"/>
              </a:cxn>
              <a:cxn ang="0">
                <a:pos x="392" y="386"/>
              </a:cxn>
              <a:cxn ang="0">
                <a:pos x="426" y="390"/>
              </a:cxn>
              <a:cxn ang="0">
                <a:pos x="438" y="388"/>
              </a:cxn>
              <a:cxn ang="0">
                <a:pos x="444" y="386"/>
              </a:cxn>
              <a:cxn ang="0">
                <a:pos x="444" y="384"/>
              </a:cxn>
              <a:cxn ang="0">
                <a:pos x="438" y="368"/>
              </a:cxn>
              <a:cxn ang="0">
                <a:pos x="414" y="334"/>
              </a:cxn>
              <a:cxn ang="0">
                <a:pos x="338" y="246"/>
              </a:cxn>
              <a:cxn ang="0">
                <a:pos x="358" y="140"/>
              </a:cxn>
              <a:cxn ang="0">
                <a:pos x="360" y="130"/>
              </a:cxn>
              <a:cxn ang="0">
                <a:pos x="376" y="96"/>
              </a:cxn>
              <a:cxn ang="0">
                <a:pos x="340" y="102"/>
              </a:cxn>
              <a:cxn ang="0">
                <a:pos x="320" y="104"/>
              </a:cxn>
              <a:cxn ang="0">
                <a:pos x="220" y="130"/>
              </a:cxn>
              <a:cxn ang="0">
                <a:pos x="120" y="38"/>
              </a:cxn>
              <a:cxn ang="0">
                <a:pos x="80" y="8"/>
              </a:cxn>
              <a:cxn ang="0">
                <a:pos x="62" y="0"/>
              </a:cxn>
              <a:cxn ang="0">
                <a:pos x="60" y="2"/>
              </a:cxn>
              <a:cxn ang="0">
                <a:pos x="58" y="4"/>
              </a:cxn>
              <a:cxn ang="0">
                <a:pos x="58" y="4"/>
              </a:cxn>
              <a:cxn ang="0">
                <a:pos x="58" y="28"/>
              </a:cxn>
              <a:cxn ang="0">
                <a:pos x="66" y="72"/>
              </a:cxn>
              <a:cxn ang="0">
                <a:pos x="84" y="126"/>
              </a:cxn>
              <a:cxn ang="0">
                <a:pos x="110" y="186"/>
              </a:cxn>
              <a:cxn ang="0">
                <a:pos x="86" y="288"/>
              </a:cxn>
              <a:cxn ang="0">
                <a:pos x="86" y="288"/>
              </a:cxn>
              <a:cxn ang="0">
                <a:pos x="86" y="288"/>
              </a:cxn>
              <a:cxn ang="0">
                <a:pos x="12" y="500"/>
              </a:cxn>
              <a:cxn ang="0">
                <a:pos x="322" y="230"/>
              </a:cxn>
              <a:cxn ang="0">
                <a:pos x="346" y="144"/>
              </a:cxn>
              <a:cxn ang="0">
                <a:pos x="330" y="238"/>
              </a:cxn>
              <a:cxn ang="0">
                <a:pos x="322" y="230"/>
              </a:cxn>
              <a:cxn ang="0">
                <a:pos x="232" y="140"/>
              </a:cxn>
              <a:cxn ang="0">
                <a:pos x="320" y="114"/>
              </a:cxn>
              <a:cxn ang="0">
                <a:pos x="322" y="124"/>
              </a:cxn>
              <a:cxn ang="0">
                <a:pos x="328" y="136"/>
              </a:cxn>
              <a:cxn ang="0">
                <a:pos x="334" y="140"/>
              </a:cxn>
              <a:cxn ang="0">
                <a:pos x="316" y="224"/>
              </a:cxn>
              <a:cxn ang="0">
                <a:pos x="280" y="188"/>
              </a:cxn>
              <a:cxn ang="0">
                <a:pos x="232" y="140"/>
              </a:cxn>
              <a:cxn ang="0">
                <a:pos x="108" y="452"/>
              </a:cxn>
              <a:cxn ang="0">
                <a:pos x="26" y="500"/>
              </a:cxn>
              <a:cxn ang="0">
                <a:pos x="94" y="414"/>
              </a:cxn>
              <a:cxn ang="0">
                <a:pos x="108" y="452"/>
              </a:cxn>
              <a:cxn ang="0">
                <a:pos x="174" y="500"/>
              </a:cxn>
              <a:cxn ang="0">
                <a:pos x="180" y="456"/>
              </a:cxn>
              <a:cxn ang="0">
                <a:pos x="194" y="428"/>
              </a:cxn>
            </a:cxnLst>
            <a:rect l="0" t="0" r="r" b="b"/>
            <a:pathLst>
              <a:path w="444" h="548">
                <a:moveTo>
                  <a:pt x="0" y="500"/>
                </a:moveTo>
                <a:lnTo>
                  <a:pt x="0" y="548"/>
                </a:lnTo>
                <a:lnTo>
                  <a:pt x="262" y="548"/>
                </a:lnTo>
                <a:lnTo>
                  <a:pt x="262" y="500"/>
                </a:lnTo>
                <a:lnTo>
                  <a:pt x="244" y="500"/>
                </a:lnTo>
                <a:lnTo>
                  <a:pt x="206" y="424"/>
                </a:lnTo>
                <a:lnTo>
                  <a:pt x="234" y="358"/>
                </a:lnTo>
                <a:lnTo>
                  <a:pt x="270" y="344"/>
                </a:lnTo>
                <a:lnTo>
                  <a:pt x="270" y="344"/>
                </a:lnTo>
                <a:lnTo>
                  <a:pt x="296" y="356"/>
                </a:lnTo>
                <a:lnTo>
                  <a:pt x="322" y="366"/>
                </a:lnTo>
                <a:lnTo>
                  <a:pt x="346" y="376"/>
                </a:lnTo>
                <a:lnTo>
                  <a:pt x="370" y="382"/>
                </a:lnTo>
                <a:lnTo>
                  <a:pt x="392" y="386"/>
                </a:lnTo>
                <a:lnTo>
                  <a:pt x="410" y="390"/>
                </a:lnTo>
                <a:lnTo>
                  <a:pt x="426" y="390"/>
                </a:lnTo>
                <a:lnTo>
                  <a:pt x="438" y="388"/>
                </a:lnTo>
                <a:lnTo>
                  <a:pt x="438" y="388"/>
                </a:lnTo>
                <a:lnTo>
                  <a:pt x="442" y="388"/>
                </a:lnTo>
                <a:lnTo>
                  <a:pt x="444" y="386"/>
                </a:lnTo>
                <a:lnTo>
                  <a:pt x="444" y="386"/>
                </a:lnTo>
                <a:lnTo>
                  <a:pt x="444" y="384"/>
                </a:lnTo>
                <a:lnTo>
                  <a:pt x="444" y="380"/>
                </a:lnTo>
                <a:lnTo>
                  <a:pt x="438" y="368"/>
                </a:lnTo>
                <a:lnTo>
                  <a:pt x="428" y="352"/>
                </a:lnTo>
                <a:lnTo>
                  <a:pt x="414" y="334"/>
                </a:lnTo>
                <a:lnTo>
                  <a:pt x="378" y="292"/>
                </a:lnTo>
                <a:lnTo>
                  <a:pt x="338" y="246"/>
                </a:lnTo>
                <a:lnTo>
                  <a:pt x="358" y="140"/>
                </a:lnTo>
                <a:lnTo>
                  <a:pt x="358" y="140"/>
                </a:lnTo>
                <a:lnTo>
                  <a:pt x="360" y="136"/>
                </a:lnTo>
                <a:lnTo>
                  <a:pt x="360" y="130"/>
                </a:lnTo>
                <a:lnTo>
                  <a:pt x="360" y="124"/>
                </a:lnTo>
                <a:lnTo>
                  <a:pt x="376" y="96"/>
                </a:lnTo>
                <a:lnTo>
                  <a:pt x="364" y="84"/>
                </a:lnTo>
                <a:lnTo>
                  <a:pt x="340" y="102"/>
                </a:lnTo>
                <a:lnTo>
                  <a:pt x="338" y="102"/>
                </a:lnTo>
                <a:lnTo>
                  <a:pt x="320" y="104"/>
                </a:lnTo>
                <a:lnTo>
                  <a:pt x="220" y="130"/>
                </a:lnTo>
                <a:lnTo>
                  <a:pt x="220" y="130"/>
                </a:lnTo>
                <a:lnTo>
                  <a:pt x="170" y="82"/>
                </a:lnTo>
                <a:lnTo>
                  <a:pt x="120" y="38"/>
                </a:lnTo>
                <a:lnTo>
                  <a:pt x="98" y="22"/>
                </a:lnTo>
                <a:lnTo>
                  <a:pt x="80" y="8"/>
                </a:lnTo>
                <a:lnTo>
                  <a:pt x="66" y="2"/>
                </a:lnTo>
                <a:lnTo>
                  <a:pt x="62" y="0"/>
                </a:lnTo>
                <a:lnTo>
                  <a:pt x="60" y="2"/>
                </a:lnTo>
                <a:lnTo>
                  <a:pt x="60" y="2"/>
                </a:lnTo>
                <a:lnTo>
                  <a:pt x="58" y="4"/>
                </a:lnTo>
                <a:lnTo>
                  <a:pt x="58" y="4"/>
                </a:lnTo>
                <a:lnTo>
                  <a:pt x="58" y="4"/>
                </a:lnTo>
                <a:lnTo>
                  <a:pt x="58" y="4"/>
                </a:lnTo>
                <a:lnTo>
                  <a:pt x="58" y="12"/>
                </a:lnTo>
                <a:lnTo>
                  <a:pt x="58" y="28"/>
                </a:lnTo>
                <a:lnTo>
                  <a:pt x="60" y="48"/>
                </a:lnTo>
                <a:lnTo>
                  <a:pt x="66" y="72"/>
                </a:lnTo>
                <a:lnTo>
                  <a:pt x="74" y="98"/>
                </a:lnTo>
                <a:lnTo>
                  <a:pt x="84" y="126"/>
                </a:lnTo>
                <a:lnTo>
                  <a:pt x="96" y="156"/>
                </a:lnTo>
                <a:lnTo>
                  <a:pt x="110" y="186"/>
                </a:lnTo>
                <a:lnTo>
                  <a:pt x="98" y="246"/>
                </a:lnTo>
                <a:lnTo>
                  <a:pt x="86" y="288"/>
                </a:lnTo>
                <a:lnTo>
                  <a:pt x="86" y="288"/>
                </a:lnTo>
                <a:lnTo>
                  <a:pt x="86" y="288"/>
                </a:lnTo>
                <a:lnTo>
                  <a:pt x="86" y="288"/>
                </a:lnTo>
                <a:lnTo>
                  <a:pt x="86" y="288"/>
                </a:lnTo>
                <a:lnTo>
                  <a:pt x="76" y="406"/>
                </a:lnTo>
                <a:lnTo>
                  <a:pt x="12" y="500"/>
                </a:lnTo>
                <a:lnTo>
                  <a:pt x="0" y="500"/>
                </a:lnTo>
                <a:close/>
                <a:moveTo>
                  <a:pt x="322" y="230"/>
                </a:moveTo>
                <a:lnTo>
                  <a:pt x="346" y="144"/>
                </a:lnTo>
                <a:lnTo>
                  <a:pt x="346" y="144"/>
                </a:lnTo>
                <a:lnTo>
                  <a:pt x="348" y="144"/>
                </a:lnTo>
                <a:lnTo>
                  <a:pt x="330" y="238"/>
                </a:lnTo>
                <a:lnTo>
                  <a:pt x="330" y="238"/>
                </a:lnTo>
                <a:lnTo>
                  <a:pt x="322" y="230"/>
                </a:lnTo>
                <a:lnTo>
                  <a:pt x="322" y="230"/>
                </a:lnTo>
                <a:close/>
                <a:moveTo>
                  <a:pt x="232" y="140"/>
                </a:moveTo>
                <a:lnTo>
                  <a:pt x="320" y="114"/>
                </a:lnTo>
                <a:lnTo>
                  <a:pt x="320" y="114"/>
                </a:lnTo>
                <a:lnTo>
                  <a:pt x="320" y="120"/>
                </a:lnTo>
                <a:lnTo>
                  <a:pt x="322" y="124"/>
                </a:lnTo>
                <a:lnTo>
                  <a:pt x="324" y="130"/>
                </a:lnTo>
                <a:lnTo>
                  <a:pt x="328" y="136"/>
                </a:lnTo>
                <a:lnTo>
                  <a:pt x="328" y="136"/>
                </a:lnTo>
                <a:lnTo>
                  <a:pt x="334" y="140"/>
                </a:lnTo>
                <a:lnTo>
                  <a:pt x="342" y="144"/>
                </a:lnTo>
                <a:lnTo>
                  <a:pt x="316" y="224"/>
                </a:lnTo>
                <a:lnTo>
                  <a:pt x="316" y="224"/>
                </a:lnTo>
                <a:lnTo>
                  <a:pt x="280" y="188"/>
                </a:lnTo>
                <a:lnTo>
                  <a:pt x="280" y="188"/>
                </a:lnTo>
                <a:lnTo>
                  <a:pt x="232" y="140"/>
                </a:lnTo>
                <a:lnTo>
                  <a:pt x="232" y="140"/>
                </a:lnTo>
                <a:close/>
                <a:moveTo>
                  <a:pt x="108" y="452"/>
                </a:moveTo>
                <a:lnTo>
                  <a:pt x="96" y="500"/>
                </a:lnTo>
                <a:lnTo>
                  <a:pt x="26" y="500"/>
                </a:lnTo>
                <a:lnTo>
                  <a:pt x="86" y="410"/>
                </a:lnTo>
                <a:lnTo>
                  <a:pt x="94" y="414"/>
                </a:lnTo>
                <a:lnTo>
                  <a:pt x="100" y="452"/>
                </a:lnTo>
                <a:lnTo>
                  <a:pt x="108" y="452"/>
                </a:lnTo>
                <a:close/>
                <a:moveTo>
                  <a:pt x="230" y="500"/>
                </a:moveTo>
                <a:lnTo>
                  <a:pt x="174" y="500"/>
                </a:lnTo>
                <a:lnTo>
                  <a:pt x="172" y="456"/>
                </a:lnTo>
                <a:lnTo>
                  <a:pt x="180" y="456"/>
                </a:lnTo>
                <a:lnTo>
                  <a:pt x="192" y="428"/>
                </a:lnTo>
                <a:lnTo>
                  <a:pt x="194" y="428"/>
                </a:lnTo>
                <a:lnTo>
                  <a:pt x="230" y="500"/>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46" name="文本框 45"/>
          <p:cNvSpPr txBox="1"/>
          <p:nvPr/>
        </p:nvSpPr>
        <p:spPr>
          <a:xfrm>
            <a:off x="2390925" y="4811492"/>
            <a:ext cx="816249" cy="415498"/>
          </a:xfrm>
          <a:prstGeom prst="rect">
            <a:avLst/>
          </a:prstGeom>
          <a:noFill/>
        </p:spPr>
        <p:txBody>
          <a:bodyPr wrap="none" rtlCol="0">
            <a:spAutoFit/>
          </a:bodyPr>
          <a:lstStyle/>
          <a:p>
            <a:pPr algn="ctr"/>
            <a:r>
              <a:rPr lang="en-US" sz="1050" dirty="0">
                <a:solidFill>
                  <a:schemeClr val="bg1"/>
                </a:solidFill>
                <a:ea typeface="微软雅黑" panose="020B0503020204020204" pitchFamily="34" charset="-122"/>
              </a:rPr>
              <a:t>System</a:t>
            </a:r>
          </a:p>
          <a:p>
            <a:pPr algn="ctr"/>
            <a:r>
              <a:rPr lang="en-US" sz="1050" dirty="0">
                <a:solidFill>
                  <a:schemeClr val="bg1"/>
                </a:solidFill>
                <a:latin typeface="+mn-lt"/>
                <a:ea typeface="微软雅黑" panose="020B0503020204020204" pitchFamily="34" charset="-122"/>
              </a:rPr>
              <a:t>integration</a:t>
            </a:r>
          </a:p>
        </p:txBody>
      </p:sp>
      <p:grpSp>
        <p:nvGrpSpPr>
          <p:cNvPr id="47" name="组合 521"/>
          <p:cNvGrpSpPr/>
          <p:nvPr/>
        </p:nvGrpSpPr>
        <p:grpSpPr>
          <a:xfrm>
            <a:off x="2308623" y="4886192"/>
            <a:ext cx="107991" cy="242979"/>
            <a:chOff x="-909638" y="971550"/>
            <a:chExt cx="909638" cy="2039938"/>
          </a:xfrm>
          <a:solidFill>
            <a:schemeClr val="bg1"/>
          </a:solidFill>
        </p:grpSpPr>
        <p:sp>
          <p:nvSpPr>
            <p:cNvPr id="48"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49"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50"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51"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52" name="Freeform 151"/>
            <p:cNvSpPr>
              <a:spLocks noEditPoints="1"/>
            </p:cNvSpPr>
            <p:nvPr/>
          </p:nvSpPr>
          <p:spPr bwMode="auto">
            <a:xfrm>
              <a:off x="-909638"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grpSp>
      <p:sp>
        <p:nvSpPr>
          <p:cNvPr id="53" name="文本框 52"/>
          <p:cNvSpPr txBox="1"/>
          <p:nvPr/>
        </p:nvSpPr>
        <p:spPr>
          <a:xfrm>
            <a:off x="5633424" y="4892276"/>
            <a:ext cx="364202" cy="253916"/>
          </a:xfrm>
          <a:prstGeom prst="rect">
            <a:avLst/>
          </a:prstGeom>
          <a:noFill/>
        </p:spPr>
        <p:txBody>
          <a:bodyPr wrap="none" rtlCol="0">
            <a:spAutoFit/>
          </a:bodyPr>
          <a:lstStyle/>
          <a:p>
            <a:pPr algn="ctr"/>
            <a:r>
              <a:rPr lang="en-US" altLang="zh-CN" sz="1050" dirty="0">
                <a:solidFill>
                  <a:schemeClr val="bg1"/>
                </a:solidFill>
                <a:latin typeface="+mn-lt"/>
                <a:ea typeface="微软雅黑" panose="020B0503020204020204" pitchFamily="34" charset="-122"/>
              </a:rPr>
              <a:t>PV</a:t>
            </a:r>
            <a:endParaRPr lang="en-US" sz="1050" dirty="0">
              <a:solidFill>
                <a:schemeClr val="bg1"/>
              </a:solidFill>
              <a:latin typeface="+mn-lt"/>
              <a:ea typeface="微软雅黑" panose="020B0503020204020204" pitchFamily="34" charset="-122"/>
            </a:endParaRPr>
          </a:p>
        </p:txBody>
      </p:sp>
      <p:sp>
        <p:nvSpPr>
          <p:cNvPr id="54" name="Freeform 121"/>
          <p:cNvSpPr>
            <a:spLocks noEditPoints="1"/>
          </p:cNvSpPr>
          <p:nvPr/>
        </p:nvSpPr>
        <p:spPr bwMode="auto">
          <a:xfrm>
            <a:off x="5298588" y="4857893"/>
            <a:ext cx="247518" cy="299579"/>
          </a:xfrm>
          <a:custGeom>
            <a:avLst/>
            <a:gdLst/>
            <a:ahLst/>
            <a:cxnLst>
              <a:cxn ang="0">
                <a:pos x="5900" y="2850"/>
              </a:cxn>
              <a:cxn ang="0">
                <a:pos x="6550" y="3250"/>
              </a:cxn>
              <a:cxn ang="0">
                <a:pos x="7350" y="3100"/>
              </a:cxn>
              <a:cxn ang="0">
                <a:pos x="7800" y="2450"/>
              </a:cxn>
              <a:cxn ang="0">
                <a:pos x="7650" y="1650"/>
              </a:cxn>
              <a:cxn ang="0">
                <a:pos x="7000" y="1200"/>
              </a:cxn>
              <a:cxn ang="0">
                <a:pos x="6200" y="1400"/>
              </a:cxn>
              <a:cxn ang="0">
                <a:pos x="5750" y="2050"/>
              </a:cxn>
              <a:cxn ang="0">
                <a:pos x="7550" y="850"/>
              </a:cxn>
              <a:cxn ang="0">
                <a:pos x="7500" y="200"/>
              </a:cxn>
              <a:cxn ang="0">
                <a:pos x="8150" y="450"/>
              </a:cxn>
              <a:cxn ang="0">
                <a:pos x="8400" y="1100"/>
              </a:cxn>
              <a:cxn ang="0">
                <a:pos x="8200" y="1800"/>
              </a:cxn>
              <a:cxn ang="0">
                <a:pos x="8700" y="1450"/>
              </a:cxn>
              <a:cxn ang="0">
                <a:pos x="9000" y="1750"/>
              </a:cxn>
              <a:cxn ang="0">
                <a:pos x="8851" y="2450"/>
              </a:cxn>
              <a:cxn ang="0">
                <a:pos x="8050" y="2850"/>
              </a:cxn>
              <a:cxn ang="0">
                <a:pos x="8600" y="3100"/>
              </a:cxn>
              <a:cxn ang="0">
                <a:pos x="8800" y="3250"/>
              </a:cxn>
              <a:cxn ang="0">
                <a:pos x="8250" y="3800"/>
              </a:cxn>
              <a:cxn ang="0">
                <a:pos x="7450" y="3700"/>
              </a:cxn>
              <a:cxn ang="0">
                <a:pos x="7300" y="4000"/>
              </a:cxn>
              <a:cxn ang="0">
                <a:pos x="7650" y="4250"/>
              </a:cxn>
              <a:cxn ang="0">
                <a:pos x="6900" y="4450"/>
              </a:cxn>
              <a:cxn ang="0">
                <a:pos x="6350" y="4050"/>
              </a:cxn>
              <a:cxn ang="0">
                <a:pos x="6000" y="3650"/>
              </a:cxn>
              <a:cxn ang="0">
                <a:pos x="6050" y="4250"/>
              </a:cxn>
              <a:cxn ang="0">
                <a:pos x="5400" y="4050"/>
              </a:cxn>
              <a:cxn ang="0">
                <a:pos x="5150" y="3400"/>
              </a:cxn>
              <a:cxn ang="0">
                <a:pos x="5350" y="2700"/>
              </a:cxn>
              <a:cxn ang="0">
                <a:pos x="4850" y="3050"/>
              </a:cxn>
              <a:cxn ang="0">
                <a:pos x="4550" y="2700"/>
              </a:cxn>
              <a:cxn ang="0">
                <a:pos x="4700" y="2050"/>
              </a:cxn>
              <a:cxn ang="0">
                <a:pos x="5500" y="1650"/>
              </a:cxn>
              <a:cxn ang="0">
                <a:pos x="4950" y="1400"/>
              </a:cxn>
              <a:cxn ang="0">
                <a:pos x="4750" y="1251"/>
              </a:cxn>
              <a:cxn ang="0">
                <a:pos x="5300" y="700"/>
              </a:cxn>
              <a:cxn ang="0">
                <a:pos x="6100" y="750"/>
              </a:cxn>
              <a:cxn ang="0">
                <a:pos x="6250" y="500"/>
              </a:cxn>
              <a:cxn ang="0">
                <a:pos x="5900" y="250"/>
              </a:cxn>
              <a:cxn ang="0">
                <a:pos x="6650" y="50"/>
              </a:cxn>
              <a:cxn ang="0">
                <a:pos x="7200" y="450"/>
              </a:cxn>
              <a:cxn ang="0">
                <a:pos x="1600" y="6250"/>
              </a:cxn>
              <a:cxn ang="0">
                <a:pos x="2350" y="5600"/>
              </a:cxn>
              <a:cxn ang="0">
                <a:pos x="11350" y="5650"/>
              </a:cxn>
              <a:cxn ang="0">
                <a:pos x="12000" y="6400"/>
              </a:cxn>
              <a:cxn ang="0">
                <a:pos x="13500" y="13200"/>
              </a:cxn>
              <a:cxn ang="0">
                <a:pos x="13100" y="13551"/>
              </a:cxn>
              <a:cxn ang="0">
                <a:pos x="350" y="13500"/>
              </a:cxn>
              <a:cxn ang="0">
                <a:pos x="0" y="13101"/>
              </a:cxn>
              <a:cxn ang="0">
                <a:pos x="6400" y="9200"/>
              </a:cxn>
              <a:cxn ang="0">
                <a:pos x="2300" y="6600"/>
              </a:cxn>
              <a:cxn ang="0">
                <a:pos x="6400" y="10000"/>
              </a:cxn>
              <a:cxn ang="0">
                <a:pos x="7150" y="10000"/>
              </a:cxn>
              <a:cxn ang="0">
                <a:pos x="7150" y="10000"/>
              </a:cxn>
              <a:cxn ang="0">
                <a:pos x="11250" y="6600"/>
              </a:cxn>
              <a:cxn ang="0">
                <a:pos x="5300" y="14200"/>
              </a:cxn>
              <a:cxn ang="0">
                <a:pos x="11599" y="15750"/>
              </a:cxn>
              <a:cxn ang="0">
                <a:pos x="11750" y="16100"/>
              </a:cxn>
              <a:cxn ang="0">
                <a:pos x="11500" y="16400"/>
              </a:cxn>
              <a:cxn ang="0">
                <a:pos x="1800" y="16200"/>
              </a:cxn>
              <a:cxn ang="0">
                <a:pos x="1850" y="15850"/>
              </a:cxn>
              <a:cxn ang="0">
                <a:pos x="5300" y="14200"/>
              </a:cxn>
            </a:cxnLst>
            <a:rect l="0" t="0" r="r" b="b"/>
            <a:pathLst>
              <a:path w="13550" h="16400">
                <a:moveTo>
                  <a:pt x="5750" y="2250"/>
                </a:moveTo>
                <a:lnTo>
                  <a:pt x="5750" y="2450"/>
                </a:lnTo>
                <a:lnTo>
                  <a:pt x="5800" y="2650"/>
                </a:lnTo>
                <a:lnTo>
                  <a:pt x="5900" y="2850"/>
                </a:lnTo>
                <a:lnTo>
                  <a:pt x="6050" y="3000"/>
                </a:lnTo>
                <a:lnTo>
                  <a:pt x="6200" y="3100"/>
                </a:lnTo>
                <a:lnTo>
                  <a:pt x="6350" y="3200"/>
                </a:lnTo>
                <a:lnTo>
                  <a:pt x="6550" y="3250"/>
                </a:lnTo>
                <a:lnTo>
                  <a:pt x="6800" y="3301"/>
                </a:lnTo>
                <a:lnTo>
                  <a:pt x="7000" y="3250"/>
                </a:lnTo>
                <a:lnTo>
                  <a:pt x="7200" y="3200"/>
                </a:lnTo>
                <a:lnTo>
                  <a:pt x="7350" y="3100"/>
                </a:lnTo>
                <a:lnTo>
                  <a:pt x="7500" y="3000"/>
                </a:lnTo>
                <a:lnTo>
                  <a:pt x="7650" y="2850"/>
                </a:lnTo>
                <a:lnTo>
                  <a:pt x="7750" y="2650"/>
                </a:lnTo>
                <a:lnTo>
                  <a:pt x="7800" y="2450"/>
                </a:lnTo>
                <a:lnTo>
                  <a:pt x="7800" y="2250"/>
                </a:lnTo>
                <a:lnTo>
                  <a:pt x="7800" y="2050"/>
                </a:lnTo>
                <a:lnTo>
                  <a:pt x="7750" y="1850"/>
                </a:lnTo>
                <a:lnTo>
                  <a:pt x="7650" y="1650"/>
                </a:lnTo>
                <a:lnTo>
                  <a:pt x="7500" y="1500"/>
                </a:lnTo>
                <a:lnTo>
                  <a:pt x="7350" y="1400"/>
                </a:lnTo>
                <a:lnTo>
                  <a:pt x="7200" y="1300"/>
                </a:lnTo>
                <a:lnTo>
                  <a:pt x="7000" y="1200"/>
                </a:lnTo>
                <a:lnTo>
                  <a:pt x="6800" y="1200"/>
                </a:lnTo>
                <a:lnTo>
                  <a:pt x="6550" y="1200"/>
                </a:lnTo>
                <a:lnTo>
                  <a:pt x="6350" y="1300"/>
                </a:lnTo>
                <a:lnTo>
                  <a:pt x="6200" y="1400"/>
                </a:lnTo>
                <a:lnTo>
                  <a:pt x="6050" y="1500"/>
                </a:lnTo>
                <a:lnTo>
                  <a:pt x="5900" y="1650"/>
                </a:lnTo>
                <a:lnTo>
                  <a:pt x="5800" y="1850"/>
                </a:lnTo>
                <a:lnTo>
                  <a:pt x="5750" y="2050"/>
                </a:lnTo>
                <a:lnTo>
                  <a:pt x="5750" y="2250"/>
                </a:lnTo>
                <a:close/>
                <a:moveTo>
                  <a:pt x="7350" y="1000"/>
                </a:moveTo>
                <a:lnTo>
                  <a:pt x="7450" y="950"/>
                </a:lnTo>
                <a:lnTo>
                  <a:pt x="7550" y="850"/>
                </a:lnTo>
                <a:lnTo>
                  <a:pt x="7650" y="650"/>
                </a:lnTo>
                <a:lnTo>
                  <a:pt x="7600" y="400"/>
                </a:lnTo>
                <a:lnTo>
                  <a:pt x="7550" y="300"/>
                </a:lnTo>
                <a:lnTo>
                  <a:pt x="7500" y="200"/>
                </a:lnTo>
                <a:lnTo>
                  <a:pt x="7550" y="200"/>
                </a:lnTo>
                <a:lnTo>
                  <a:pt x="7750" y="250"/>
                </a:lnTo>
                <a:lnTo>
                  <a:pt x="8000" y="350"/>
                </a:lnTo>
                <a:lnTo>
                  <a:pt x="8150" y="450"/>
                </a:lnTo>
                <a:lnTo>
                  <a:pt x="8250" y="600"/>
                </a:lnTo>
                <a:lnTo>
                  <a:pt x="8350" y="750"/>
                </a:lnTo>
                <a:lnTo>
                  <a:pt x="8400" y="950"/>
                </a:lnTo>
                <a:lnTo>
                  <a:pt x="8400" y="1100"/>
                </a:lnTo>
                <a:lnTo>
                  <a:pt x="8350" y="1251"/>
                </a:lnTo>
                <a:lnTo>
                  <a:pt x="8250" y="1550"/>
                </a:lnTo>
                <a:lnTo>
                  <a:pt x="8100" y="1750"/>
                </a:lnTo>
                <a:lnTo>
                  <a:pt x="8200" y="1800"/>
                </a:lnTo>
                <a:lnTo>
                  <a:pt x="8300" y="1800"/>
                </a:lnTo>
                <a:lnTo>
                  <a:pt x="8500" y="1700"/>
                </a:lnTo>
                <a:lnTo>
                  <a:pt x="8650" y="1550"/>
                </a:lnTo>
                <a:lnTo>
                  <a:pt x="8700" y="1450"/>
                </a:lnTo>
                <a:lnTo>
                  <a:pt x="8700" y="1300"/>
                </a:lnTo>
                <a:lnTo>
                  <a:pt x="8800" y="1350"/>
                </a:lnTo>
                <a:lnTo>
                  <a:pt x="8900" y="1500"/>
                </a:lnTo>
                <a:lnTo>
                  <a:pt x="9000" y="1750"/>
                </a:lnTo>
                <a:lnTo>
                  <a:pt x="9000" y="1950"/>
                </a:lnTo>
                <a:lnTo>
                  <a:pt x="9000" y="2100"/>
                </a:lnTo>
                <a:lnTo>
                  <a:pt x="8900" y="2300"/>
                </a:lnTo>
                <a:lnTo>
                  <a:pt x="8851" y="2450"/>
                </a:lnTo>
                <a:lnTo>
                  <a:pt x="8700" y="2600"/>
                </a:lnTo>
                <a:lnTo>
                  <a:pt x="8600" y="2700"/>
                </a:lnTo>
                <a:lnTo>
                  <a:pt x="8300" y="2800"/>
                </a:lnTo>
                <a:lnTo>
                  <a:pt x="8050" y="2850"/>
                </a:lnTo>
                <a:lnTo>
                  <a:pt x="8100" y="2950"/>
                </a:lnTo>
                <a:lnTo>
                  <a:pt x="8150" y="3050"/>
                </a:lnTo>
                <a:lnTo>
                  <a:pt x="8350" y="3100"/>
                </a:lnTo>
                <a:lnTo>
                  <a:pt x="8600" y="3100"/>
                </a:lnTo>
                <a:lnTo>
                  <a:pt x="8700" y="3050"/>
                </a:lnTo>
                <a:lnTo>
                  <a:pt x="8800" y="2950"/>
                </a:lnTo>
                <a:lnTo>
                  <a:pt x="8800" y="3050"/>
                </a:lnTo>
                <a:lnTo>
                  <a:pt x="8800" y="3250"/>
                </a:lnTo>
                <a:lnTo>
                  <a:pt x="8700" y="3500"/>
                </a:lnTo>
                <a:lnTo>
                  <a:pt x="8600" y="3600"/>
                </a:lnTo>
                <a:lnTo>
                  <a:pt x="8450" y="3700"/>
                </a:lnTo>
                <a:lnTo>
                  <a:pt x="8250" y="3800"/>
                </a:lnTo>
                <a:lnTo>
                  <a:pt x="8100" y="3850"/>
                </a:lnTo>
                <a:lnTo>
                  <a:pt x="7900" y="3850"/>
                </a:lnTo>
                <a:lnTo>
                  <a:pt x="7750" y="3850"/>
                </a:lnTo>
                <a:lnTo>
                  <a:pt x="7450" y="3700"/>
                </a:lnTo>
                <a:lnTo>
                  <a:pt x="7250" y="3550"/>
                </a:lnTo>
                <a:lnTo>
                  <a:pt x="7250" y="3650"/>
                </a:lnTo>
                <a:lnTo>
                  <a:pt x="7200" y="3750"/>
                </a:lnTo>
                <a:lnTo>
                  <a:pt x="7300" y="4000"/>
                </a:lnTo>
                <a:lnTo>
                  <a:pt x="7450" y="4150"/>
                </a:lnTo>
                <a:lnTo>
                  <a:pt x="7600" y="4150"/>
                </a:lnTo>
                <a:lnTo>
                  <a:pt x="7701" y="4200"/>
                </a:lnTo>
                <a:lnTo>
                  <a:pt x="7650" y="4250"/>
                </a:lnTo>
                <a:lnTo>
                  <a:pt x="7500" y="4350"/>
                </a:lnTo>
                <a:lnTo>
                  <a:pt x="7250" y="4450"/>
                </a:lnTo>
                <a:lnTo>
                  <a:pt x="7100" y="4500"/>
                </a:lnTo>
                <a:lnTo>
                  <a:pt x="6900" y="4450"/>
                </a:lnTo>
                <a:lnTo>
                  <a:pt x="6700" y="4400"/>
                </a:lnTo>
                <a:lnTo>
                  <a:pt x="6550" y="4300"/>
                </a:lnTo>
                <a:lnTo>
                  <a:pt x="6450" y="4200"/>
                </a:lnTo>
                <a:lnTo>
                  <a:pt x="6350" y="4050"/>
                </a:lnTo>
                <a:lnTo>
                  <a:pt x="6250" y="3800"/>
                </a:lnTo>
                <a:lnTo>
                  <a:pt x="6200" y="3500"/>
                </a:lnTo>
                <a:lnTo>
                  <a:pt x="6100" y="3550"/>
                </a:lnTo>
                <a:lnTo>
                  <a:pt x="6000" y="3650"/>
                </a:lnTo>
                <a:lnTo>
                  <a:pt x="5900" y="3850"/>
                </a:lnTo>
                <a:lnTo>
                  <a:pt x="5950" y="4050"/>
                </a:lnTo>
                <a:lnTo>
                  <a:pt x="6000" y="4200"/>
                </a:lnTo>
                <a:lnTo>
                  <a:pt x="6050" y="4250"/>
                </a:lnTo>
                <a:lnTo>
                  <a:pt x="6000" y="4300"/>
                </a:lnTo>
                <a:lnTo>
                  <a:pt x="5800" y="4250"/>
                </a:lnTo>
                <a:lnTo>
                  <a:pt x="5550" y="4150"/>
                </a:lnTo>
                <a:lnTo>
                  <a:pt x="5400" y="4050"/>
                </a:lnTo>
                <a:lnTo>
                  <a:pt x="5300" y="3900"/>
                </a:lnTo>
                <a:lnTo>
                  <a:pt x="5200" y="3700"/>
                </a:lnTo>
                <a:lnTo>
                  <a:pt x="5150" y="3550"/>
                </a:lnTo>
                <a:lnTo>
                  <a:pt x="5150" y="3400"/>
                </a:lnTo>
                <a:lnTo>
                  <a:pt x="5200" y="3250"/>
                </a:lnTo>
                <a:lnTo>
                  <a:pt x="5300" y="2950"/>
                </a:lnTo>
                <a:lnTo>
                  <a:pt x="5450" y="2750"/>
                </a:lnTo>
                <a:lnTo>
                  <a:pt x="5350" y="2700"/>
                </a:lnTo>
                <a:lnTo>
                  <a:pt x="5250" y="2700"/>
                </a:lnTo>
                <a:lnTo>
                  <a:pt x="5050" y="2800"/>
                </a:lnTo>
                <a:lnTo>
                  <a:pt x="4900" y="2950"/>
                </a:lnTo>
                <a:lnTo>
                  <a:pt x="4850" y="3050"/>
                </a:lnTo>
                <a:lnTo>
                  <a:pt x="4850" y="3150"/>
                </a:lnTo>
                <a:lnTo>
                  <a:pt x="4750" y="3100"/>
                </a:lnTo>
                <a:lnTo>
                  <a:pt x="4650" y="2950"/>
                </a:lnTo>
                <a:lnTo>
                  <a:pt x="4550" y="2700"/>
                </a:lnTo>
                <a:lnTo>
                  <a:pt x="4550" y="2550"/>
                </a:lnTo>
                <a:lnTo>
                  <a:pt x="4550" y="2350"/>
                </a:lnTo>
                <a:lnTo>
                  <a:pt x="4650" y="2200"/>
                </a:lnTo>
                <a:lnTo>
                  <a:pt x="4700" y="2050"/>
                </a:lnTo>
                <a:lnTo>
                  <a:pt x="4850" y="1900"/>
                </a:lnTo>
                <a:lnTo>
                  <a:pt x="4950" y="1800"/>
                </a:lnTo>
                <a:lnTo>
                  <a:pt x="5250" y="1700"/>
                </a:lnTo>
                <a:lnTo>
                  <a:pt x="5500" y="1650"/>
                </a:lnTo>
                <a:lnTo>
                  <a:pt x="5450" y="1550"/>
                </a:lnTo>
                <a:lnTo>
                  <a:pt x="5400" y="1500"/>
                </a:lnTo>
                <a:lnTo>
                  <a:pt x="5200" y="1400"/>
                </a:lnTo>
                <a:lnTo>
                  <a:pt x="4950" y="1400"/>
                </a:lnTo>
                <a:lnTo>
                  <a:pt x="4850" y="1450"/>
                </a:lnTo>
                <a:lnTo>
                  <a:pt x="4750" y="1500"/>
                </a:lnTo>
                <a:lnTo>
                  <a:pt x="4750" y="1450"/>
                </a:lnTo>
                <a:lnTo>
                  <a:pt x="4750" y="1251"/>
                </a:lnTo>
                <a:lnTo>
                  <a:pt x="4850" y="1000"/>
                </a:lnTo>
                <a:lnTo>
                  <a:pt x="4950" y="900"/>
                </a:lnTo>
                <a:lnTo>
                  <a:pt x="5100" y="750"/>
                </a:lnTo>
                <a:lnTo>
                  <a:pt x="5300" y="700"/>
                </a:lnTo>
                <a:lnTo>
                  <a:pt x="5450" y="650"/>
                </a:lnTo>
                <a:lnTo>
                  <a:pt x="5650" y="650"/>
                </a:lnTo>
                <a:lnTo>
                  <a:pt x="5800" y="650"/>
                </a:lnTo>
                <a:lnTo>
                  <a:pt x="6100" y="750"/>
                </a:lnTo>
                <a:lnTo>
                  <a:pt x="6300" y="950"/>
                </a:lnTo>
                <a:lnTo>
                  <a:pt x="6350" y="850"/>
                </a:lnTo>
                <a:lnTo>
                  <a:pt x="6350" y="700"/>
                </a:lnTo>
                <a:lnTo>
                  <a:pt x="6250" y="500"/>
                </a:lnTo>
                <a:lnTo>
                  <a:pt x="6100" y="350"/>
                </a:lnTo>
                <a:lnTo>
                  <a:pt x="5950" y="300"/>
                </a:lnTo>
                <a:lnTo>
                  <a:pt x="5850" y="300"/>
                </a:lnTo>
                <a:lnTo>
                  <a:pt x="5900" y="250"/>
                </a:lnTo>
                <a:lnTo>
                  <a:pt x="6050" y="100"/>
                </a:lnTo>
                <a:lnTo>
                  <a:pt x="6300" y="0"/>
                </a:lnTo>
                <a:lnTo>
                  <a:pt x="6450" y="0"/>
                </a:lnTo>
                <a:lnTo>
                  <a:pt x="6650" y="50"/>
                </a:lnTo>
                <a:lnTo>
                  <a:pt x="6850" y="100"/>
                </a:lnTo>
                <a:lnTo>
                  <a:pt x="7000" y="200"/>
                </a:lnTo>
                <a:lnTo>
                  <a:pt x="7100" y="300"/>
                </a:lnTo>
                <a:lnTo>
                  <a:pt x="7200" y="450"/>
                </a:lnTo>
                <a:lnTo>
                  <a:pt x="7300" y="700"/>
                </a:lnTo>
                <a:lnTo>
                  <a:pt x="7350" y="1000"/>
                </a:lnTo>
                <a:close/>
                <a:moveTo>
                  <a:pt x="1550" y="6400"/>
                </a:moveTo>
                <a:lnTo>
                  <a:pt x="1600" y="6250"/>
                </a:lnTo>
                <a:lnTo>
                  <a:pt x="1700" y="6100"/>
                </a:lnTo>
                <a:lnTo>
                  <a:pt x="1900" y="5850"/>
                </a:lnTo>
                <a:lnTo>
                  <a:pt x="2200" y="5650"/>
                </a:lnTo>
                <a:lnTo>
                  <a:pt x="2350" y="5600"/>
                </a:lnTo>
                <a:lnTo>
                  <a:pt x="2550" y="5600"/>
                </a:lnTo>
                <a:lnTo>
                  <a:pt x="11050" y="5600"/>
                </a:lnTo>
                <a:lnTo>
                  <a:pt x="11200" y="5600"/>
                </a:lnTo>
                <a:lnTo>
                  <a:pt x="11350" y="5650"/>
                </a:lnTo>
                <a:lnTo>
                  <a:pt x="11650" y="5850"/>
                </a:lnTo>
                <a:lnTo>
                  <a:pt x="11850" y="6100"/>
                </a:lnTo>
                <a:lnTo>
                  <a:pt x="11950" y="6250"/>
                </a:lnTo>
                <a:lnTo>
                  <a:pt x="12000" y="6400"/>
                </a:lnTo>
                <a:lnTo>
                  <a:pt x="13550" y="12800"/>
                </a:lnTo>
                <a:lnTo>
                  <a:pt x="13550" y="12950"/>
                </a:lnTo>
                <a:lnTo>
                  <a:pt x="13550" y="13101"/>
                </a:lnTo>
                <a:lnTo>
                  <a:pt x="13500" y="13200"/>
                </a:lnTo>
                <a:lnTo>
                  <a:pt x="13450" y="13350"/>
                </a:lnTo>
                <a:lnTo>
                  <a:pt x="13350" y="13450"/>
                </a:lnTo>
                <a:lnTo>
                  <a:pt x="13200" y="13500"/>
                </a:lnTo>
                <a:lnTo>
                  <a:pt x="13100" y="13551"/>
                </a:lnTo>
                <a:lnTo>
                  <a:pt x="12950" y="13551"/>
                </a:lnTo>
                <a:lnTo>
                  <a:pt x="600" y="13551"/>
                </a:lnTo>
                <a:lnTo>
                  <a:pt x="450" y="13551"/>
                </a:lnTo>
                <a:lnTo>
                  <a:pt x="350" y="13500"/>
                </a:lnTo>
                <a:lnTo>
                  <a:pt x="200" y="13450"/>
                </a:lnTo>
                <a:lnTo>
                  <a:pt x="100" y="13350"/>
                </a:lnTo>
                <a:lnTo>
                  <a:pt x="50" y="13200"/>
                </a:lnTo>
                <a:lnTo>
                  <a:pt x="0" y="13101"/>
                </a:lnTo>
                <a:lnTo>
                  <a:pt x="0" y="12950"/>
                </a:lnTo>
                <a:lnTo>
                  <a:pt x="0" y="12800"/>
                </a:lnTo>
                <a:lnTo>
                  <a:pt x="1550" y="6400"/>
                </a:lnTo>
                <a:close/>
                <a:moveTo>
                  <a:pt x="6400" y="9200"/>
                </a:moveTo>
                <a:lnTo>
                  <a:pt x="6400" y="6400"/>
                </a:lnTo>
                <a:lnTo>
                  <a:pt x="2550" y="6400"/>
                </a:lnTo>
                <a:lnTo>
                  <a:pt x="2400" y="6450"/>
                </a:lnTo>
                <a:lnTo>
                  <a:pt x="2300" y="6600"/>
                </a:lnTo>
                <a:lnTo>
                  <a:pt x="1700" y="9200"/>
                </a:lnTo>
                <a:lnTo>
                  <a:pt x="6400" y="9200"/>
                </a:lnTo>
                <a:close/>
                <a:moveTo>
                  <a:pt x="6400" y="12800"/>
                </a:moveTo>
                <a:lnTo>
                  <a:pt x="6400" y="10000"/>
                </a:lnTo>
                <a:lnTo>
                  <a:pt x="1501" y="10000"/>
                </a:lnTo>
                <a:lnTo>
                  <a:pt x="850" y="12800"/>
                </a:lnTo>
                <a:lnTo>
                  <a:pt x="6400" y="12800"/>
                </a:lnTo>
                <a:close/>
                <a:moveTo>
                  <a:pt x="7150" y="10000"/>
                </a:moveTo>
                <a:lnTo>
                  <a:pt x="7150" y="12800"/>
                </a:lnTo>
                <a:lnTo>
                  <a:pt x="12700" y="12800"/>
                </a:lnTo>
                <a:lnTo>
                  <a:pt x="12050" y="10000"/>
                </a:lnTo>
                <a:lnTo>
                  <a:pt x="7150" y="10000"/>
                </a:lnTo>
                <a:close/>
                <a:moveTo>
                  <a:pt x="7150" y="6400"/>
                </a:moveTo>
                <a:lnTo>
                  <a:pt x="7150" y="9200"/>
                </a:lnTo>
                <a:lnTo>
                  <a:pt x="11850" y="9200"/>
                </a:lnTo>
                <a:lnTo>
                  <a:pt x="11250" y="6600"/>
                </a:lnTo>
                <a:lnTo>
                  <a:pt x="11150" y="6450"/>
                </a:lnTo>
                <a:lnTo>
                  <a:pt x="11050" y="6400"/>
                </a:lnTo>
                <a:lnTo>
                  <a:pt x="7150" y="6400"/>
                </a:lnTo>
                <a:close/>
                <a:moveTo>
                  <a:pt x="5300" y="14200"/>
                </a:moveTo>
                <a:lnTo>
                  <a:pt x="8250" y="14200"/>
                </a:lnTo>
                <a:lnTo>
                  <a:pt x="8250" y="15750"/>
                </a:lnTo>
                <a:lnTo>
                  <a:pt x="11500" y="15750"/>
                </a:lnTo>
                <a:lnTo>
                  <a:pt x="11599" y="15750"/>
                </a:lnTo>
                <a:lnTo>
                  <a:pt x="11700" y="15850"/>
                </a:lnTo>
                <a:lnTo>
                  <a:pt x="11750" y="15900"/>
                </a:lnTo>
                <a:lnTo>
                  <a:pt x="11750" y="16000"/>
                </a:lnTo>
                <a:lnTo>
                  <a:pt x="11750" y="16100"/>
                </a:lnTo>
                <a:lnTo>
                  <a:pt x="11750" y="16200"/>
                </a:lnTo>
                <a:lnTo>
                  <a:pt x="11700" y="16300"/>
                </a:lnTo>
                <a:lnTo>
                  <a:pt x="11599" y="16350"/>
                </a:lnTo>
                <a:lnTo>
                  <a:pt x="11500" y="16400"/>
                </a:lnTo>
                <a:lnTo>
                  <a:pt x="2050" y="16400"/>
                </a:lnTo>
                <a:lnTo>
                  <a:pt x="1951" y="16350"/>
                </a:lnTo>
                <a:lnTo>
                  <a:pt x="1850" y="16300"/>
                </a:lnTo>
                <a:lnTo>
                  <a:pt x="1800" y="16200"/>
                </a:lnTo>
                <a:lnTo>
                  <a:pt x="1800" y="16100"/>
                </a:lnTo>
                <a:lnTo>
                  <a:pt x="1800" y="16000"/>
                </a:lnTo>
                <a:lnTo>
                  <a:pt x="1800" y="15900"/>
                </a:lnTo>
                <a:lnTo>
                  <a:pt x="1850" y="15850"/>
                </a:lnTo>
                <a:lnTo>
                  <a:pt x="1951" y="15750"/>
                </a:lnTo>
                <a:lnTo>
                  <a:pt x="2050" y="15750"/>
                </a:lnTo>
                <a:lnTo>
                  <a:pt x="5300" y="15750"/>
                </a:lnTo>
                <a:lnTo>
                  <a:pt x="5300" y="14200"/>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55" name="文本框 54"/>
          <p:cNvSpPr txBox="1"/>
          <p:nvPr/>
        </p:nvSpPr>
        <p:spPr>
          <a:xfrm>
            <a:off x="4529862" y="4811492"/>
            <a:ext cx="716863" cy="415498"/>
          </a:xfrm>
          <a:prstGeom prst="rect">
            <a:avLst/>
          </a:prstGeom>
          <a:noFill/>
        </p:spPr>
        <p:txBody>
          <a:bodyPr wrap="none" rtlCol="0">
            <a:spAutoFit/>
          </a:bodyPr>
          <a:lstStyle/>
          <a:p>
            <a:pPr algn="ctr"/>
            <a:r>
              <a:rPr lang="en-US" altLang="zh-CN" sz="1050" dirty="0">
                <a:solidFill>
                  <a:schemeClr val="bg1"/>
                </a:solidFill>
                <a:latin typeface="+mn-lt"/>
                <a:ea typeface="微软雅黑" panose="020B0503020204020204" pitchFamily="34" charset="-122"/>
              </a:rPr>
              <a:t>Thermal </a:t>
            </a:r>
          </a:p>
          <a:p>
            <a:pPr algn="ctr"/>
            <a:r>
              <a:rPr lang="en-US" altLang="zh-CN" sz="1050" dirty="0">
                <a:solidFill>
                  <a:schemeClr val="bg1"/>
                </a:solidFill>
                <a:latin typeface="+mn-lt"/>
                <a:ea typeface="微软雅黑" panose="020B0503020204020204" pitchFamily="34" charset="-122"/>
              </a:rPr>
              <a:t>control</a:t>
            </a:r>
            <a:endParaRPr lang="en-US" sz="1050" dirty="0">
              <a:solidFill>
                <a:schemeClr val="bg1"/>
              </a:solidFill>
              <a:latin typeface="+mn-lt"/>
              <a:ea typeface="微软雅黑" panose="020B0503020204020204" pitchFamily="34" charset="-122"/>
            </a:endParaRPr>
          </a:p>
        </p:txBody>
      </p:sp>
      <p:grpSp>
        <p:nvGrpSpPr>
          <p:cNvPr id="56" name="组合 384"/>
          <p:cNvGrpSpPr/>
          <p:nvPr/>
        </p:nvGrpSpPr>
        <p:grpSpPr>
          <a:xfrm>
            <a:off x="4215017" y="4893356"/>
            <a:ext cx="277242" cy="228653"/>
            <a:chOff x="11403384" y="-1648223"/>
            <a:chExt cx="613895" cy="506305"/>
          </a:xfrm>
          <a:solidFill>
            <a:schemeClr val="bg1"/>
          </a:solidFill>
        </p:grpSpPr>
        <p:sp>
          <p:nvSpPr>
            <p:cNvPr id="57" name="Freeform 62"/>
            <p:cNvSpPr>
              <a:spLocks/>
            </p:cNvSpPr>
            <p:nvPr/>
          </p:nvSpPr>
          <p:spPr bwMode="auto">
            <a:xfrm>
              <a:off x="11403384" y="-1483674"/>
              <a:ext cx="493647" cy="341756"/>
            </a:xfrm>
            <a:custGeom>
              <a:avLst/>
              <a:gdLst/>
              <a:ahLst/>
              <a:cxnLst>
                <a:cxn ang="0">
                  <a:pos x="100" y="78"/>
                </a:cxn>
                <a:cxn ang="0">
                  <a:pos x="100" y="78"/>
                </a:cxn>
                <a:cxn ang="0">
                  <a:pos x="90" y="78"/>
                </a:cxn>
                <a:cxn ang="0">
                  <a:pos x="80" y="74"/>
                </a:cxn>
                <a:cxn ang="0">
                  <a:pos x="72" y="70"/>
                </a:cxn>
                <a:cxn ang="0">
                  <a:pos x="66" y="64"/>
                </a:cxn>
                <a:cxn ang="0">
                  <a:pos x="66" y="64"/>
                </a:cxn>
                <a:cxn ang="0">
                  <a:pos x="60" y="58"/>
                </a:cxn>
                <a:cxn ang="0">
                  <a:pos x="56" y="52"/>
                </a:cxn>
                <a:cxn ang="0">
                  <a:pos x="52" y="36"/>
                </a:cxn>
                <a:cxn ang="0">
                  <a:pos x="72" y="36"/>
                </a:cxn>
                <a:cxn ang="0">
                  <a:pos x="36" y="0"/>
                </a:cxn>
                <a:cxn ang="0">
                  <a:pos x="0" y="36"/>
                </a:cxn>
                <a:cxn ang="0">
                  <a:pos x="20" y="36"/>
                </a:cxn>
                <a:cxn ang="0">
                  <a:pos x="20" y="36"/>
                </a:cxn>
                <a:cxn ang="0">
                  <a:pos x="22" y="50"/>
                </a:cxn>
                <a:cxn ang="0">
                  <a:pos x="28" y="64"/>
                </a:cxn>
                <a:cxn ang="0">
                  <a:pos x="34" y="76"/>
                </a:cxn>
                <a:cxn ang="0">
                  <a:pos x="44" y="86"/>
                </a:cxn>
                <a:cxn ang="0">
                  <a:pos x="44" y="86"/>
                </a:cxn>
                <a:cxn ang="0">
                  <a:pos x="56" y="96"/>
                </a:cxn>
                <a:cxn ang="0">
                  <a:pos x="68" y="102"/>
                </a:cxn>
                <a:cxn ang="0">
                  <a:pos x="84" y="108"/>
                </a:cxn>
                <a:cxn ang="0">
                  <a:pos x="100" y="108"/>
                </a:cxn>
                <a:cxn ang="0">
                  <a:pos x="100" y="108"/>
                </a:cxn>
                <a:cxn ang="0">
                  <a:pos x="114" y="108"/>
                </a:cxn>
                <a:cxn ang="0">
                  <a:pos x="130" y="104"/>
                </a:cxn>
                <a:cxn ang="0">
                  <a:pos x="144" y="96"/>
                </a:cxn>
                <a:cxn ang="0">
                  <a:pos x="156" y="86"/>
                </a:cxn>
                <a:cxn ang="0">
                  <a:pos x="134" y="64"/>
                </a:cxn>
                <a:cxn ang="0">
                  <a:pos x="134" y="64"/>
                </a:cxn>
                <a:cxn ang="0">
                  <a:pos x="126" y="70"/>
                </a:cxn>
                <a:cxn ang="0">
                  <a:pos x="118" y="74"/>
                </a:cxn>
                <a:cxn ang="0">
                  <a:pos x="108" y="78"/>
                </a:cxn>
                <a:cxn ang="0">
                  <a:pos x="100" y="78"/>
                </a:cxn>
                <a:cxn ang="0">
                  <a:pos x="100" y="78"/>
                </a:cxn>
              </a:cxnLst>
              <a:rect l="0" t="0" r="r" b="b"/>
              <a:pathLst>
                <a:path w="156" h="108">
                  <a:moveTo>
                    <a:pt x="100" y="78"/>
                  </a:moveTo>
                  <a:lnTo>
                    <a:pt x="100" y="78"/>
                  </a:lnTo>
                  <a:lnTo>
                    <a:pt x="90" y="78"/>
                  </a:lnTo>
                  <a:lnTo>
                    <a:pt x="80" y="74"/>
                  </a:lnTo>
                  <a:lnTo>
                    <a:pt x="72" y="70"/>
                  </a:lnTo>
                  <a:lnTo>
                    <a:pt x="66" y="64"/>
                  </a:lnTo>
                  <a:lnTo>
                    <a:pt x="66" y="64"/>
                  </a:lnTo>
                  <a:lnTo>
                    <a:pt x="60" y="58"/>
                  </a:lnTo>
                  <a:lnTo>
                    <a:pt x="56" y="52"/>
                  </a:lnTo>
                  <a:lnTo>
                    <a:pt x="52" y="36"/>
                  </a:lnTo>
                  <a:lnTo>
                    <a:pt x="72" y="36"/>
                  </a:lnTo>
                  <a:lnTo>
                    <a:pt x="36" y="0"/>
                  </a:lnTo>
                  <a:lnTo>
                    <a:pt x="0" y="36"/>
                  </a:lnTo>
                  <a:lnTo>
                    <a:pt x="20" y="36"/>
                  </a:lnTo>
                  <a:lnTo>
                    <a:pt x="20" y="36"/>
                  </a:lnTo>
                  <a:lnTo>
                    <a:pt x="22" y="50"/>
                  </a:lnTo>
                  <a:lnTo>
                    <a:pt x="28" y="64"/>
                  </a:lnTo>
                  <a:lnTo>
                    <a:pt x="34" y="76"/>
                  </a:lnTo>
                  <a:lnTo>
                    <a:pt x="44" y="86"/>
                  </a:lnTo>
                  <a:lnTo>
                    <a:pt x="44" y="86"/>
                  </a:lnTo>
                  <a:lnTo>
                    <a:pt x="56" y="96"/>
                  </a:lnTo>
                  <a:lnTo>
                    <a:pt x="68" y="102"/>
                  </a:lnTo>
                  <a:lnTo>
                    <a:pt x="84" y="108"/>
                  </a:lnTo>
                  <a:lnTo>
                    <a:pt x="100" y="108"/>
                  </a:lnTo>
                  <a:lnTo>
                    <a:pt x="100" y="108"/>
                  </a:lnTo>
                  <a:lnTo>
                    <a:pt x="114" y="108"/>
                  </a:lnTo>
                  <a:lnTo>
                    <a:pt x="130" y="104"/>
                  </a:lnTo>
                  <a:lnTo>
                    <a:pt x="144" y="96"/>
                  </a:lnTo>
                  <a:lnTo>
                    <a:pt x="156" y="86"/>
                  </a:lnTo>
                  <a:lnTo>
                    <a:pt x="134" y="64"/>
                  </a:lnTo>
                  <a:lnTo>
                    <a:pt x="134" y="64"/>
                  </a:lnTo>
                  <a:lnTo>
                    <a:pt x="126" y="70"/>
                  </a:lnTo>
                  <a:lnTo>
                    <a:pt x="118" y="74"/>
                  </a:lnTo>
                  <a:lnTo>
                    <a:pt x="108" y="78"/>
                  </a:lnTo>
                  <a:lnTo>
                    <a:pt x="100" y="78"/>
                  </a:lnTo>
                  <a:lnTo>
                    <a:pt x="100" y="78"/>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58" name="Freeform 63"/>
            <p:cNvSpPr>
              <a:spLocks/>
            </p:cNvSpPr>
            <p:nvPr/>
          </p:nvSpPr>
          <p:spPr bwMode="auto">
            <a:xfrm>
              <a:off x="11542618" y="-1648223"/>
              <a:ext cx="474661" cy="322769"/>
            </a:xfrm>
            <a:custGeom>
              <a:avLst/>
              <a:gdLst/>
              <a:ahLst/>
              <a:cxnLst>
                <a:cxn ang="0">
                  <a:pos x="22" y="44"/>
                </a:cxn>
                <a:cxn ang="0">
                  <a:pos x="22" y="44"/>
                </a:cxn>
                <a:cxn ang="0">
                  <a:pos x="28" y="38"/>
                </a:cxn>
                <a:cxn ang="0">
                  <a:pos x="36" y="34"/>
                </a:cxn>
                <a:cxn ang="0">
                  <a:pos x="44" y="32"/>
                </a:cxn>
                <a:cxn ang="0">
                  <a:pos x="54" y="30"/>
                </a:cxn>
                <a:cxn ang="0">
                  <a:pos x="54" y="30"/>
                </a:cxn>
                <a:cxn ang="0">
                  <a:pos x="62" y="30"/>
                </a:cxn>
                <a:cxn ang="0">
                  <a:pos x="70" y="32"/>
                </a:cxn>
                <a:cxn ang="0">
                  <a:pos x="78" y="36"/>
                </a:cxn>
                <a:cxn ang="0">
                  <a:pos x="84" y="40"/>
                </a:cxn>
                <a:cxn ang="0">
                  <a:pos x="90" y="46"/>
                </a:cxn>
                <a:cxn ang="0">
                  <a:pos x="96" y="54"/>
                </a:cxn>
                <a:cxn ang="0">
                  <a:pos x="98" y="62"/>
                </a:cxn>
                <a:cxn ang="0">
                  <a:pos x="100" y="70"/>
                </a:cxn>
                <a:cxn ang="0">
                  <a:pos x="82" y="70"/>
                </a:cxn>
                <a:cxn ang="0">
                  <a:pos x="118" y="102"/>
                </a:cxn>
                <a:cxn ang="0">
                  <a:pos x="150" y="68"/>
                </a:cxn>
                <a:cxn ang="0">
                  <a:pos x="130" y="68"/>
                </a:cxn>
                <a:cxn ang="0">
                  <a:pos x="130" y="68"/>
                </a:cxn>
                <a:cxn ang="0">
                  <a:pos x="126" y="54"/>
                </a:cxn>
                <a:cxn ang="0">
                  <a:pos x="122" y="40"/>
                </a:cxn>
                <a:cxn ang="0">
                  <a:pos x="114" y="30"/>
                </a:cxn>
                <a:cxn ang="0">
                  <a:pos x="104" y="20"/>
                </a:cxn>
                <a:cxn ang="0">
                  <a:pos x="94" y="10"/>
                </a:cxn>
                <a:cxn ang="0">
                  <a:pos x="80" y="6"/>
                </a:cxn>
                <a:cxn ang="0">
                  <a:pos x="66" y="2"/>
                </a:cxn>
                <a:cxn ang="0">
                  <a:pos x="52" y="0"/>
                </a:cxn>
                <a:cxn ang="0">
                  <a:pos x="52" y="0"/>
                </a:cxn>
                <a:cxn ang="0">
                  <a:pos x="38" y="4"/>
                </a:cxn>
                <a:cxn ang="0">
                  <a:pos x="24" y="8"/>
                </a:cxn>
                <a:cxn ang="0">
                  <a:pos x="12" y="16"/>
                </a:cxn>
                <a:cxn ang="0">
                  <a:pos x="0" y="26"/>
                </a:cxn>
                <a:cxn ang="0">
                  <a:pos x="22" y="44"/>
                </a:cxn>
              </a:cxnLst>
              <a:rect l="0" t="0" r="r" b="b"/>
              <a:pathLst>
                <a:path w="150" h="102">
                  <a:moveTo>
                    <a:pt x="22" y="44"/>
                  </a:moveTo>
                  <a:lnTo>
                    <a:pt x="22" y="44"/>
                  </a:lnTo>
                  <a:lnTo>
                    <a:pt x="28" y="38"/>
                  </a:lnTo>
                  <a:lnTo>
                    <a:pt x="36" y="34"/>
                  </a:lnTo>
                  <a:lnTo>
                    <a:pt x="44" y="32"/>
                  </a:lnTo>
                  <a:lnTo>
                    <a:pt x="54" y="30"/>
                  </a:lnTo>
                  <a:lnTo>
                    <a:pt x="54" y="30"/>
                  </a:lnTo>
                  <a:lnTo>
                    <a:pt x="62" y="30"/>
                  </a:lnTo>
                  <a:lnTo>
                    <a:pt x="70" y="32"/>
                  </a:lnTo>
                  <a:lnTo>
                    <a:pt x="78" y="36"/>
                  </a:lnTo>
                  <a:lnTo>
                    <a:pt x="84" y="40"/>
                  </a:lnTo>
                  <a:lnTo>
                    <a:pt x="90" y="46"/>
                  </a:lnTo>
                  <a:lnTo>
                    <a:pt x="96" y="54"/>
                  </a:lnTo>
                  <a:lnTo>
                    <a:pt x="98" y="62"/>
                  </a:lnTo>
                  <a:lnTo>
                    <a:pt x="100" y="70"/>
                  </a:lnTo>
                  <a:lnTo>
                    <a:pt x="82" y="70"/>
                  </a:lnTo>
                  <a:lnTo>
                    <a:pt x="118" y="102"/>
                  </a:lnTo>
                  <a:lnTo>
                    <a:pt x="150" y="68"/>
                  </a:lnTo>
                  <a:lnTo>
                    <a:pt x="130" y="68"/>
                  </a:lnTo>
                  <a:lnTo>
                    <a:pt x="130" y="68"/>
                  </a:lnTo>
                  <a:lnTo>
                    <a:pt x="126" y="54"/>
                  </a:lnTo>
                  <a:lnTo>
                    <a:pt x="122" y="40"/>
                  </a:lnTo>
                  <a:lnTo>
                    <a:pt x="114" y="30"/>
                  </a:lnTo>
                  <a:lnTo>
                    <a:pt x="104" y="20"/>
                  </a:lnTo>
                  <a:lnTo>
                    <a:pt x="94" y="10"/>
                  </a:lnTo>
                  <a:lnTo>
                    <a:pt x="80" y="6"/>
                  </a:lnTo>
                  <a:lnTo>
                    <a:pt x="66" y="2"/>
                  </a:lnTo>
                  <a:lnTo>
                    <a:pt x="52" y="0"/>
                  </a:lnTo>
                  <a:lnTo>
                    <a:pt x="52" y="0"/>
                  </a:lnTo>
                  <a:lnTo>
                    <a:pt x="38" y="4"/>
                  </a:lnTo>
                  <a:lnTo>
                    <a:pt x="24" y="8"/>
                  </a:lnTo>
                  <a:lnTo>
                    <a:pt x="12" y="16"/>
                  </a:lnTo>
                  <a:lnTo>
                    <a:pt x="0" y="26"/>
                  </a:lnTo>
                  <a:lnTo>
                    <a:pt x="22" y="4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grpSp>
      <p:grpSp>
        <p:nvGrpSpPr>
          <p:cNvPr id="11" name="组合 10"/>
          <p:cNvGrpSpPr/>
          <p:nvPr/>
        </p:nvGrpSpPr>
        <p:grpSpPr>
          <a:xfrm>
            <a:off x="6079336" y="4503839"/>
            <a:ext cx="649933" cy="253916"/>
            <a:chOff x="9873539" y="5167188"/>
            <a:chExt cx="866652" cy="338584"/>
          </a:xfrm>
        </p:grpSpPr>
        <p:sp>
          <p:nvSpPr>
            <p:cNvPr id="39" name="文本框 38"/>
            <p:cNvSpPr txBox="1"/>
            <p:nvPr/>
          </p:nvSpPr>
          <p:spPr>
            <a:xfrm>
              <a:off x="10196832" y="5167188"/>
              <a:ext cx="543359" cy="338584"/>
            </a:xfrm>
            <a:prstGeom prst="rect">
              <a:avLst/>
            </a:prstGeom>
            <a:noFill/>
          </p:spPr>
          <p:txBody>
            <a:bodyPr wrap="none" rtlCol="0">
              <a:spAutoFit/>
            </a:bodyPr>
            <a:lstStyle/>
            <a:p>
              <a:pPr algn="ctr"/>
              <a:r>
                <a:rPr lang="en-US" altLang="zh-CN" sz="1050" dirty="0">
                  <a:solidFill>
                    <a:schemeClr val="bg1"/>
                  </a:solidFill>
                  <a:latin typeface="+mn-lt"/>
                  <a:ea typeface="微软雅黑" panose="020B0503020204020204" pitchFamily="34" charset="-122"/>
                </a:rPr>
                <a:t>IOT</a:t>
              </a:r>
              <a:endParaRPr lang="en-US" sz="1050" dirty="0">
                <a:solidFill>
                  <a:schemeClr val="bg1"/>
                </a:solidFill>
                <a:latin typeface="+mn-lt"/>
                <a:ea typeface="微软雅黑" panose="020B0503020204020204" pitchFamily="34" charset="-122"/>
              </a:endParaRPr>
            </a:p>
          </p:txBody>
        </p:sp>
        <p:grpSp>
          <p:nvGrpSpPr>
            <p:cNvPr id="59" name="组合 58"/>
            <p:cNvGrpSpPr/>
            <p:nvPr/>
          </p:nvGrpSpPr>
          <p:grpSpPr>
            <a:xfrm>
              <a:off x="9873539" y="5195076"/>
              <a:ext cx="252000" cy="252000"/>
              <a:chOff x="9675009" y="5207711"/>
              <a:chExt cx="252000" cy="252000"/>
            </a:xfrm>
          </p:grpSpPr>
          <p:sp>
            <p:nvSpPr>
              <p:cNvPr id="60" name="Freeform 553"/>
              <p:cNvSpPr>
                <a:spLocks noEditPoints="1"/>
              </p:cNvSpPr>
              <p:nvPr/>
            </p:nvSpPr>
            <p:spPr bwMode="auto">
              <a:xfrm>
                <a:off x="9823624" y="5359780"/>
                <a:ext cx="103385" cy="99931"/>
              </a:xfrm>
              <a:custGeom>
                <a:avLst/>
                <a:gdLst/>
                <a:ahLst/>
                <a:cxnLst>
                  <a:cxn ang="0">
                    <a:pos x="0" y="24"/>
                  </a:cxn>
                  <a:cxn ang="0">
                    <a:pos x="0" y="52"/>
                  </a:cxn>
                  <a:cxn ang="0">
                    <a:pos x="0" y="52"/>
                  </a:cxn>
                  <a:cxn ang="0">
                    <a:pos x="2" y="62"/>
                  </a:cxn>
                  <a:cxn ang="0">
                    <a:pos x="8" y="70"/>
                  </a:cxn>
                  <a:cxn ang="0">
                    <a:pos x="16" y="76"/>
                  </a:cxn>
                  <a:cxn ang="0">
                    <a:pos x="26" y="78"/>
                  </a:cxn>
                  <a:cxn ang="0">
                    <a:pos x="10" y="92"/>
                  </a:cxn>
                  <a:cxn ang="0">
                    <a:pos x="86" y="92"/>
                  </a:cxn>
                  <a:cxn ang="0">
                    <a:pos x="72" y="78"/>
                  </a:cxn>
                  <a:cxn ang="0">
                    <a:pos x="72" y="78"/>
                  </a:cxn>
                  <a:cxn ang="0">
                    <a:pos x="82" y="76"/>
                  </a:cxn>
                  <a:cxn ang="0">
                    <a:pos x="88" y="70"/>
                  </a:cxn>
                  <a:cxn ang="0">
                    <a:pos x="94" y="62"/>
                  </a:cxn>
                  <a:cxn ang="0">
                    <a:pos x="96" y="52"/>
                  </a:cxn>
                  <a:cxn ang="0">
                    <a:pos x="96" y="24"/>
                  </a:cxn>
                  <a:cxn ang="0">
                    <a:pos x="96" y="24"/>
                  </a:cxn>
                  <a:cxn ang="0">
                    <a:pos x="94" y="14"/>
                  </a:cxn>
                  <a:cxn ang="0">
                    <a:pos x="88" y="6"/>
                  </a:cxn>
                  <a:cxn ang="0">
                    <a:pos x="80" y="2"/>
                  </a:cxn>
                  <a:cxn ang="0">
                    <a:pos x="72" y="0"/>
                  </a:cxn>
                  <a:cxn ang="0">
                    <a:pos x="26" y="0"/>
                  </a:cxn>
                  <a:cxn ang="0">
                    <a:pos x="26" y="0"/>
                  </a:cxn>
                  <a:cxn ang="0">
                    <a:pos x="16" y="2"/>
                  </a:cxn>
                  <a:cxn ang="0">
                    <a:pos x="8" y="6"/>
                  </a:cxn>
                  <a:cxn ang="0">
                    <a:pos x="2" y="14"/>
                  </a:cxn>
                  <a:cxn ang="0">
                    <a:pos x="0" y="24"/>
                  </a:cxn>
                  <a:cxn ang="0">
                    <a:pos x="0" y="24"/>
                  </a:cxn>
                  <a:cxn ang="0">
                    <a:pos x="76" y="24"/>
                  </a:cxn>
                  <a:cxn ang="0">
                    <a:pos x="76" y="52"/>
                  </a:cxn>
                  <a:cxn ang="0">
                    <a:pos x="76" y="52"/>
                  </a:cxn>
                  <a:cxn ang="0">
                    <a:pos x="74" y="56"/>
                  </a:cxn>
                  <a:cxn ang="0">
                    <a:pos x="72" y="56"/>
                  </a:cxn>
                  <a:cxn ang="0">
                    <a:pos x="26" y="56"/>
                  </a:cxn>
                  <a:cxn ang="0">
                    <a:pos x="26" y="56"/>
                  </a:cxn>
                  <a:cxn ang="0">
                    <a:pos x="22" y="56"/>
                  </a:cxn>
                  <a:cxn ang="0">
                    <a:pos x="22" y="52"/>
                  </a:cxn>
                  <a:cxn ang="0">
                    <a:pos x="22" y="24"/>
                  </a:cxn>
                  <a:cxn ang="0">
                    <a:pos x="22" y="24"/>
                  </a:cxn>
                  <a:cxn ang="0">
                    <a:pos x="22" y="22"/>
                  </a:cxn>
                  <a:cxn ang="0">
                    <a:pos x="26" y="20"/>
                  </a:cxn>
                  <a:cxn ang="0">
                    <a:pos x="72" y="20"/>
                  </a:cxn>
                  <a:cxn ang="0">
                    <a:pos x="72" y="20"/>
                  </a:cxn>
                  <a:cxn ang="0">
                    <a:pos x="74" y="22"/>
                  </a:cxn>
                  <a:cxn ang="0">
                    <a:pos x="76" y="24"/>
                  </a:cxn>
                  <a:cxn ang="0">
                    <a:pos x="76" y="24"/>
                  </a:cxn>
                </a:cxnLst>
                <a:rect l="0" t="0" r="r" b="b"/>
                <a:pathLst>
                  <a:path w="96" h="92">
                    <a:moveTo>
                      <a:pt x="0" y="24"/>
                    </a:moveTo>
                    <a:lnTo>
                      <a:pt x="0" y="52"/>
                    </a:lnTo>
                    <a:lnTo>
                      <a:pt x="0" y="52"/>
                    </a:lnTo>
                    <a:lnTo>
                      <a:pt x="2" y="62"/>
                    </a:lnTo>
                    <a:lnTo>
                      <a:pt x="8" y="70"/>
                    </a:lnTo>
                    <a:lnTo>
                      <a:pt x="16" y="76"/>
                    </a:lnTo>
                    <a:lnTo>
                      <a:pt x="26" y="78"/>
                    </a:lnTo>
                    <a:lnTo>
                      <a:pt x="10" y="92"/>
                    </a:lnTo>
                    <a:lnTo>
                      <a:pt x="86" y="92"/>
                    </a:lnTo>
                    <a:lnTo>
                      <a:pt x="72" y="78"/>
                    </a:lnTo>
                    <a:lnTo>
                      <a:pt x="72" y="78"/>
                    </a:lnTo>
                    <a:lnTo>
                      <a:pt x="82" y="76"/>
                    </a:lnTo>
                    <a:lnTo>
                      <a:pt x="88" y="70"/>
                    </a:lnTo>
                    <a:lnTo>
                      <a:pt x="94" y="62"/>
                    </a:lnTo>
                    <a:lnTo>
                      <a:pt x="96" y="52"/>
                    </a:lnTo>
                    <a:lnTo>
                      <a:pt x="96" y="24"/>
                    </a:lnTo>
                    <a:lnTo>
                      <a:pt x="96" y="24"/>
                    </a:lnTo>
                    <a:lnTo>
                      <a:pt x="94" y="14"/>
                    </a:lnTo>
                    <a:lnTo>
                      <a:pt x="88" y="6"/>
                    </a:lnTo>
                    <a:lnTo>
                      <a:pt x="80" y="2"/>
                    </a:lnTo>
                    <a:lnTo>
                      <a:pt x="72" y="0"/>
                    </a:lnTo>
                    <a:lnTo>
                      <a:pt x="26" y="0"/>
                    </a:lnTo>
                    <a:lnTo>
                      <a:pt x="26" y="0"/>
                    </a:lnTo>
                    <a:lnTo>
                      <a:pt x="16" y="2"/>
                    </a:lnTo>
                    <a:lnTo>
                      <a:pt x="8" y="6"/>
                    </a:lnTo>
                    <a:lnTo>
                      <a:pt x="2" y="14"/>
                    </a:lnTo>
                    <a:lnTo>
                      <a:pt x="0" y="24"/>
                    </a:lnTo>
                    <a:lnTo>
                      <a:pt x="0" y="24"/>
                    </a:lnTo>
                    <a:close/>
                    <a:moveTo>
                      <a:pt x="76" y="24"/>
                    </a:moveTo>
                    <a:lnTo>
                      <a:pt x="76" y="52"/>
                    </a:lnTo>
                    <a:lnTo>
                      <a:pt x="76" y="52"/>
                    </a:lnTo>
                    <a:lnTo>
                      <a:pt x="74" y="56"/>
                    </a:lnTo>
                    <a:lnTo>
                      <a:pt x="72" y="56"/>
                    </a:lnTo>
                    <a:lnTo>
                      <a:pt x="26" y="56"/>
                    </a:lnTo>
                    <a:lnTo>
                      <a:pt x="26" y="56"/>
                    </a:lnTo>
                    <a:lnTo>
                      <a:pt x="22" y="56"/>
                    </a:lnTo>
                    <a:lnTo>
                      <a:pt x="22" y="52"/>
                    </a:lnTo>
                    <a:lnTo>
                      <a:pt x="22" y="24"/>
                    </a:lnTo>
                    <a:lnTo>
                      <a:pt x="22" y="24"/>
                    </a:lnTo>
                    <a:lnTo>
                      <a:pt x="22" y="22"/>
                    </a:lnTo>
                    <a:lnTo>
                      <a:pt x="26" y="20"/>
                    </a:lnTo>
                    <a:lnTo>
                      <a:pt x="72" y="20"/>
                    </a:lnTo>
                    <a:lnTo>
                      <a:pt x="72" y="20"/>
                    </a:lnTo>
                    <a:lnTo>
                      <a:pt x="74" y="22"/>
                    </a:lnTo>
                    <a:lnTo>
                      <a:pt x="76" y="24"/>
                    </a:lnTo>
                    <a:lnTo>
                      <a:pt x="76" y="24"/>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61" name="Freeform 554"/>
              <p:cNvSpPr>
                <a:spLocks noEditPoints="1"/>
              </p:cNvSpPr>
              <p:nvPr/>
            </p:nvSpPr>
            <p:spPr bwMode="auto">
              <a:xfrm>
                <a:off x="9675009" y="5359780"/>
                <a:ext cx="103385" cy="99931"/>
              </a:xfrm>
              <a:custGeom>
                <a:avLst/>
                <a:gdLst/>
                <a:ahLst/>
                <a:cxnLst>
                  <a:cxn ang="0">
                    <a:pos x="26" y="78"/>
                  </a:cxn>
                  <a:cxn ang="0">
                    <a:pos x="10" y="92"/>
                  </a:cxn>
                  <a:cxn ang="0">
                    <a:pos x="86" y="92"/>
                  </a:cxn>
                  <a:cxn ang="0">
                    <a:pos x="72" y="78"/>
                  </a:cxn>
                  <a:cxn ang="0">
                    <a:pos x="72" y="78"/>
                  </a:cxn>
                  <a:cxn ang="0">
                    <a:pos x="82" y="76"/>
                  </a:cxn>
                  <a:cxn ang="0">
                    <a:pos x="90" y="70"/>
                  </a:cxn>
                  <a:cxn ang="0">
                    <a:pos x="94" y="62"/>
                  </a:cxn>
                  <a:cxn ang="0">
                    <a:pos x="96" y="52"/>
                  </a:cxn>
                  <a:cxn ang="0">
                    <a:pos x="96" y="24"/>
                  </a:cxn>
                  <a:cxn ang="0">
                    <a:pos x="96" y="24"/>
                  </a:cxn>
                  <a:cxn ang="0">
                    <a:pos x="94" y="14"/>
                  </a:cxn>
                  <a:cxn ang="0">
                    <a:pos x="88" y="6"/>
                  </a:cxn>
                  <a:cxn ang="0">
                    <a:pos x="80" y="2"/>
                  </a:cxn>
                  <a:cxn ang="0">
                    <a:pos x="72" y="0"/>
                  </a:cxn>
                  <a:cxn ang="0">
                    <a:pos x="26" y="0"/>
                  </a:cxn>
                  <a:cxn ang="0">
                    <a:pos x="26" y="0"/>
                  </a:cxn>
                  <a:cxn ang="0">
                    <a:pos x="16" y="2"/>
                  </a:cxn>
                  <a:cxn ang="0">
                    <a:pos x="8" y="6"/>
                  </a:cxn>
                  <a:cxn ang="0">
                    <a:pos x="2" y="14"/>
                  </a:cxn>
                  <a:cxn ang="0">
                    <a:pos x="0" y="24"/>
                  </a:cxn>
                  <a:cxn ang="0">
                    <a:pos x="0" y="52"/>
                  </a:cxn>
                  <a:cxn ang="0">
                    <a:pos x="0" y="52"/>
                  </a:cxn>
                  <a:cxn ang="0">
                    <a:pos x="2" y="62"/>
                  </a:cxn>
                  <a:cxn ang="0">
                    <a:pos x="8" y="70"/>
                  </a:cxn>
                  <a:cxn ang="0">
                    <a:pos x="16" y="76"/>
                  </a:cxn>
                  <a:cxn ang="0">
                    <a:pos x="26" y="78"/>
                  </a:cxn>
                  <a:cxn ang="0">
                    <a:pos x="26" y="78"/>
                  </a:cxn>
                  <a:cxn ang="0">
                    <a:pos x="22" y="24"/>
                  </a:cxn>
                  <a:cxn ang="0">
                    <a:pos x="22" y="24"/>
                  </a:cxn>
                  <a:cxn ang="0">
                    <a:pos x="22" y="22"/>
                  </a:cxn>
                  <a:cxn ang="0">
                    <a:pos x="26" y="20"/>
                  </a:cxn>
                  <a:cxn ang="0">
                    <a:pos x="72" y="20"/>
                  </a:cxn>
                  <a:cxn ang="0">
                    <a:pos x="72" y="20"/>
                  </a:cxn>
                  <a:cxn ang="0">
                    <a:pos x="74" y="22"/>
                  </a:cxn>
                  <a:cxn ang="0">
                    <a:pos x="76" y="24"/>
                  </a:cxn>
                  <a:cxn ang="0">
                    <a:pos x="76" y="52"/>
                  </a:cxn>
                  <a:cxn ang="0">
                    <a:pos x="76" y="52"/>
                  </a:cxn>
                  <a:cxn ang="0">
                    <a:pos x="74" y="56"/>
                  </a:cxn>
                  <a:cxn ang="0">
                    <a:pos x="72" y="56"/>
                  </a:cxn>
                  <a:cxn ang="0">
                    <a:pos x="26" y="56"/>
                  </a:cxn>
                  <a:cxn ang="0">
                    <a:pos x="26" y="56"/>
                  </a:cxn>
                  <a:cxn ang="0">
                    <a:pos x="22" y="56"/>
                  </a:cxn>
                  <a:cxn ang="0">
                    <a:pos x="22" y="52"/>
                  </a:cxn>
                  <a:cxn ang="0">
                    <a:pos x="22" y="24"/>
                  </a:cxn>
                </a:cxnLst>
                <a:rect l="0" t="0" r="r" b="b"/>
                <a:pathLst>
                  <a:path w="96" h="92">
                    <a:moveTo>
                      <a:pt x="26" y="78"/>
                    </a:moveTo>
                    <a:lnTo>
                      <a:pt x="10" y="92"/>
                    </a:lnTo>
                    <a:lnTo>
                      <a:pt x="86" y="92"/>
                    </a:lnTo>
                    <a:lnTo>
                      <a:pt x="72" y="78"/>
                    </a:lnTo>
                    <a:lnTo>
                      <a:pt x="72" y="78"/>
                    </a:lnTo>
                    <a:lnTo>
                      <a:pt x="82" y="76"/>
                    </a:lnTo>
                    <a:lnTo>
                      <a:pt x="90" y="70"/>
                    </a:lnTo>
                    <a:lnTo>
                      <a:pt x="94" y="62"/>
                    </a:lnTo>
                    <a:lnTo>
                      <a:pt x="96" y="52"/>
                    </a:lnTo>
                    <a:lnTo>
                      <a:pt x="96" y="24"/>
                    </a:lnTo>
                    <a:lnTo>
                      <a:pt x="96" y="24"/>
                    </a:lnTo>
                    <a:lnTo>
                      <a:pt x="94" y="14"/>
                    </a:lnTo>
                    <a:lnTo>
                      <a:pt x="88" y="6"/>
                    </a:lnTo>
                    <a:lnTo>
                      <a:pt x="80" y="2"/>
                    </a:lnTo>
                    <a:lnTo>
                      <a:pt x="72" y="0"/>
                    </a:lnTo>
                    <a:lnTo>
                      <a:pt x="26" y="0"/>
                    </a:lnTo>
                    <a:lnTo>
                      <a:pt x="26" y="0"/>
                    </a:lnTo>
                    <a:lnTo>
                      <a:pt x="16" y="2"/>
                    </a:lnTo>
                    <a:lnTo>
                      <a:pt x="8" y="6"/>
                    </a:lnTo>
                    <a:lnTo>
                      <a:pt x="2" y="14"/>
                    </a:lnTo>
                    <a:lnTo>
                      <a:pt x="0" y="24"/>
                    </a:lnTo>
                    <a:lnTo>
                      <a:pt x="0" y="52"/>
                    </a:lnTo>
                    <a:lnTo>
                      <a:pt x="0" y="52"/>
                    </a:lnTo>
                    <a:lnTo>
                      <a:pt x="2" y="62"/>
                    </a:lnTo>
                    <a:lnTo>
                      <a:pt x="8" y="70"/>
                    </a:lnTo>
                    <a:lnTo>
                      <a:pt x="16" y="76"/>
                    </a:lnTo>
                    <a:lnTo>
                      <a:pt x="26" y="78"/>
                    </a:lnTo>
                    <a:lnTo>
                      <a:pt x="26" y="78"/>
                    </a:lnTo>
                    <a:close/>
                    <a:moveTo>
                      <a:pt x="22" y="24"/>
                    </a:moveTo>
                    <a:lnTo>
                      <a:pt x="22" y="24"/>
                    </a:lnTo>
                    <a:lnTo>
                      <a:pt x="22" y="22"/>
                    </a:lnTo>
                    <a:lnTo>
                      <a:pt x="26" y="20"/>
                    </a:lnTo>
                    <a:lnTo>
                      <a:pt x="72" y="20"/>
                    </a:lnTo>
                    <a:lnTo>
                      <a:pt x="72" y="20"/>
                    </a:lnTo>
                    <a:lnTo>
                      <a:pt x="74" y="22"/>
                    </a:lnTo>
                    <a:lnTo>
                      <a:pt x="76" y="24"/>
                    </a:lnTo>
                    <a:lnTo>
                      <a:pt x="76" y="52"/>
                    </a:lnTo>
                    <a:lnTo>
                      <a:pt x="76" y="52"/>
                    </a:lnTo>
                    <a:lnTo>
                      <a:pt x="74" y="56"/>
                    </a:lnTo>
                    <a:lnTo>
                      <a:pt x="72" y="56"/>
                    </a:lnTo>
                    <a:lnTo>
                      <a:pt x="26" y="56"/>
                    </a:lnTo>
                    <a:lnTo>
                      <a:pt x="26" y="56"/>
                    </a:lnTo>
                    <a:lnTo>
                      <a:pt x="22" y="56"/>
                    </a:lnTo>
                    <a:lnTo>
                      <a:pt x="22" y="52"/>
                    </a:lnTo>
                    <a:lnTo>
                      <a:pt x="22" y="24"/>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62" name="Freeform 555"/>
              <p:cNvSpPr>
                <a:spLocks noEditPoints="1"/>
              </p:cNvSpPr>
              <p:nvPr/>
            </p:nvSpPr>
            <p:spPr bwMode="auto">
              <a:xfrm>
                <a:off x="9750394" y="5207711"/>
                <a:ext cx="103385" cy="102103"/>
              </a:xfrm>
              <a:custGeom>
                <a:avLst/>
                <a:gdLst/>
                <a:ahLst/>
                <a:cxnLst>
                  <a:cxn ang="0">
                    <a:pos x="24" y="78"/>
                  </a:cxn>
                  <a:cxn ang="0">
                    <a:pos x="10" y="94"/>
                  </a:cxn>
                  <a:cxn ang="0">
                    <a:pos x="86" y="94"/>
                  </a:cxn>
                  <a:cxn ang="0">
                    <a:pos x="70" y="78"/>
                  </a:cxn>
                  <a:cxn ang="0">
                    <a:pos x="70" y="78"/>
                  </a:cxn>
                  <a:cxn ang="0">
                    <a:pos x="80" y="76"/>
                  </a:cxn>
                  <a:cxn ang="0">
                    <a:pos x="88" y="72"/>
                  </a:cxn>
                  <a:cxn ang="0">
                    <a:pos x="94" y="64"/>
                  </a:cxn>
                  <a:cxn ang="0">
                    <a:pos x="96" y="54"/>
                  </a:cxn>
                  <a:cxn ang="0">
                    <a:pos x="96" y="26"/>
                  </a:cxn>
                  <a:cxn ang="0">
                    <a:pos x="96" y="26"/>
                  </a:cxn>
                  <a:cxn ang="0">
                    <a:pos x="94" y="16"/>
                  </a:cxn>
                  <a:cxn ang="0">
                    <a:pos x="88" y="8"/>
                  </a:cxn>
                  <a:cxn ang="0">
                    <a:pos x="80" y="2"/>
                  </a:cxn>
                  <a:cxn ang="0">
                    <a:pos x="70" y="0"/>
                  </a:cxn>
                  <a:cxn ang="0">
                    <a:pos x="24" y="0"/>
                  </a:cxn>
                  <a:cxn ang="0">
                    <a:pos x="24" y="0"/>
                  </a:cxn>
                  <a:cxn ang="0">
                    <a:pos x="14" y="2"/>
                  </a:cxn>
                  <a:cxn ang="0">
                    <a:pos x="6" y="8"/>
                  </a:cxn>
                  <a:cxn ang="0">
                    <a:pos x="2" y="16"/>
                  </a:cxn>
                  <a:cxn ang="0">
                    <a:pos x="0" y="26"/>
                  </a:cxn>
                  <a:cxn ang="0">
                    <a:pos x="0" y="54"/>
                  </a:cxn>
                  <a:cxn ang="0">
                    <a:pos x="0" y="54"/>
                  </a:cxn>
                  <a:cxn ang="0">
                    <a:pos x="2" y="64"/>
                  </a:cxn>
                  <a:cxn ang="0">
                    <a:pos x="6" y="72"/>
                  </a:cxn>
                  <a:cxn ang="0">
                    <a:pos x="14" y="76"/>
                  </a:cxn>
                  <a:cxn ang="0">
                    <a:pos x="24" y="78"/>
                  </a:cxn>
                  <a:cxn ang="0">
                    <a:pos x="24" y="78"/>
                  </a:cxn>
                  <a:cxn ang="0">
                    <a:pos x="20" y="26"/>
                  </a:cxn>
                  <a:cxn ang="0">
                    <a:pos x="20" y="26"/>
                  </a:cxn>
                  <a:cxn ang="0">
                    <a:pos x="22" y="22"/>
                  </a:cxn>
                  <a:cxn ang="0">
                    <a:pos x="24" y="22"/>
                  </a:cxn>
                  <a:cxn ang="0">
                    <a:pos x="70" y="22"/>
                  </a:cxn>
                  <a:cxn ang="0">
                    <a:pos x="70" y="22"/>
                  </a:cxn>
                  <a:cxn ang="0">
                    <a:pos x="74" y="22"/>
                  </a:cxn>
                  <a:cxn ang="0">
                    <a:pos x="74" y="26"/>
                  </a:cxn>
                  <a:cxn ang="0">
                    <a:pos x="74" y="54"/>
                  </a:cxn>
                  <a:cxn ang="0">
                    <a:pos x="74" y="54"/>
                  </a:cxn>
                  <a:cxn ang="0">
                    <a:pos x="74" y="56"/>
                  </a:cxn>
                  <a:cxn ang="0">
                    <a:pos x="70" y="58"/>
                  </a:cxn>
                  <a:cxn ang="0">
                    <a:pos x="24" y="58"/>
                  </a:cxn>
                  <a:cxn ang="0">
                    <a:pos x="24" y="58"/>
                  </a:cxn>
                  <a:cxn ang="0">
                    <a:pos x="22" y="56"/>
                  </a:cxn>
                  <a:cxn ang="0">
                    <a:pos x="20" y="54"/>
                  </a:cxn>
                  <a:cxn ang="0">
                    <a:pos x="20" y="26"/>
                  </a:cxn>
                </a:cxnLst>
                <a:rect l="0" t="0" r="r" b="b"/>
                <a:pathLst>
                  <a:path w="96" h="94">
                    <a:moveTo>
                      <a:pt x="24" y="78"/>
                    </a:moveTo>
                    <a:lnTo>
                      <a:pt x="10" y="94"/>
                    </a:lnTo>
                    <a:lnTo>
                      <a:pt x="86" y="94"/>
                    </a:lnTo>
                    <a:lnTo>
                      <a:pt x="70" y="78"/>
                    </a:lnTo>
                    <a:lnTo>
                      <a:pt x="70" y="78"/>
                    </a:lnTo>
                    <a:lnTo>
                      <a:pt x="80" y="76"/>
                    </a:lnTo>
                    <a:lnTo>
                      <a:pt x="88" y="72"/>
                    </a:lnTo>
                    <a:lnTo>
                      <a:pt x="94" y="64"/>
                    </a:lnTo>
                    <a:lnTo>
                      <a:pt x="96" y="54"/>
                    </a:lnTo>
                    <a:lnTo>
                      <a:pt x="96" y="26"/>
                    </a:lnTo>
                    <a:lnTo>
                      <a:pt x="96" y="26"/>
                    </a:lnTo>
                    <a:lnTo>
                      <a:pt x="94" y="16"/>
                    </a:lnTo>
                    <a:lnTo>
                      <a:pt x="88" y="8"/>
                    </a:lnTo>
                    <a:lnTo>
                      <a:pt x="80" y="2"/>
                    </a:lnTo>
                    <a:lnTo>
                      <a:pt x="70" y="0"/>
                    </a:lnTo>
                    <a:lnTo>
                      <a:pt x="24" y="0"/>
                    </a:lnTo>
                    <a:lnTo>
                      <a:pt x="24" y="0"/>
                    </a:lnTo>
                    <a:lnTo>
                      <a:pt x="14" y="2"/>
                    </a:lnTo>
                    <a:lnTo>
                      <a:pt x="6" y="8"/>
                    </a:lnTo>
                    <a:lnTo>
                      <a:pt x="2" y="16"/>
                    </a:lnTo>
                    <a:lnTo>
                      <a:pt x="0" y="26"/>
                    </a:lnTo>
                    <a:lnTo>
                      <a:pt x="0" y="54"/>
                    </a:lnTo>
                    <a:lnTo>
                      <a:pt x="0" y="54"/>
                    </a:lnTo>
                    <a:lnTo>
                      <a:pt x="2" y="64"/>
                    </a:lnTo>
                    <a:lnTo>
                      <a:pt x="6" y="72"/>
                    </a:lnTo>
                    <a:lnTo>
                      <a:pt x="14" y="76"/>
                    </a:lnTo>
                    <a:lnTo>
                      <a:pt x="24" y="78"/>
                    </a:lnTo>
                    <a:lnTo>
                      <a:pt x="24" y="78"/>
                    </a:lnTo>
                    <a:close/>
                    <a:moveTo>
                      <a:pt x="20" y="26"/>
                    </a:moveTo>
                    <a:lnTo>
                      <a:pt x="20" y="26"/>
                    </a:lnTo>
                    <a:lnTo>
                      <a:pt x="22" y="22"/>
                    </a:lnTo>
                    <a:lnTo>
                      <a:pt x="24" y="22"/>
                    </a:lnTo>
                    <a:lnTo>
                      <a:pt x="70" y="22"/>
                    </a:lnTo>
                    <a:lnTo>
                      <a:pt x="70" y="22"/>
                    </a:lnTo>
                    <a:lnTo>
                      <a:pt x="74" y="22"/>
                    </a:lnTo>
                    <a:lnTo>
                      <a:pt x="74" y="26"/>
                    </a:lnTo>
                    <a:lnTo>
                      <a:pt x="74" y="54"/>
                    </a:lnTo>
                    <a:lnTo>
                      <a:pt x="74" y="54"/>
                    </a:lnTo>
                    <a:lnTo>
                      <a:pt x="74" y="56"/>
                    </a:lnTo>
                    <a:lnTo>
                      <a:pt x="70" y="58"/>
                    </a:lnTo>
                    <a:lnTo>
                      <a:pt x="24" y="58"/>
                    </a:lnTo>
                    <a:lnTo>
                      <a:pt x="24" y="58"/>
                    </a:lnTo>
                    <a:lnTo>
                      <a:pt x="22" y="56"/>
                    </a:lnTo>
                    <a:lnTo>
                      <a:pt x="20" y="54"/>
                    </a:lnTo>
                    <a:lnTo>
                      <a:pt x="20" y="26"/>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63" name="Freeform 556"/>
              <p:cNvSpPr>
                <a:spLocks/>
              </p:cNvSpPr>
              <p:nvPr/>
            </p:nvSpPr>
            <p:spPr bwMode="auto">
              <a:xfrm>
                <a:off x="9726701" y="5314159"/>
                <a:ext cx="157231" cy="39103"/>
              </a:xfrm>
              <a:custGeom>
                <a:avLst/>
                <a:gdLst/>
                <a:ahLst/>
                <a:cxnLst>
                  <a:cxn ang="0">
                    <a:pos x="4" y="36"/>
                  </a:cxn>
                  <a:cxn ang="0">
                    <a:pos x="4" y="36"/>
                  </a:cxn>
                  <a:cxn ang="0">
                    <a:pos x="6" y="34"/>
                  </a:cxn>
                  <a:cxn ang="0">
                    <a:pos x="8" y="32"/>
                  </a:cxn>
                  <a:cxn ang="0">
                    <a:pos x="8" y="26"/>
                  </a:cxn>
                  <a:cxn ang="0">
                    <a:pos x="138" y="26"/>
                  </a:cxn>
                  <a:cxn ang="0">
                    <a:pos x="138" y="32"/>
                  </a:cxn>
                  <a:cxn ang="0">
                    <a:pos x="138" y="32"/>
                  </a:cxn>
                  <a:cxn ang="0">
                    <a:pos x="138" y="34"/>
                  </a:cxn>
                  <a:cxn ang="0">
                    <a:pos x="142" y="36"/>
                  </a:cxn>
                  <a:cxn ang="0">
                    <a:pos x="142" y="36"/>
                  </a:cxn>
                  <a:cxn ang="0">
                    <a:pos x="144" y="34"/>
                  </a:cxn>
                  <a:cxn ang="0">
                    <a:pos x="146" y="32"/>
                  </a:cxn>
                  <a:cxn ang="0">
                    <a:pos x="146" y="22"/>
                  </a:cxn>
                  <a:cxn ang="0">
                    <a:pos x="146" y="22"/>
                  </a:cxn>
                  <a:cxn ang="0">
                    <a:pos x="144" y="18"/>
                  </a:cxn>
                  <a:cxn ang="0">
                    <a:pos x="144" y="18"/>
                  </a:cxn>
                  <a:cxn ang="0">
                    <a:pos x="142" y="16"/>
                  </a:cxn>
                  <a:cxn ang="0">
                    <a:pos x="76" y="16"/>
                  </a:cxn>
                  <a:cxn ang="0">
                    <a:pos x="76" y="4"/>
                  </a:cxn>
                  <a:cxn ang="0">
                    <a:pos x="76" y="4"/>
                  </a:cxn>
                  <a:cxn ang="0">
                    <a:pos x="76" y="2"/>
                  </a:cxn>
                  <a:cxn ang="0">
                    <a:pos x="72" y="0"/>
                  </a:cxn>
                  <a:cxn ang="0">
                    <a:pos x="72" y="0"/>
                  </a:cxn>
                  <a:cxn ang="0">
                    <a:pos x="70" y="2"/>
                  </a:cxn>
                  <a:cxn ang="0">
                    <a:pos x="68" y="4"/>
                  </a:cxn>
                  <a:cxn ang="0">
                    <a:pos x="68" y="16"/>
                  </a:cxn>
                  <a:cxn ang="0">
                    <a:pos x="4" y="16"/>
                  </a:cxn>
                  <a:cxn ang="0">
                    <a:pos x="4" y="16"/>
                  </a:cxn>
                  <a:cxn ang="0">
                    <a:pos x="0" y="18"/>
                  </a:cxn>
                  <a:cxn ang="0">
                    <a:pos x="0" y="18"/>
                  </a:cxn>
                  <a:cxn ang="0">
                    <a:pos x="0" y="22"/>
                  </a:cxn>
                  <a:cxn ang="0">
                    <a:pos x="0" y="32"/>
                  </a:cxn>
                  <a:cxn ang="0">
                    <a:pos x="0" y="32"/>
                  </a:cxn>
                  <a:cxn ang="0">
                    <a:pos x="0" y="34"/>
                  </a:cxn>
                  <a:cxn ang="0">
                    <a:pos x="4" y="36"/>
                  </a:cxn>
                  <a:cxn ang="0">
                    <a:pos x="4" y="36"/>
                  </a:cxn>
                </a:cxnLst>
                <a:rect l="0" t="0" r="r" b="b"/>
                <a:pathLst>
                  <a:path w="146" h="36">
                    <a:moveTo>
                      <a:pt x="4" y="36"/>
                    </a:moveTo>
                    <a:lnTo>
                      <a:pt x="4" y="36"/>
                    </a:lnTo>
                    <a:lnTo>
                      <a:pt x="6" y="34"/>
                    </a:lnTo>
                    <a:lnTo>
                      <a:pt x="8" y="32"/>
                    </a:lnTo>
                    <a:lnTo>
                      <a:pt x="8" y="26"/>
                    </a:lnTo>
                    <a:lnTo>
                      <a:pt x="138" y="26"/>
                    </a:lnTo>
                    <a:lnTo>
                      <a:pt x="138" y="32"/>
                    </a:lnTo>
                    <a:lnTo>
                      <a:pt x="138" y="32"/>
                    </a:lnTo>
                    <a:lnTo>
                      <a:pt x="138" y="34"/>
                    </a:lnTo>
                    <a:lnTo>
                      <a:pt x="142" y="36"/>
                    </a:lnTo>
                    <a:lnTo>
                      <a:pt x="142" y="36"/>
                    </a:lnTo>
                    <a:lnTo>
                      <a:pt x="144" y="34"/>
                    </a:lnTo>
                    <a:lnTo>
                      <a:pt x="146" y="32"/>
                    </a:lnTo>
                    <a:lnTo>
                      <a:pt x="146" y="22"/>
                    </a:lnTo>
                    <a:lnTo>
                      <a:pt x="146" y="22"/>
                    </a:lnTo>
                    <a:lnTo>
                      <a:pt x="144" y="18"/>
                    </a:lnTo>
                    <a:lnTo>
                      <a:pt x="144" y="18"/>
                    </a:lnTo>
                    <a:lnTo>
                      <a:pt x="142" y="16"/>
                    </a:lnTo>
                    <a:lnTo>
                      <a:pt x="76" y="16"/>
                    </a:lnTo>
                    <a:lnTo>
                      <a:pt x="76" y="4"/>
                    </a:lnTo>
                    <a:lnTo>
                      <a:pt x="76" y="4"/>
                    </a:lnTo>
                    <a:lnTo>
                      <a:pt x="76" y="2"/>
                    </a:lnTo>
                    <a:lnTo>
                      <a:pt x="72" y="0"/>
                    </a:lnTo>
                    <a:lnTo>
                      <a:pt x="72" y="0"/>
                    </a:lnTo>
                    <a:lnTo>
                      <a:pt x="70" y="2"/>
                    </a:lnTo>
                    <a:lnTo>
                      <a:pt x="68" y="4"/>
                    </a:lnTo>
                    <a:lnTo>
                      <a:pt x="68" y="16"/>
                    </a:lnTo>
                    <a:lnTo>
                      <a:pt x="4" y="16"/>
                    </a:lnTo>
                    <a:lnTo>
                      <a:pt x="4" y="16"/>
                    </a:lnTo>
                    <a:lnTo>
                      <a:pt x="0" y="18"/>
                    </a:lnTo>
                    <a:lnTo>
                      <a:pt x="0" y="18"/>
                    </a:lnTo>
                    <a:lnTo>
                      <a:pt x="0" y="22"/>
                    </a:lnTo>
                    <a:lnTo>
                      <a:pt x="0" y="32"/>
                    </a:lnTo>
                    <a:lnTo>
                      <a:pt x="0" y="32"/>
                    </a:lnTo>
                    <a:lnTo>
                      <a:pt x="0" y="34"/>
                    </a:lnTo>
                    <a:lnTo>
                      <a:pt x="4" y="36"/>
                    </a:lnTo>
                    <a:lnTo>
                      <a:pt x="4" y="36"/>
                    </a:lnTo>
                    <a:close/>
                  </a:path>
                </a:pathLst>
              </a:custGeom>
              <a:solidFill>
                <a:schemeClr val="bg1"/>
              </a:solid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grpSp>
      </p:grpSp>
      <p:grpSp>
        <p:nvGrpSpPr>
          <p:cNvPr id="10" name="组合 9"/>
          <p:cNvGrpSpPr/>
          <p:nvPr/>
        </p:nvGrpSpPr>
        <p:grpSpPr>
          <a:xfrm>
            <a:off x="6058101" y="4872698"/>
            <a:ext cx="865492" cy="273499"/>
            <a:chOff x="9759066" y="6019741"/>
            <a:chExt cx="1154090" cy="364696"/>
          </a:xfrm>
        </p:grpSpPr>
        <p:sp>
          <p:nvSpPr>
            <p:cNvPr id="64" name="文本框 63"/>
            <p:cNvSpPr txBox="1"/>
            <p:nvPr/>
          </p:nvSpPr>
          <p:spPr>
            <a:xfrm>
              <a:off x="10126119" y="6045853"/>
              <a:ext cx="787037" cy="338584"/>
            </a:xfrm>
            <a:prstGeom prst="rect">
              <a:avLst/>
            </a:prstGeom>
            <a:noFill/>
          </p:spPr>
          <p:txBody>
            <a:bodyPr wrap="none" rtlCol="0">
              <a:spAutoFit/>
            </a:bodyPr>
            <a:lstStyle/>
            <a:p>
              <a:pPr algn="ctr"/>
              <a:r>
                <a:rPr lang="en-US" altLang="zh-CN" sz="1050" dirty="0">
                  <a:solidFill>
                    <a:schemeClr val="bg1"/>
                  </a:solidFill>
                  <a:latin typeface="+mn-lt"/>
                  <a:ea typeface="微软雅黑" panose="020B0503020204020204" pitchFamily="34" charset="-122"/>
                </a:rPr>
                <a:t>sensor</a:t>
              </a:r>
              <a:endParaRPr lang="en-US" sz="1050" dirty="0">
                <a:solidFill>
                  <a:schemeClr val="bg1"/>
                </a:solidFill>
                <a:latin typeface="+mn-lt"/>
                <a:ea typeface="微软雅黑" panose="020B0503020204020204" pitchFamily="34" charset="-122"/>
              </a:endParaRPr>
            </a:p>
          </p:txBody>
        </p:sp>
        <p:grpSp>
          <p:nvGrpSpPr>
            <p:cNvPr id="65" name="组合 594"/>
            <p:cNvGrpSpPr/>
            <p:nvPr/>
          </p:nvGrpSpPr>
          <p:grpSpPr>
            <a:xfrm>
              <a:off x="9831066" y="6059775"/>
              <a:ext cx="216000" cy="216000"/>
              <a:chOff x="9912350" y="3467100"/>
              <a:chExt cx="422275" cy="415925"/>
            </a:xfrm>
            <a:solidFill>
              <a:schemeClr val="bg1"/>
            </a:solidFill>
          </p:grpSpPr>
          <p:sp>
            <p:nvSpPr>
              <p:cNvPr id="66" name="Freeform 510"/>
              <p:cNvSpPr>
                <a:spLocks noEditPoints="1"/>
              </p:cNvSpPr>
              <p:nvPr/>
            </p:nvSpPr>
            <p:spPr bwMode="auto">
              <a:xfrm>
                <a:off x="9912350" y="3740150"/>
                <a:ext cx="415925" cy="142875"/>
              </a:xfrm>
              <a:custGeom>
                <a:avLst/>
                <a:gdLst/>
                <a:ahLst/>
                <a:cxnLst>
                  <a:cxn ang="0">
                    <a:pos x="2" y="78"/>
                  </a:cxn>
                  <a:cxn ang="0">
                    <a:pos x="18" y="90"/>
                  </a:cxn>
                  <a:cxn ang="0">
                    <a:pos x="252" y="88"/>
                  </a:cxn>
                  <a:cxn ang="0">
                    <a:pos x="262" y="72"/>
                  </a:cxn>
                  <a:cxn ang="0">
                    <a:pos x="260" y="10"/>
                  </a:cxn>
                  <a:cxn ang="0">
                    <a:pos x="244" y="0"/>
                  </a:cxn>
                  <a:cxn ang="0">
                    <a:pos x="10" y="2"/>
                  </a:cxn>
                  <a:cxn ang="0">
                    <a:pos x="0" y="18"/>
                  </a:cxn>
                  <a:cxn ang="0">
                    <a:pos x="74" y="72"/>
                  </a:cxn>
                  <a:cxn ang="0">
                    <a:pos x="76" y="14"/>
                  </a:cxn>
                  <a:cxn ang="0">
                    <a:pos x="86" y="10"/>
                  </a:cxn>
                  <a:cxn ang="0">
                    <a:pos x="96" y="12"/>
                  </a:cxn>
                  <a:cxn ang="0">
                    <a:pos x="98" y="72"/>
                  </a:cxn>
                  <a:cxn ang="0">
                    <a:pos x="96" y="78"/>
                  </a:cxn>
                  <a:cxn ang="0">
                    <a:pos x="86" y="80"/>
                  </a:cxn>
                  <a:cxn ang="0">
                    <a:pos x="76" y="74"/>
                  </a:cxn>
                  <a:cxn ang="0">
                    <a:pos x="136" y="60"/>
                  </a:cxn>
                  <a:cxn ang="0">
                    <a:pos x="124" y="56"/>
                  </a:cxn>
                  <a:cxn ang="0">
                    <a:pos x="120" y="44"/>
                  </a:cxn>
                  <a:cxn ang="0">
                    <a:pos x="130" y="30"/>
                  </a:cxn>
                  <a:cxn ang="0">
                    <a:pos x="142" y="30"/>
                  </a:cxn>
                  <a:cxn ang="0">
                    <a:pos x="152" y="44"/>
                  </a:cxn>
                  <a:cxn ang="0">
                    <a:pos x="148" y="56"/>
                  </a:cxn>
                  <a:cxn ang="0">
                    <a:pos x="136" y="60"/>
                  </a:cxn>
                  <a:cxn ang="0">
                    <a:pos x="176" y="38"/>
                  </a:cxn>
                  <a:cxn ang="0">
                    <a:pos x="190" y="28"/>
                  </a:cxn>
                  <a:cxn ang="0">
                    <a:pos x="202" y="34"/>
                  </a:cxn>
                  <a:cxn ang="0">
                    <a:pos x="206" y="44"/>
                  </a:cxn>
                  <a:cxn ang="0">
                    <a:pos x="196" y="60"/>
                  </a:cxn>
                  <a:cxn ang="0">
                    <a:pos x="184" y="60"/>
                  </a:cxn>
                  <a:cxn ang="0">
                    <a:pos x="174" y="44"/>
                  </a:cxn>
                  <a:cxn ang="0">
                    <a:pos x="220" y="44"/>
                  </a:cxn>
                  <a:cxn ang="0">
                    <a:pos x="230" y="30"/>
                  </a:cxn>
                  <a:cxn ang="0">
                    <a:pos x="242" y="30"/>
                  </a:cxn>
                  <a:cxn ang="0">
                    <a:pos x="252" y="44"/>
                  </a:cxn>
                  <a:cxn ang="0">
                    <a:pos x="248" y="56"/>
                  </a:cxn>
                  <a:cxn ang="0">
                    <a:pos x="236" y="60"/>
                  </a:cxn>
                  <a:cxn ang="0">
                    <a:pos x="222" y="50"/>
                  </a:cxn>
                  <a:cxn ang="0">
                    <a:pos x="54" y="44"/>
                  </a:cxn>
                  <a:cxn ang="0">
                    <a:pos x="48" y="56"/>
                  </a:cxn>
                  <a:cxn ang="0">
                    <a:pos x="38" y="60"/>
                  </a:cxn>
                  <a:cxn ang="0">
                    <a:pos x="22" y="50"/>
                  </a:cxn>
                  <a:cxn ang="0">
                    <a:pos x="22" y="38"/>
                  </a:cxn>
                  <a:cxn ang="0">
                    <a:pos x="38" y="28"/>
                  </a:cxn>
                  <a:cxn ang="0">
                    <a:pos x="48" y="34"/>
                  </a:cxn>
                  <a:cxn ang="0">
                    <a:pos x="54" y="44"/>
                  </a:cxn>
                </a:cxnLst>
                <a:rect l="0" t="0" r="r" b="b"/>
                <a:pathLst>
                  <a:path w="262" h="90">
                    <a:moveTo>
                      <a:pt x="0" y="72"/>
                    </a:moveTo>
                    <a:lnTo>
                      <a:pt x="0" y="72"/>
                    </a:lnTo>
                    <a:lnTo>
                      <a:pt x="2" y="78"/>
                    </a:lnTo>
                    <a:lnTo>
                      <a:pt x="6" y="84"/>
                    </a:lnTo>
                    <a:lnTo>
                      <a:pt x="10" y="88"/>
                    </a:lnTo>
                    <a:lnTo>
                      <a:pt x="18" y="90"/>
                    </a:lnTo>
                    <a:lnTo>
                      <a:pt x="244" y="90"/>
                    </a:lnTo>
                    <a:lnTo>
                      <a:pt x="244" y="90"/>
                    </a:lnTo>
                    <a:lnTo>
                      <a:pt x="252" y="88"/>
                    </a:lnTo>
                    <a:lnTo>
                      <a:pt x="256" y="84"/>
                    </a:lnTo>
                    <a:lnTo>
                      <a:pt x="260" y="78"/>
                    </a:lnTo>
                    <a:lnTo>
                      <a:pt x="262" y="72"/>
                    </a:lnTo>
                    <a:lnTo>
                      <a:pt x="262" y="18"/>
                    </a:lnTo>
                    <a:lnTo>
                      <a:pt x="262" y="18"/>
                    </a:lnTo>
                    <a:lnTo>
                      <a:pt x="260" y="10"/>
                    </a:lnTo>
                    <a:lnTo>
                      <a:pt x="256" y="6"/>
                    </a:lnTo>
                    <a:lnTo>
                      <a:pt x="252" y="2"/>
                    </a:lnTo>
                    <a:lnTo>
                      <a:pt x="244" y="0"/>
                    </a:lnTo>
                    <a:lnTo>
                      <a:pt x="18" y="0"/>
                    </a:lnTo>
                    <a:lnTo>
                      <a:pt x="18" y="0"/>
                    </a:lnTo>
                    <a:lnTo>
                      <a:pt x="10" y="2"/>
                    </a:lnTo>
                    <a:lnTo>
                      <a:pt x="6" y="6"/>
                    </a:lnTo>
                    <a:lnTo>
                      <a:pt x="2" y="10"/>
                    </a:lnTo>
                    <a:lnTo>
                      <a:pt x="0" y="18"/>
                    </a:lnTo>
                    <a:lnTo>
                      <a:pt x="0" y="72"/>
                    </a:lnTo>
                    <a:lnTo>
                      <a:pt x="0" y="72"/>
                    </a:lnTo>
                    <a:close/>
                    <a:moveTo>
                      <a:pt x="74" y="72"/>
                    </a:moveTo>
                    <a:lnTo>
                      <a:pt x="74" y="18"/>
                    </a:lnTo>
                    <a:lnTo>
                      <a:pt x="74" y="18"/>
                    </a:lnTo>
                    <a:lnTo>
                      <a:pt x="76" y="14"/>
                    </a:lnTo>
                    <a:lnTo>
                      <a:pt x="78" y="12"/>
                    </a:lnTo>
                    <a:lnTo>
                      <a:pt x="82" y="10"/>
                    </a:lnTo>
                    <a:lnTo>
                      <a:pt x="86" y="10"/>
                    </a:lnTo>
                    <a:lnTo>
                      <a:pt x="86" y="10"/>
                    </a:lnTo>
                    <a:lnTo>
                      <a:pt x="92" y="10"/>
                    </a:lnTo>
                    <a:lnTo>
                      <a:pt x="96" y="12"/>
                    </a:lnTo>
                    <a:lnTo>
                      <a:pt x="98" y="14"/>
                    </a:lnTo>
                    <a:lnTo>
                      <a:pt x="98" y="18"/>
                    </a:lnTo>
                    <a:lnTo>
                      <a:pt x="98" y="72"/>
                    </a:lnTo>
                    <a:lnTo>
                      <a:pt x="98" y="72"/>
                    </a:lnTo>
                    <a:lnTo>
                      <a:pt x="98" y="74"/>
                    </a:lnTo>
                    <a:lnTo>
                      <a:pt x="96" y="78"/>
                    </a:lnTo>
                    <a:lnTo>
                      <a:pt x="92" y="78"/>
                    </a:lnTo>
                    <a:lnTo>
                      <a:pt x="86" y="80"/>
                    </a:lnTo>
                    <a:lnTo>
                      <a:pt x="86" y="80"/>
                    </a:lnTo>
                    <a:lnTo>
                      <a:pt x="82" y="78"/>
                    </a:lnTo>
                    <a:lnTo>
                      <a:pt x="78" y="78"/>
                    </a:lnTo>
                    <a:lnTo>
                      <a:pt x="76" y="74"/>
                    </a:lnTo>
                    <a:lnTo>
                      <a:pt x="74" y="72"/>
                    </a:lnTo>
                    <a:lnTo>
                      <a:pt x="74" y="72"/>
                    </a:lnTo>
                    <a:close/>
                    <a:moveTo>
                      <a:pt x="136" y="60"/>
                    </a:moveTo>
                    <a:lnTo>
                      <a:pt x="136" y="60"/>
                    </a:lnTo>
                    <a:lnTo>
                      <a:pt x="130" y="60"/>
                    </a:lnTo>
                    <a:lnTo>
                      <a:pt x="124" y="56"/>
                    </a:lnTo>
                    <a:lnTo>
                      <a:pt x="122" y="50"/>
                    </a:lnTo>
                    <a:lnTo>
                      <a:pt x="120" y="44"/>
                    </a:lnTo>
                    <a:lnTo>
                      <a:pt x="120" y="44"/>
                    </a:lnTo>
                    <a:lnTo>
                      <a:pt x="122" y="38"/>
                    </a:lnTo>
                    <a:lnTo>
                      <a:pt x="124" y="34"/>
                    </a:lnTo>
                    <a:lnTo>
                      <a:pt x="130" y="30"/>
                    </a:lnTo>
                    <a:lnTo>
                      <a:pt x="136" y="28"/>
                    </a:lnTo>
                    <a:lnTo>
                      <a:pt x="136" y="28"/>
                    </a:lnTo>
                    <a:lnTo>
                      <a:pt x="142" y="30"/>
                    </a:lnTo>
                    <a:lnTo>
                      <a:pt x="148" y="34"/>
                    </a:lnTo>
                    <a:lnTo>
                      <a:pt x="150" y="38"/>
                    </a:lnTo>
                    <a:lnTo>
                      <a:pt x="152" y="44"/>
                    </a:lnTo>
                    <a:lnTo>
                      <a:pt x="152" y="44"/>
                    </a:lnTo>
                    <a:lnTo>
                      <a:pt x="150" y="50"/>
                    </a:lnTo>
                    <a:lnTo>
                      <a:pt x="148" y="56"/>
                    </a:lnTo>
                    <a:lnTo>
                      <a:pt x="142" y="60"/>
                    </a:lnTo>
                    <a:lnTo>
                      <a:pt x="136" y="60"/>
                    </a:lnTo>
                    <a:lnTo>
                      <a:pt x="136" y="60"/>
                    </a:lnTo>
                    <a:close/>
                    <a:moveTo>
                      <a:pt x="174" y="44"/>
                    </a:moveTo>
                    <a:lnTo>
                      <a:pt x="174" y="44"/>
                    </a:lnTo>
                    <a:lnTo>
                      <a:pt x="176" y="38"/>
                    </a:lnTo>
                    <a:lnTo>
                      <a:pt x="178" y="34"/>
                    </a:lnTo>
                    <a:lnTo>
                      <a:pt x="184" y="30"/>
                    </a:lnTo>
                    <a:lnTo>
                      <a:pt x="190" y="28"/>
                    </a:lnTo>
                    <a:lnTo>
                      <a:pt x="190" y="28"/>
                    </a:lnTo>
                    <a:lnTo>
                      <a:pt x="196" y="30"/>
                    </a:lnTo>
                    <a:lnTo>
                      <a:pt x="202" y="34"/>
                    </a:lnTo>
                    <a:lnTo>
                      <a:pt x="204" y="38"/>
                    </a:lnTo>
                    <a:lnTo>
                      <a:pt x="206" y="44"/>
                    </a:lnTo>
                    <a:lnTo>
                      <a:pt x="206" y="44"/>
                    </a:lnTo>
                    <a:lnTo>
                      <a:pt x="204" y="50"/>
                    </a:lnTo>
                    <a:lnTo>
                      <a:pt x="202" y="56"/>
                    </a:lnTo>
                    <a:lnTo>
                      <a:pt x="196" y="60"/>
                    </a:lnTo>
                    <a:lnTo>
                      <a:pt x="190" y="60"/>
                    </a:lnTo>
                    <a:lnTo>
                      <a:pt x="190" y="60"/>
                    </a:lnTo>
                    <a:lnTo>
                      <a:pt x="184" y="60"/>
                    </a:lnTo>
                    <a:lnTo>
                      <a:pt x="178" y="56"/>
                    </a:lnTo>
                    <a:lnTo>
                      <a:pt x="176" y="50"/>
                    </a:lnTo>
                    <a:lnTo>
                      <a:pt x="174" y="44"/>
                    </a:lnTo>
                    <a:lnTo>
                      <a:pt x="174" y="44"/>
                    </a:lnTo>
                    <a:close/>
                    <a:moveTo>
                      <a:pt x="220" y="44"/>
                    </a:moveTo>
                    <a:lnTo>
                      <a:pt x="220" y="44"/>
                    </a:lnTo>
                    <a:lnTo>
                      <a:pt x="222" y="38"/>
                    </a:lnTo>
                    <a:lnTo>
                      <a:pt x="226" y="34"/>
                    </a:lnTo>
                    <a:lnTo>
                      <a:pt x="230" y="30"/>
                    </a:lnTo>
                    <a:lnTo>
                      <a:pt x="236" y="28"/>
                    </a:lnTo>
                    <a:lnTo>
                      <a:pt x="236" y="28"/>
                    </a:lnTo>
                    <a:lnTo>
                      <a:pt x="242" y="30"/>
                    </a:lnTo>
                    <a:lnTo>
                      <a:pt x="248" y="34"/>
                    </a:lnTo>
                    <a:lnTo>
                      <a:pt x="252" y="38"/>
                    </a:lnTo>
                    <a:lnTo>
                      <a:pt x="252" y="44"/>
                    </a:lnTo>
                    <a:lnTo>
                      <a:pt x="252" y="44"/>
                    </a:lnTo>
                    <a:lnTo>
                      <a:pt x="252" y="50"/>
                    </a:lnTo>
                    <a:lnTo>
                      <a:pt x="248" y="56"/>
                    </a:lnTo>
                    <a:lnTo>
                      <a:pt x="242" y="60"/>
                    </a:lnTo>
                    <a:lnTo>
                      <a:pt x="236" y="60"/>
                    </a:lnTo>
                    <a:lnTo>
                      <a:pt x="236" y="60"/>
                    </a:lnTo>
                    <a:lnTo>
                      <a:pt x="230" y="60"/>
                    </a:lnTo>
                    <a:lnTo>
                      <a:pt x="226" y="56"/>
                    </a:lnTo>
                    <a:lnTo>
                      <a:pt x="222" y="50"/>
                    </a:lnTo>
                    <a:lnTo>
                      <a:pt x="220" y="44"/>
                    </a:lnTo>
                    <a:lnTo>
                      <a:pt x="220" y="44"/>
                    </a:lnTo>
                    <a:close/>
                    <a:moveTo>
                      <a:pt x="54" y="44"/>
                    </a:moveTo>
                    <a:lnTo>
                      <a:pt x="54" y="44"/>
                    </a:lnTo>
                    <a:lnTo>
                      <a:pt x="52" y="50"/>
                    </a:lnTo>
                    <a:lnTo>
                      <a:pt x="48" y="56"/>
                    </a:lnTo>
                    <a:lnTo>
                      <a:pt x="44" y="60"/>
                    </a:lnTo>
                    <a:lnTo>
                      <a:pt x="38" y="60"/>
                    </a:lnTo>
                    <a:lnTo>
                      <a:pt x="38" y="60"/>
                    </a:lnTo>
                    <a:lnTo>
                      <a:pt x="32" y="60"/>
                    </a:lnTo>
                    <a:lnTo>
                      <a:pt x="26" y="56"/>
                    </a:lnTo>
                    <a:lnTo>
                      <a:pt x="22" y="50"/>
                    </a:lnTo>
                    <a:lnTo>
                      <a:pt x="22" y="44"/>
                    </a:lnTo>
                    <a:lnTo>
                      <a:pt x="22" y="44"/>
                    </a:lnTo>
                    <a:lnTo>
                      <a:pt x="22" y="38"/>
                    </a:lnTo>
                    <a:lnTo>
                      <a:pt x="26" y="34"/>
                    </a:lnTo>
                    <a:lnTo>
                      <a:pt x="32" y="30"/>
                    </a:lnTo>
                    <a:lnTo>
                      <a:pt x="38" y="28"/>
                    </a:lnTo>
                    <a:lnTo>
                      <a:pt x="38" y="28"/>
                    </a:lnTo>
                    <a:lnTo>
                      <a:pt x="44" y="30"/>
                    </a:lnTo>
                    <a:lnTo>
                      <a:pt x="48" y="34"/>
                    </a:lnTo>
                    <a:lnTo>
                      <a:pt x="52" y="38"/>
                    </a:lnTo>
                    <a:lnTo>
                      <a:pt x="54" y="44"/>
                    </a:lnTo>
                    <a:lnTo>
                      <a:pt x="54" y="4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67" name="Freeform 511"/>
              <p:cNvSpPr>
                <a:spLocks/>
              </p:cNvSpPr>
              <p:nvPr/>
            </p:nvSpPr>
            <p:spPr bwMode="auto">
              <a:xfrm>
                <a:off x="10096500" y="3467100"/>
                <a:ext cx="238125" cy="60325"/>
              </a:xfrm>
              <a:custGeom>
                <a:avLst/>
                <a:gdLst/>
                <a:ahLst/>
                <a:cxnLst>
                  <a:cxn ang="0">
                    <a:pos x="6" y="38"/>
                  </a:cxn>
                  <a:cxn ang="0">
                    <a:pos x="6" y="38"/>
                  </a:cxn>
                  <a:cxn ang="0">
                    <a:pos x="22" y="26"/>
                  </a:cxn>
                  <a:cxn ang="0">
                    <a:pos x="40" y="18"/>
                  </a:cxn>
                  <a:cxn ang="0">
                    <a:pos x="58" y="14"/>
                  </a:cxn>
                  <a:cxn ang="0">
                    <a:pos x="76" y="12"/>
                  </a:cxn>
                  <a:cxn ang="0">
                    <a:pos x="94" y="14"/>
                  </a:cxn>
                  <a:cxn ang="0">
                    <a:pos x="112" y="18"/>
                  </a:cxn>
                  <a:cxn ang="0">
                    <a:pos x="128" y="26"/>
                  </a:cxn>
                  <a:cxn ang="0">
                    <a:pos x="144" y="36"/>
                  </a:cxn>
                  <a:cxn ang="0">
                    <a:pos x="150" y="26"/>
                  </a:cxn>
                  <a:cxn ang="0">
                    <a:pos x="150" y="26"/>
                  </a:cxn>
                  <a:cxn ang="0">
                    <a:pos x="132" y="16"/>
                  </a:cxn>
                  <a:cxn ang="0">
                    <a:pos x="114" y="6"/>
                  </a:cxn>
                  <a:cxn ang="0">
                    <a:pos x="96" y="2"/>
                  </a:cxn>
                  <a:cxn ang="0">
                    <a:pos x="76" y="0"/>
                  </a:cxn>
                  <a:cxn ang="0">
                    <a:pos x="56" y="2"/>
                  </a:cxn>
                  <a:cxn ang="0">
                    <a:pos x="36" y="8"/>
                  </a:cxn>
                  <a:cxn ang="0">
                    <a:pos x="18" y="16"/>
                  </a:cxn>
                  <a:cxn ang="0">
                    <a:pos x="0" y="26"/>
                  </a:cxn>
                  <a:cxn ang="0">
                    <a:pos x="6" y="38"/>
                  </a:cxn>
                </a:cxnLst>
                <a:rect l="0" t="0" r="r" b="b"/>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68" name="Freeform 512"/>
              <p:cNvSpPr>
                <a:spLocks/>
              </p:cNvSpPr>
              <p:nvPr/>
            </p:nvSpPr>
            <p:spPr bwMode="auto">
              <a:xfrm>
                <a:off x="10125075" y="3524250"/>
                <a:ext cx="180975" cy="50800"/>
              </a:xfrm>
              <a:custGeom>
                <a:avLst/>
                <a:gdLst/>
                <a:ahLst/>
                <a:cxnLst>
                  <a:cxn ang="0">
                    <a:pos x="114" y="22"/>
                  </a:cxn>
                  <a:cxn ang="0">
                    <a:pos x="114" y="22"/>
                  </a:cxn>
                  <a:cxn ang="0">
                    <a:pos x="102" y="12"/>
                  </a:cxn>
                  <a:cxn ang="0">
                    <a:pos x="88" y="6"/>
                  </a:cxn>
                  <a:cxn ang="0">
                    <a:pos x="72" y="2"/>
                  </a:cxn>
                  <a:cxn ang="0">
                    <a:pos x="58" y="0"/>
                  </a:cxn>
                  <a:cxn ang="0">
                    <a:pos x="42" y="2"/>
                  </a:cxn>
                  <a:cxn ang="0">
                    <a:pos x="28" y="6"/>
                  </a:cxn>
                  <a:cxn ang="0">
                    <a:pos x="14" y="12"/>
                  </a:cxn>
                  <a:cxn ang="0">
                    <a:pos x="0" y="22"/>
                  </a:cxn>
                  <a:cxn ang="0">
                    <a:pos x="8" y="32"/>
                  </a:cxn>
                  <a:cxn ang="0">
                    <a:pos x="8" y="32"/>
                  </a:cxn>
                  <a:cxn ang="0">
                    <a:pos x="8" y="32"/>
                  </a:cxn>
                  <a:cxn ang="0">
                    <a:pos x="8" y="32"/>
                  </a:cxn>
                  <a:cxn ang="0">
                    <a:pos x="18" y="24"/>
                  </a:cxn>
                  <a:cxn ang="0">
                    <a:pos x="30" y="18"/>
                  </a:cxn>
                  <a:cxn ang="0">
                    <a:pos x="44" y="14"/>
                  </a:cxn>
                  <a:cxn ang="0">
                    <a:pos x="58" y="12"/>
                  </a:cxn>
                  <a:cxn ang="0">
                    <a:pos x="72" y="14"/>
                  </a:cxn>
                  <a:cxn ang="0">
                    <a:pos x="84" y="16"/>
                  </a:cxn>
                  <a:cxn ang="0">
                    <a:pos x="96" y="24"/>
                  </a:cxn>
                  <a:cxn ang="0">
                    <a:pos x="108" y="32"/>
                  </a:cxn>
                  <a:cxn ang="0">
                    <a:pos x="114" y="22"/>
                  </a:cxn>
                </a:cxnLst>
                <a:rect l="0" t="0" r="r" b="b"/>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8" y="32"/>
                    </a:lnTo>
                    <a:lnTo>
                      <a:pt x="8" y="3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69" name="Freeform 513"/>
              <p:cNvSpPr>
                <a:spLocks/>
              </p:cNvSpPr>
              <p:nvPr/>
            </p:nvSpPr>
            <p:spPr bwMode="auto">
              <a:xfrm>
                <a:off x="10156825" y="3581400"/>
                <a:ext cx="120650" cy="47625"/>
              </a:xfrm>
              <a:custGeom>
                <a:avLst/>
                <a:gdLst/>
                <a:ahLst/>
                <a:cxnLst>
                  <a:cxn ang="0">
                    <a:pos x="72" y="14"/>
                  </a:cxn>
                  <a:cxn ang="0">
                    <a:pos x="72" y="14"/>
                  </a:cxn>
                  <a:cxn ang="0">
                    <a:pos x="64" y="8"/>
                  </a:cxn>
                  <a:cxn ang="0">
                    <a:pos x="56" y="2"/>
                  </a:cxn>
                  <a:cxn ang="0">
                    <a:pos x="46" y="0"/>
                  </a:cxn>
                  <a:cxn ang="0">
                    <a:pos x="38" y="0"/>
                  </a:cxn>
                  <a:cxn ang="0">
                    <a:pos x="28" y="0"/>
                  </a:cxn>
                  <a:cxn ang="0">
                    <a:pos x="20" y="2"/>
                  </a:cxn>
                  <a:cxn ang="0">
                    <a:pos x="12" y="8"/>
                  </a:cxn>
                  <a:cxn ang="0">
                    <a:pos x="4" y="14"/>
                  </a:cxn>
                  <a:cxn ang="0">
                    <a:pos x="4" y="14"/>
                  </a:cxn>
                  <a:cxn ang="0">
                    <a:pos x="0" y="18"/>
                  </a:cxn>
                  <a:cxn ang="0">
                    <a:pos x="6" y="30"/>
                  </a:cxn>
                  <a:cxn ang="0">
                    <a:pos x="6" y="30"/>
                  </a:cxn>
                  <a:cxn ang="0">
                    <a:pos x="12" y="22"/>
                  </a:cxn>
                  <a:cxn ang="0">
                    <a:pos x="12" y="22"/>
                  </a:cxn>
                  <a:cxn ang="0">
                    <a:pos x="18" y="18"/>
                  </a:cxn>
                  <a:cxn ang="0">
                    <a:pos x="24" y="14"/>
                  </a:cxn>
                  <a:cxn ang="0">
                    <a:pos x="30" y="12"/>
                  </a:cxn>
                  <a:cxn ang="0">
                    <a:pos x="38" y="12"/>
                  </a:cxn>
                  <a:cxn ang="0">
                    <a:pos x="44" y="12"/>
                  </a:cxn>
                  <a:cxn ang="0">
                    <a:pos x="52" y="14"/>
                  </a:cxn>
                  <a:cxn ang="0">
                    <a:pos x="58" y="18"/>
                  </a:cxn>
                  <a:cxn ang="0">
                    <a:pos x="62" y="22"/>
                  </a:cxn>
                  <a:cxn ang="0">
                    <a:pos x="62" y="22"/>
                  </a:cxn>
                  <a:cxn ang="0">
                    <a:pos x="68" y="30"/>
                  </a:cxn>
                  <a:cxn ang="0">
                    <a:pos x="76" y="18"/>
                  </a:cxn>
                  <a:cxn ang="0">
                    <a:pos x="76" y="18"/>
                  </a:cxn>
                  <a:cxn ang="0">
                    <a:pos x="72" y="14"/>
                  </a:cxn>
                  <a:cxn ang="0">
                    <a:pos x="72" y="14"/>
                  </a:cxn>
                </a:cxnLst>
                <a:rect l="0" t="0" r="r" b="b"/>
                <a:pathLst>
                  <a:path w="76" h="30">
                    <a:moveTo>
                      <a:pt x="72" y="14"/>
                    </a:moveTo>
                    <a:lnTo>
                      <a:pt x="72" y="14"/>
                    </a:lnTo>
                    <a:lnTo>
                      <a:pt x="64" y="8"/>
                    </a:lnTo>
                    <a:lnTo>
                      <a:pt x="56" y="2"/>
                    </a:lnTo>
                    <a:lnTo>
                      <a:pt x="46" y="0"/>
                    </a:lnTo>
                    <a:lnTo>
                      <a:pt x="38" y="0"/>
                    </a:lnTo>
                    <a:lnTo>
                      <a:pt x="28" y="0"/>
                    </a:lnTo>
                    <a:lnTo>
                      <a:pt x="20" y="2"/>
                    </a:lnTo>
                    <a:lnTo>
                      <a:pt x="12" y="8"/>
                    </a:lnTo>
                    <a:lnTo>
                      <a:pt x="4" y="14"/>
                    </a:lnTo>
                    <a:lnTo>
                      <a:pt x="4" y="14"/>
                    </a:lnTo>
                    <a:lnTo>
                      <a:pt x="0" y="18"/>
                    </a:lnTo>
                    <a:lnTo>
                      <a:pt x="6" y="30"/>
                    </a:lnTo>
                    <a:lnTo>
                      <a:pt x="6" y="30"/>
                    </a:lnTo>
                    <a:lnTo>
                      <a:pt x="12" y="22"/>
                    </a:lnTo>
                    <a:lnTo>
                      <a:pt x="12" y="22"/>
                    </a:lnTo>
                    <a:lnTo>
                      <a:pt x="18" y="18"/>
                    </a:lnTo>
                    <a:lnTo>
                      <a:pt x="24" y="14"/>
                    </a:lnTo>
                    <a:lnTo>
                      <a:pt x="30" y="12"/>
                    </a:lnTo>
                    <a:lnTo>
                      <a:pt x="38" y="12"/>
                    </a:lnTo>
                    <a:lnTo>
                      <a:pt x="44" y="12"/>
                    </a:lnTo>
                    <a:lnTo>
                      <a:pt x="52" y="14"/>
                    </a:lnTo>
                    <a:lnTo>
                      <a:pt x="58" y="18"/>
                    </a:lnTo>
                    <a:lnTo>
                      <a:pt x="62" y="22"/>
                    </a:lnTo>
                    <a:lnTo>
                      <a:pt x="62" y="22"/>
                    </a:lnTo>
                    <a:lnTo>
                      <a:pt x="68" y="30"/>
                    </a:lnTo>
                    <a:lnTo>
                      <a:pt x="76" y="18"/>
                    </a:lnTo>
                    <a:lnTo>
                      <a:pt x="76" y="18"/>
                    </a:lnTo>
                    <a:lnTo>
                      <a:pt x="72" y="14"/>
                    </a:lnTo>
                    <a:lnTo>
                      <a:pt x="72" y="1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70" name="Rectangle 514"/>
              <p:cNvSpPr>
                <a:spLocks noChangeArrowheads="1"/>
              </p:cNvSpPr>
              <p:nvPr/>
            </p:nvSpPr>
            <p:spPr bwMode="auto">
              <a:xfrm>
                <a:off x="10210800" y="3673475"/>
                <a:ext cx="12700" cy="57150"/>
              </a:xfrm>
              <a:prstGeom prst="rect">
                <a:avLst/>
              </a:prstGeom>
              <a:grpFill/>
              <a:ln w="9525">
                <a:noFill/>
                <a:miter lim="800000"/>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71" name="Freeform 515"/>
              <p:cNvSpPr>
                <a:spLocks/>
              </p:cNvSpPr>
              <p:nvPr/>
            </p:nvSpPr>
            <p:spPr bwMode="auto">
              <a:xfrm>
                <a:off x="10194925" y="3635375"/>
                <a:ext cx="44450" cy="44450"/>
              </a:xfrm>
              <a:custGeom>
                <a:avLst/>
                <a:gdLst/>
                <a:ahLst/>
                <a:cxnLst>
                  <a:cxn ang="0">
                    <a:pos x="14" y="0"/>
                  </a:cxn>
                  <a:cxn ang="0">
                    <a:pos x="14" y="0"/>
                  </a:cxn>
                  <a:cxn ang="0">
                    <a:pos x="8" y="0"/>
                  </a:cxn>
                  <a:cxn ang="0">
                    <a:pos x="4" y="4"/>
                  </a:cxn>
                  <a:cxn ang="0">
                    <a:pos x="0" y="8"/>
                  </a:cxn>
                  <a:cxn ang="0">
                    <a:pos x="0" y="14"/>
                  </a:cxn>
                  <a:cxn ang="0">
                    <a:pos x="0" y="14"/>
                  </a:cxn>
                  <a:cxn ang="0">
                    <a:pos x="0" y="20"/>
                  </a:cxn>
                  <a:cxn ang="0">
                    <a:pos x="4" y="24"/>
                  </a:cxn>
                  <a:cxn ang="0">
                    <a:pos x="8" y="26"/>
                  </a:cxn>
                  <a:cxn ang="0">
                    <a:pos x="14" y="28"/>
                  </a:cxn>
                  <a:cxn ang="0">
                    <a:pos x="14" y="28"/>
                  </a:cxn>
                  <a:cxn ang="0">
                    <a:pos x="20" y="26"/>
                  </a:cxn>
                  <a:cxn ang="0">
                    <a:pos x="24" y="24"/>
                  </a:cxn>
                  <a:cxn ang="0">
                    <a:pos x="26" y="20"/>
                  </a:cxn>
                  <a:cxn ang="0">
                    <a:pos x="28" y="14"/>
                  </a:cxn>
                  <a:cxn ang="0">
                    <a:pos x="28" y="14"/>
                  </a:cxn>
                  <a:cxn ang="0">
                    <a:pos x="26" y="8"/>
                  </a:cxn>
                  <a:cxn ang="0">
                    <a:pos x="24" y="4"/>
                  </a:cxn>
                  <a:cxn ang="0">
                    <a:pos x="20" y="0"/>
                  </a:cxn>
                  <a:cxn ang="0">
                    <a:pos x="14" y="0"/>
                  </a:cxn>
                  <a:cxn ang="0">
                    <a:pos x="14" y="0"/>
                  </a:cxn>
                </a:cxnLst>
                <a:rect l="0" t="0" r="r" b="b"/>
                <a:pathLst>
                  <a:path w="28" h="28">
                    <a:moveTo>
                      <a:pt x="14" y="0"/>
                    </a:moveTo>
                    <a:lnTo>
                      <a:pt x="14" y="0"/>
                    </a:lnTo>
                    <a:lnTo>
                      <a:pt x="8" y="0"/>
                    </a:lnTo>
                    <a:lnTo>
                      <a:pt x="4" y="4"/>
                    </a:lnTo>
                    <a:lnTo>
                      <a:pt x="0" y="8"/>
                    </a:lnTo>
                    <a:lnTo>
                      <a:pt x="0" y="14"/>
                    </a:lnTo>
                    <a:lnTo>
                      <a:pt x="0" y="14"/>
                    </a:lnTo>
                    <a:lnTo>
                      <a:pt x="0" y="20"/>
                    </a:lnTo>
                    <a:lnTo>
                      <a:pt x="4" y="24"/>
                    </a:lnTo>
                    <a:lnTo>
                      <a:pt x="8" y="26"/>
                    </a:lnTo>
                    <a:lnTo>
                      <a:pt x="14" y="28"/>
                    </a:lnTo>
                    <a:lnTo>
                      <a:pt x="14" y="28"/>
                    </a:lnTo>
                    <a:lnTo>
                      <a:pt x="20" y="26"/>
                    </a:lnTo>
                    <a:lnTo>
                      <a:pt x="24" y="24"/>
                    </a:lnTo>
                    <a:lnTo>
                      <a:pt x="26" y="20"/>
                    </a:lnTo>
                    <a:lnTo>
                      <a:pt x="28" y="14"/>
                    </a:lnTo>
                    <a:lnTo>
                      <a:pt x="28" y="14"/>
                    </a:lnTo>
                    <a:lnTo>
                      <a:pt x="26" y="8"/>
                    </a:lnTo>
                    <a:lnTo>
                      <a:pt x="24" y="4"/>
                    </a:lnTo>
                    <a:lnTo>
                      <a:pt x="20" y="0"/>
                    </a:lnTo>
                    <a:lnTo>
                      <a:pt x="14" y="0"/>
                    </a:lnTo>
                    <a:lnTo>
                      <a:pt x="14"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grpSp>
        <p:sp>
          <p:nvSpPr>
            <p:cNvPr id="72" name="椭圆 71"/>
            <p:cNvSpPr/>
            <p:nvPr/>
          </p:nvSpPr>
          <p:spPr bwMode="auto">
            <a:xfrm>
              <a:off x="9759066" y="6019741"/>
              <a:ext cx="360000" cy="360000"/>
            </a:xfrm>
            <a:prstGeom prst="ellipse">
              <a:avLst/>
            </a:prstGeom>
            <a:noFill/>
            <a:ln>
              <a:solidFill>
                <a:schemeClr val="bg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68574" tIns="34287" rIns="68574" bIns="34287" numCol="1" rtlCol="0" anchor="t" anchorCtr="0" compatLnSpc="1">
              <a:prstTxWarp prst="textNoShape">
                <a:avLst/>
              </a:prstTxWarp>
            </a:bodyPr>
            <a:lstStyle/>
            <a:p>
              <a:pPr defTabSz="685709">
                <a:buClr>
                  <a:srgbClr val="CC9900"/>
                </a:buClr>
                <a:buFont typeface="Wingdings" pitchFamily="2" charset="2"/>
                <a:buChar char="n"/>
              </a:pPr>
              <a:endParaRPr lang="en-US" sz="1050">
                <a:solidFill>
                  <a:schemeClr val="bg1"/>
                </a:solidFill>
                <a:latin typeface="+mn-lt"/>
                <a:ea typeface="微软雅黑" panose="020B0503020204020204" pitchFamily="34" charset="-122"/>
              </a:endParaRPr>
            </a:p>
          </p:txBody>
        </p:sp>
      </p:grpSp>
      <p:sp>
        <p:nvSpPr>
          <p:cNvPr id="73" name="文本框 72"/>
          <p:cNvSpPr txBox="1"/>
          <p:nvPr/>
        </p:nvSpPr>
        <p:spPr>
          <a:xfrm>
            <a:off x="5226646" y="4503842"/>
            <a:ext cx="679994" cy="253916"/>
          </a:xfrm>
          <a:prstGeom prst="rect">
            <a:avLst/>
          </a:prstGeom>
          <a:noFill/>
        </p:spPr>
        <p:txBody>
          <a:bodyPr wrap="none" rtlCol="0">
            <a:spAutoFit/>
          </a:bodyPr>
          <a:lstStyle/>
          <a:p>
            <a:r>
              <a:rPr lang="en-US" altLang="zh-CN" sz="1050" dirty="0">
                <a:solidFill>
                  <a:schemeClr val="bg1"/>
                </a:solidFill>
                <a:latin typeface="+mn-lt"/>
                <a:ea typeface="微软雅黑" panose="020B0503020204020204" pitchFamily="34" charset="-122"/>
              </a:rPr>
              <a:t>Network</a:t>
            </a:r>
            <a:endParaRPr lang="zh-CN" altLang="en-US" sz="1050" dirty="0">
              <a:solidFill>
                <a:schemeClr val="bg1"/>
              </a:solidFill>
              <a:latin typeface="+mn-lt"/>
              <a:ea typeface="微软雅黑" panose="020B0503020204020204" pitchFamily="34" charset="-122"/>
            </a:endParaRPr>
          </a:p>
        </p:txBody>
      </p:sp>
      <p:grpSp>
        <p:nvGrpSpPr>
          <p:cNvPr id="81" name="组合 634"/>
          <p:cNvGrpSpPr/>
          <p:nvPr/>
        </p:nvGrpSpPr>
        <p:grpSpPr>
          <a:xfrm>
            <a:off x="4923056" y="4511257"/>
            <a:ext cx="215981" cy="215981"/>
            <a:chOff x="14536144" y="-793834"/>
            <a:chExt cx="772115" cy="829074"/>
          </a:xfrm>
          <a:solidFill>
            <a:schemeClr val="bg1"/>
          </a:solidFill>
        </p:grpSpPr>
        <p:sp>
          <p:nvSpPr>
            <p:cNvPr id="82" name="Freeform 33"/>
            <p:cNvSpPr>
              <a:spLocks noEditPoints="1"/>
            </p:cNvSpPr>
            <p:nvPr/>
          </p:nvSpPr>
          <p:spPr bwMode="auto">
            <a:xfrm>
              <a:off x="14770310" y="-521695"/>
              <a:ext cx="348084" cy="556935"/>
            </a:xfrm>
            <a:custGeom>
              <a:avLst/>
              <a:gdLst/>
              <a:ahLst/>
              <a:cxnLst>
                <a:cxn ang="0">
                  <a:pos x="68" y="54"/>
                </a:cxn>
                <a:cxn ang="0">
                  <a:pos x="68" y="48"/>
                </a:cxn>
                <a:cxn ang="0">
                  <a:pos x="70" y="44"/>
                </a:cxn>
                <a:cxn ang="0">
                  <a:pos x="78" y="32"/>
                </a:cxn>
                <a:cxn ang="0">
                  <a:pos x="80" y="24"/>
                </a:cxn>
                <a:cxn ang="0">
                  <a:pos x="74" y="6"/>
                </a:cxn>
                <a:cxn ang="0">
                  <a:pos x="56" y="0"/>
                </a:cxn>
                <a:cxn ang="0">
                  <a:pos x="46" y="2"/>
                </a:cxn>
                <a:cxn ang="0">
                  <a:pos x="32" y="16"/>
                </a:cxn>
                <a:cxn ang="0">
                  <a:pos x="30" y="24"/>
                </a:cxn>
                <a:cxn ang="0">
                  <a:pos x="34" y="38"/>
                </a:cxn>
                <a:cxn ang="0">
                  <a:pos x="40" y="44"/>
                </a:cxn>
                <a:cxn ang="0">
                  <a:pos x="42" y="54"/>
                </a:cxn>
                <a:cxn ang="0">
                  <a:pos x="0" y="174"/>
                </a:cxn>
                <a:cxn ang="0">
                  <a:pos x="2" y="176"/>
                </a:cxn>
                <a:cxn ang="0">
                  <a:pos x="22" y="170"/>
                </a:cxn>
                <a:cxn ang="0">
                  <a:pos x="56" y="164"/>
                </a:cxn>
                <a:cxn ang="0">
                  <a:pos x="72" y="166"/>
                </a:cxn>
                <a:cxn ang="0">
                  <a:pos x="108" y="176"/>
                </a:cxn>
                <a:cxn ang="0">
                  <a:pos x="110" y="176"/>
                </a:cxn>
                <a:cxn ang="0">
                  <a:pos x="110" y="174"/>
                </a:cxn>
                <a:cxn ang="0">
                  <a:pos x="56" y="72"/>
                </a:cxn>
                <a:cxn ang="0">
                  <a:pos x="64" y="76"/>
                </a:cxn>
                <a:cxn ang="0">
                  <a:pos x="68" y="84"/>
                </a:cxn>
                <a:cxn ang="0">
                  <a:pos x="66" y="90"/>
                </a:cxn>
                <a:cxn ang="0">
                  <a:pos x="60" y="96"/>
                </a:cxn>
                <a:cxn ang="0">
                  <a:pos x="56" y="98"/>
                </a:cxn>
                <a:cxn ang="0">
                  <a:pos x="46" y="94"/>
                </a:cxn>
                <a:cxn ang="0">
                  <a:pos x="42" y="84"/>
                </a:cxn>
                <a:cxn ang="0">
                  <a:pos x="44" y="80"/>
                </a:cxn>
                <a:cxn ang="0">
                  <a:pos x="50" y="74"/>
                </a:cxn>
                <a:cxn ang="0">
                  <a:pos x="56" y="72"/>
                </a:cxn>
                <a:cxn ang="0">
                  <a:pos x="56" y="144"/>
                </a:cxn>
                <a:cxn ang="0">
                  <a:pos x="42" y="138"/>
                </a:cxn>
                <a:cxn ang="0">
                  <a:pos x="36" y="124"/>
                </a:cxn>
                <a:cxn ang="0">
                  <a:pos x="38" y="118"/>
                </a:cxn>
                <a:cxn ang="0">
                  <a:pos x="48" y="108"/>
                </a:cxn>
                <a:cxn ang="0">
                  <a:pos x="56" y="106"/>
                </a:cxn>
                <a:cxn ang="0">
                  <a:pos x="68" y="112"/>
                </a:cxn>
                <a:cxn ang="0">
                  <a:pos x="74" y="124"/>
                </a:cxn>
                <a:cxn ang="0">
                  <a:pos x="72" y="132"/>
                </a:cxn>
                <a:cxn ang="0">
                  <a:pos x="62" y="142"/>
                </a:cxn>
                <a:cxn ang="0">
                  <a:pos x="56" y="144"/>
                </a:cxn>
              </a:cxnLst>
              <a:rect l="0" t="0" r="r" b="b"/>
              <a:pathLst>
                <a:path w="110" h="176">
                  <a:moveTo>
                    <a:pt x="110" y="174"/>
                  </a:moveTo>
                  <a:lnTo>
                    <a:pt x="68" y="54"/>
                  </a:lnTo>
                  <a:lnTo>
                    <a:pt x="68" y="54"/>
                  </a:lnTo>
                  <a:lnTo>
                    <a:pt x="68" y="48"/>
                  </a:lnTo>
                  <a:lnTo>
                    <a:pt x="70" y="44"/>
                  </a:lnTo>
                  <a:lnTo>
                    <a:pt x="70" y="44"/>
                  </a:lnTo>
                  <a:lnTo>
                    <a:pt x="76" y="38"/>
                  </a:lnTo>
                  <a:lnTo>
                    <a:pt x="78" y="32"/>
                  </a:lnTo>
                  <a:lnTo>
                    <a:pt x="80" y="24"/>
                  </a:lnTo>
                  <a:lnTo>
                    <a:pt x="80" y="24"/>
                  </a:lnTo>
                  <a:lnTo>
                    <a:pt x="78" y="16"/>
                  </a:lnTo>
                  <a:lnTo>
                    <a:pt x="74" y="6"/>
                  </a:lnTo>
                  <a:lnTo>
                    <a:pt x="64" y="2"/>
                  </a:lnTo>
                  <a:lnTo>
                    <a:pt x="56" y="0"/>
                  </a:lnTo>
                  <a:lnTo>
                    <a:pt x="56" y="0"/>
                  </a:lnTo>
                  <a:lnTo>
                    <a:pt x="46" y="2"/>
                  </a:lnTo>
                  <a:lnTo>
                    <a:pt x="38" y="6"/>
                  </a:lnTo>
                  <a:lnTo>
                    <a:pt x="32" y="16"/>
                  </a:lnTo>
                  <a:lnTo>
                    <a:pt x="30" y="24"/>
                  </a:lnTo>
                  <a:lnTo>
                    <a:pt x="30" y="24"/>
                  </a:lnTo>
                  <a:lnTo>
                    <a:pt x="32" y="32"/>
                  </a:lnTo>
                  <a:lnTo>
                    <a:pt x="34" y="38"/>
                  </a:lnTo>
                  <a:lnTo>
                    <a:pt x="40" y="44"/>
                  </a:lnTo>
                  <a:lnTo>
                    <a:pt x="40" y="44"/>
                  </a:lnTo>
                  <a:lnTo>
                    <a:pt x="42" y="48"/>
                  </a:lnTo>
                  <a:lnTo>
                    <a:pt x="42" y="54"/>
                  </a:lnTo>
                  <a:lnTo>
                    <a:pt x="0" y="174"/>
                  </a:lnTo>
                  <a:lnTo>
                    <a:pt x="0" y="174"/>
                  </a:lnTo>
                  <a:lnTo>
                    <a:pt x="0" y="176"/>
                  </a:lnTo>
                  <a:lnTo>
                    <a:pt x="2" y="176"/>
                  </a:lnTo>
                  <a:lnTo>
                    <a:pt x="2" y="176"/>
                  </a:lnTo>
                  <a:lnTo>
                    <a:pt x="22" y="170"/>
                  </a:lnTo>
                  <a:lnTo>
                    <a:pt x="38" y="166"/>
                  </a:lnTo>
                  <a:lnTo>
                    <a:pt x="56" y="164"/>
                  </a:lnTo>
                  <a:lnTo>
                    <a:pt x="56" y="164"/>
                  </a:lnTo>
                  <a:lnTo>
                    <a:pt x="72" y="166"/>
                  </a:lnTo>
                  <a:lnTo>
                    <a:pt x="88" y="170"/>
                  </a:lnTo>
                  <a:lnTo>
                    <a:pt x="108" y="176"/>
                  </a:lnTo>
                  <a:lnTo>
                    <a:pt x="108" y="176"/>
                  </a:lnTo>
                  <a:lnTo>
                    <a:pt x="110" y="176"/>
                  </a:lnTo>
                  <a:lnTo>
                    <a:pt x="110" y="174"/>
                  </a:lnTo>
                  <a:lnTo>
                    <a:pt x="110" y="174"/>
                  </a:lnTo>
                  <a:close/>
                  <a:moveTo>
                    <a:pt x="56" y="72"/>
                  </a:moveTo>
                  <a:lnTo>
                    <a:pt x="56" y="72"/>
                  </a:lnTo>
                  <a:lnTo>
                    <a:pt x="60" y="74"/>
                  </a:lnTo>
                  <a:lnTo>
                    <a:pt x="64" y="76"/>
                  </a:lnTo>
                  <a:lnTo>
                    <a:pt x="66" y="80"/>
                  </a:lnTo>
                  <a:lnTo>
                    <a:pt x="68" y="84"/>
                  </a:lnTo>
                  <a:lnTo>
                    <a:pt x="68" y="84"/>
                  </a:lnTo>
                  <a:lnTo>
                    <a:pt x="66" y="90"/>
                  </a:lnTo>
                  <a:lnTo>
                    <a:pt x="64" y="94"/>
                  </a:lnTo>
                  <a:lnTo>
                    <a:pt x="60" y="96"/>
                  </a:lnTo>
                  <a:lnTo>
                    <a:pt x="56" y="98"/>
                  </a:lnTo>
                  <a:lnTo>
                    <a:pt x="56" y="98"/>
                  </a:lnTo>
                  <a:lnTo>
                    <a:pt x="50" y="96"/>
                  </a:lnTo>
                  <a:lnTo>
                    <a:pt x="46" y="94"/>
                  </a:lnTo>
                  <a:lnTo>
                    <a:pt x="44" y="90"/>
                  </a:lnTo>
                  <a:lnTo>
                    <a:pt x="42" y="84"/>
                  </a:lnTo>
                  <a:lnTo>
                    <a:pt x="42" y="84"/>
                  </a:lnTo>
                  <a:lnTo>
                    <a:pt x="44" y="80"/>
                  </a:lnTo>
                  <a:lnTo>
                    <a:pt x="46" y="76"/>
                  </a:lnTo>
                  <a:lnTo>
                    <a:pt x="50" y="74"/>
                  </a:lnTo>
                  <a:lnTo>
                    <a:pt x="56" y="72"/>
                  </a:lnTo>
                  <a:lnTo>
                    <a:pt x="56" y="72"/>
                  </a:lnTo>
                  <a:close/>
                  <a:moveTo>
                    <a:pt x="56" y="144"/>
                  </a:moveTo>
                  <a:lnTo>
                    <a:pt x="56" y="144"/>
                  </a:lnTo>
                  <a:lnTo>
                    <a:pt x="48" y="142"/>
                  </a:lnTo>
                  <a:lnTo>
                    <a:pt x="42" y="138"/>
                  </a:lnTo>
                  <a:lnTo>
                    <a:pt x="38" y="132"/>
                  </a:lnTo>
                  <a:lnTo>
                    <a:pt x="36" y="124"/>
                  </a:lnTo>
                  <a:lnTo>
                    <a:pt x="36" y="124"/>
                  </a:lnTo>
                  <a:lnTo>
                    <a:pt x="38" y="118"/>
                  </a:lnTo>
                  <a:lnTo>
                    <a:pt x="42" y="112"/>
                  </a:lnTo>
                  <a:lnTo>
                    <a:pt x="48" y="108"/>
                  </a:lnTo>
                  <a:lnTo>
                    <a:pt x="56" y="106"/>
                  </a:lnTo>
                  <a:lnTo>
                    <a:pt x="56" y="106"/>
                  </a:lnTo>
                  <a:lnTo>
                    <a:pt x="62" y="108"/>
                  </a:lnTo>
                  <a:lnTo>
                    <a:pt x="68" y="112"/>
                  </a:lnTo>
                  <a:lnTo>
                    <a:pt x="72" y="118"/>
                  </a:lnTo>
                  <a:lnTo>
                    <a:pt x="74" y="124"/>
                  </a:lnTo>
                  <a:lnTo>
                    <a:pt x="74" y="124"/>
                  </a:lnTo>
                  <a:lnTo>
                    <a:pt x="72" y="132"/>
                  </a:lnTo>
                  <a:lnTo>
                    <a:pt x="68" y="138"/>
                  </a:lnTo>
                  <a:lnTo>
                    <a:pt x="62" y="142"/>
                  </a:lnTo>
                  <a:lnTo>
                    <a:pt x="56" y="144"/>
                  </a:lnTo>
                  <a:lnTo>
                    <a:pt x="56" y="14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83" name="Freeform 34"/>
            <p:cNvSpPr>
              <a:spLocks/>
            </p:cNvSpPr>
            <p:nvPr/>
          </p:nvSpPr>
          <p:spPr bwMode="auto">
            <a:xfrm>
              <a:off x="14536144" y="-629285"/>
              <a:ext cx="101261" cy="354413"/>
            </a:xfrm>
            <a:custGeom>
              <a:avLst/>
              <a:gdLst/>
              <a:ahLst/>
              <a:cxnLst>
                <a:cxn ang="0">
                  <a:pos x="20" y="2"/>
                </a:cxn>
                <a:cxn ang="0">
                  <a:pos x="20" y="2"/>
                </a:cxn>
                <a:cxn ang="0">
                  <a:pos x="12" y="12"/>
                </a:cxn>
                <a:cxn ang="0">
                  <a:pos x="6" y="26"/>
                </a:cxn>
                <a:cxn ang="0">
                  <a:pos x="2" y="40"/>
                </a:cxn>
                <a:cxn ang="0">
                  <a:pos x="0" y="54"/>
                </a:cxn>
                <a:cxn ang="0">
                  <a:pos x="0" y="54"/>
                </a:cxn>
                <a:cxn ang="0">
                  <a:pos x="2" y="68"/>
                </a:cxn>
                <a:cxn ang="0">
                  <a:pos x="6" y="84"/>
                </a:cxn>
                <a:cxn ang="0">
                  <a:pos x="14" y="98"/>
                </a:cxn>
                <a:cxn ang="0">
                  <a:pos x="24" y="112"/>
                </a:cxn>
                <a:cxn ang="0">
                  <a:pos x="24" y="112"/>
                </a:cxn>
                <a:cxn ang="0">
                  <a:pos x="28" y="112"/>
                </a:cxn>
                <a:cxn ang="0">
                  <a:pos x="30" y="112"/>
                </a:cxn>
                <a:cxn ang="0">
                  <a:pos x="30" y="112"/>
                </a:cxn>
                <a:cxn ang="0">
                  <a:pos x="32" y="108"/>
                </a:cxn>
                <a:cxn ang="0">
                  <a:pos x="30" y="106"/>
                </a:cxn>
                <a:cxn ang="0">
                  <a:pos x="30" y="106"/>
                </a:cxn>
                <a:cxn ang="0">
                  <a:pos x="20" y="94"/>
                </a:cxn>
                <a:cxn ang="0">
                  <a:pos x="14" y="80"/>
                </a:cxn>
                <a:cxn ang="0">
                  <a:pos x="10" y="68"/>
                </a:cxn>
                <a:cxn ang="0">
                  <a:pos x="8" y="54"/>
                </a:cxn>
                <a:cxn ang="0">
                  <a:pos x="8" y="54"/>
                </a:cxn>
                <a:cxn ang="0">
                  <a:pos x="10" y="40"/>
                </a:cxn>
                <a:cxn ang="0">
                  <a:pos x="12" y="28"/>
                </a:cxn>
                <a:cxn ang="0">
                  <a:pos x="18" y="18"/>
                </a:cxn>
                <a:cxn ang="0">
                  <a:pos x="26" y="8"/>
                </a:cxn>
                <a:cxn ang="0">
                  <a:pos x="26" y="8"/>
                </a:cxn>
                <a:cxn ang="0">
                  <a:pos x="28" y="4"/>
                </a:cxn>
                <a:cxn ang="0">
                  <a:pos x="26" y="2"/>
                </a:cxn>
                <a:cxn ang="0">
                  <a:pos x="26" y="2"/>
                </a:cxn>
                <a:cxn ang="0">
                  <a:pos x="24" y="0"/>
                </a:cxn>
                <a:cxn ang="0">
                  <a:pos x="20" y="2"/>
                </a:cxn>
                <a:cxn ang="0">
                  <a:pos x="20" y="2"/>
                </a:cxn>
              </a:cxnLst>
              <a:rect l="0" t="0" r="r" b="b"/>
              <a:pathLst>
                <a:path w="32" h="112">
                  <a:moveTo>
                    <a:pt x="20" y="2"/>
                  </a:moveTo>
                  <a:lnTo>
                    <a:pt x="20" y="2"/>
                  </a:lnTo>
                  <a:lnTo>
                    <a:pt x="12" y="12"/>
                  </a:lnTo>
                  <a:lnTo>
                    <a:pt x="6" y="26"/>
                  </a:lnTo>
                  <a:lnTo>
                    <a:pt x="2" y="40"/>
                  </a:lnTo>
                  <a:lnTo>
                    <a:pt x="0" y="54"/>
                  </a:lnTo>
                  <a:lnTo>
                    <a:pt x="0" y="54"/>
                  </a:lnTo>
                  <a:lnTo>
                    <a:pt x="2" y="68"/>
                  </a:lnTo>
                  <a:lnTo>
                    <a:pt x="6" y="84"/>
                  </a:lnTo>
                  <a:lnTo>
                    <a:pt x="14" y="98"/>
                  </a:lnTo>
                  <a:lnTo>
                    <a:pt x="24" y="112"/>
                  </a:lnTo>
                  <a:lnTo>
                    <a:pt x="24" y="112"/>
                  </a:lnTo>
                  <a:lnTo>
                    <a:pt x="28" y="112"/>
                  </a:lnTo>
                  <a:lnTo>
                    <a:pt x="30" y="112"/>
                  </a:lnTo>
                  <a:lnTo>
                    <a:pt x="30" y="112"/>
                  </a:lnTo>
                  <a:lnTo>
                    <a:pt x="32" y="108"/>
                  </a:lnTo>
                  <a:lnTo>
                    <a:pt x="30" y="106"/>
                  </a:lnTo>
                  <a:lnTo>
                    <a:pt x="30" y="106"/>
                  </a:lnTo>
                  <a:lnTo>
                    <a:pt x="20" y="94"/>
                  </a:lnTo>
                  <a:lnTo>
                    <a:pt x="14" y="80"/>
                  </a:lnTo>
                  <a:lnTo>
                    <a:pt x="10" y="68"/>
                  </a:lnTo>
                  <a:lnTo>
                    <a:pt x="8" y="54"/>
                  </a:lnTo>
                  <a:lnTo>
                    <a:pt x="8" y="54"/>
                  </a:lnTo>
                  <a:lnTo>
                    <a:pt x="10" y="40"/>
                  </a:lnTo>
                  <a:lnTo>
                    <a:pt x="12" y="28"/>
                  </a:lnTo>
                  <a:lnTo>
                    <a:pt x="18" y="18"/>
                  </a:lnTo>
                  <a:lnTo>
                    <a:pt x="26" y="8"/>
                  </a:lnTo>
                  <a:lnTo>
                    <a:pt x="26" y="8"/>
                  </a:lnTo>
                  <a:lnTo>
                    <a:pt x="28" y="4"/>
                  </a:lnTo>
                  <a:lnTo>
                    <a:pt x="26" y="2"/>
                  </a:lnTo>
                  <a:lnTo>
                    <a:pt x="26" y="2"/>
                  </a:lnTo>
                  <a:lnTo>
                    <a:pt x="24" y="0"/>
                  </a:lnTo>
                  <a:lnTo>
                    <a:pt x="20" y="2"/>
                  </a:lnTo>
                  <a:lnTo>
                    <a:pt x="20" y="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84" name="Freeform 35"/>
            <p:cNvSpPr>
              <a:spLocks/>
            </p:cNvSpPr>
            <p:nvPr/>
          </p:nvSpPr>
          <p:spPr bwMode="auto">
            <a:xfrm>
              <a:off x="14618419" y="-603970"/>
              <a:ext cx="88603" cy="310112"/>
            </a:xfrm>
            <a:custGeom>
              <a:avLst/>
              <a:gdLst/>
              <a:ahLst/>
              <a:cxnLst>
                <a:cxn ang="0">
                  <a:pos x="18" y="0"/>
                </a:cxn>
                <a:cxn ang="0">
                  <a:pos x="18" y="0"/>
                </a:cxn>
                <a:cxn ang="0">
                  <a:pos x="10" y="10"/>
                </a:cxn>
                <a:cxn ang="0">
                  <a:pos x="4" y="22"/>
                </a:cxn>
                <a:cxn ang="0">
                  <a:pos x="0" y="34"/>
                </a:cxn>
                <a:cxn ang="0">
                  <a:pos x="0" y="46"/>
                </a:cxn>
                <a:cxn ang="0">
                  <a:pos x="0" y="46"/>
                </a:cxn>
                <a:cxn ang="0">
                  <a:pos x="0" y="60"/>
                </a:cxn>
                <a:cxn ang="0">
                  <a:pos x="4" y="72"/>
                </a:cxn>
                <a:cxn ang="0">
                  <a:pos x="12" y="84"/>
                </a:cxn>
                <a:cxn ang="0">
                  <a:pos x="20" y="96"/>
                </a:cxn>
                <a:cxn ang="0">
                  <a:pos x="20" y="96"/>
                </a:cxn>
                <a:cxn ang="0">
                  <a:pos x="24" y="98"/>
                </a:cxn>
                <a:cxn ang="0">
                  <a:pos x="26" y="96"/>
                </a:cxn>
                <a:cxn ang="0">
                  <a:pos x="26" y="96"/>
                </a:cxn>
                <a:cxn ang="0">
                  <a:pos x="28" y="94"/>
                </a:cxn>
                <a:cxn ang="0">
                  <a:pos x="26" y="90"/>
                </a:cxn>
                <a:cxn ang="0">
                  <a:pos x="26" y="90"/>
                </a:cxn>
                <a:cxn ang="0">
                  <a:pos x="18" y="80"/>
                </a:cxn>
                <a:cxn ang="0">
                  <a:pos x="12" y="70"/>
                </a:cxn>
                <a:cxn ang="0">
                  <a:pos x="8" y="58"/>
                </a:cxn>
                <a:cxn ang="0">
                  <a:pos x="8" y="46"/>
                </a:cxn>
                <a:cxn ang="0">
                  <a:pos x="8" y="46"/>
                </a:cxn>
                <a:cxn ang="0">
                  <a:pos x="8" y="36"/>
                </a:cxn>
                <a:cxn ang="0">
                  <a:pos x="12" y="24"/>
                </a:cxn>
                <a:cxn ang="0">
                  <a:pos x="16" y="16"/>
                </a:cxn>
                <a:cxn ang="0">
                  <a:pos x="24" y="6"/>
                </a:cxn>
                <a:cxn ang="0">
                  <a:pos x="24" y="6"/>
                </a:cxn>
                <a:cxn ang="0">
                  <a:pos x="24" y="4"/>
                </a:cxn>
                <a:cxn ang="0">
                  <a:pos x="24" y="0"/>
                </a:cxn>
                <a:cxn ang="0">
                  <a:pos x="24" y="0"/>
                </a:cxn>
                <a:cxn ang="0">
                  <a:pos x="20" y="0"/>
                </a:cxn>
                <a:cxn ang="0">
                  <a:pos x="18" y="0"/>
                </a:cxn>
                <a:cxn ang="0">
                  <a:pos x="18" y="0"/>
                </a:cxn>
              </a:cxnLst>
              <a:rect l="0" t="0" r="r" b="b"/>
              <a:pathLst>
                <a:path w="28" h="98">
                  <a:moveTo>
                    <a:pt x="18" y="0"/>
                  </a:moveTo>
                  <a:lnTo>
                    <a:pt x="18" y="0"/>
                  </a:lnTo>
                  <a:lnTo>
                    <a:pt x="10" y="10"/>
                  </a:lnTo>
                  <a:lnTo>
                    <a:pt x="4" y="22"/>
                  </a:lnTo>
                  <a:lnTo>
                    <a:pt x="0" y="34"/>
                  </a:lnTo>
                  <a:lnTo>
                    <a:pt x="0" y="46"/>
                  </a:lnTo>
                  <a:lnTo>
                    <a:pt x="0" y="46"/>
                  </a:lnTo>
                  <a:lnTo>
                    <a:pt x="0" y="60"/>
                  </a:lnTo>
                  <a:lnTo>
                    <a:pt x="4" y="72"/>
                  </a:lnTo>
                  <a:lnTo>
                    <a:pt x="12" y="84"/>
                  </a:lnTo>
                  <a:lnTo>
                    <a:pt x="20" y="96"/>
                  </a:lnTo>
                  <a:lnTo>
                    <a:pt x="20" y="96"/>
                  </a:lnTo>
                  <a:lnTo>
                    <a:pt x="24" y="98"/>
                  </a:lnTo>
                  <a:lnTo>
                    <a:pt x="26" y="96"/>
                  </a:lnTo>
                  <a:lnTo>
                    <a:pt x="26" y="96"/>
                  </a:lnTo>
                  <a:lnTo>
                    <a:pt x="28" y="94"/>
                  </a:lnTo>
                  <a:lnTo>
                    <a:pt x="26" y="90"/>
                  </a:lnTo>
                  <a:lnTo>
                    <a:pt x="26" y="90"/>
                  </a:lnTo>
                  <a:lnTo>
                    <a:pt x="18" y="80"/>
                  </a:lnTo>
                  <a:lnTo>
                    <a:pt x="12" y="70"/>
                  </a:lnTo>
                  <a:lnTo>
                    <a:pt x="8" y="58"/>
                  </a:lnTo>
                  <a:lnTo>
                    <a:pt x="8" y="46"/>
                  </a:lnTo>
                  <a:lnTo>
                    <a:pt x="8" y="46"/>
                  </a:lnTo>
                  <a:lnTo>
                    <a:pt x="8" y="36"/>
                  </a:lnTo>
                  <a:lnTo>
                    <a:pt x="12" y="24"/>
                  </a:lnTo>
                  <a:lnTo>
                    <a:pt x="16" y="16"/>
                  </a:lnTo>
                  <a:lnTo>
                    <a:pt x="24" y="6"/>
                  </a:lnTo>
                  <a:lnTo>
                    <a:pt x="24" y="6"/>
                  </a:lnTo>
                  <a:lnTo>
                    <a:pt x="24" y="4"/>
                  </a:lnTo>
                  <a:lnTo>
                    <a:pt x="24" y="0"/>
                  </a:lnTo>
                  <a:lnTo>
                    <a:pt x="24" y="0"/>
                  </a:lnTo>
                  <a:lnTo>
                    <a:pt x="20" y="0"/>
                  </a:lnTo>
                  <a:lnTo>
                    <a:pt x="18" y="0"/>
                  </a:lnTo>
                  <a:lnTo>
                    <a:pt x="18"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85" name="Freeform 36"/>
            <p:cNvSpPr>
              <a:spLocks/>
            </p:cNvSpPr>
            <p:nvPr/>
          </p:nvSpPr>
          <p:spPr bwMode="auto">
            <a:xfrm>
              <a:off x="14694364" y="-578655"/>
              <a:ext cx="82274" cy="259481"/>
            </a:xfrm>
            <a:custGeom>
              <a:avLst/>
              <a:gdLst/>
              <a:ahLst/>
              <a:cxnLst>
                <a:cxn ang="0">
                  <a:pos x="16" y="0"/>
                </a:cxn>
                <a:cxn ang="0">
                  <a:pos x="16" y="0"/>
                </a:cxn>
                <a:cxn ang="0">
                  <a:pos x="8" y="8"/>
                </a:cxn>
                <a:cxn ang="0">
                  <a:pos x="4" y="18"/>
                </a:cxn>
                <a:cxn ang="0">
                  <a:pos x="2" y="28"/>
                </a:cxn>
                <a:cxn ang="0">
                  <a:pos x="0" y="38"/>
                </a:cxn>
                <a:cxn ang="0">
                  <a:pos x="0" y="38"/>
                </a:cxn>
                <a:cxn ang="0">
                  <a:pos x="2" y="50"/>
                </a:cxn>
                <a:cxn ang="0">
                  <a:pos x="4" y="60"/>
                </a:cxn>
                <a:cxn ang="0">
                  <a:pos x="10" y="72"/>
                </a:cxn>
                <a:cxn ang="0">
                  <a:pos x="18" y="80"/>
                </a:cxn>
                <a:cxn ang="0">
                  <a:pos x="18" y="80"/>
                </a:cxn>
                <a:cxn ang="0">
                  <a:pos x="22" y="82"/>
                </a:cxn>
                <a:cxn ang="0">
                  <a:pos x="24" y="80"/>
                </a:cxn>
                <a:cxn ang="0">
                  <a:pos x="24" y="80"/>
                </a:cxn>
                <a:cxn ang="0">
                  <a:pos x="26" y="78"/>
                </a:cxn>
                <a:cxn ang="0">
                  <a:pos x="24" y="74"/>
                </a:cxn>
                <a:cxn ang="0">
                  <a:pos x="24" y="74"/>
                </a:cxn>
                <a:cxn ang="0">
                  <a:pos x="18" y="66"/>
                </a:cxn>
                <a:cxn ang="0">
                  <a:pos x="12" y="58"/>
                </a:cxn>
                <a:cxn ang="0">
                  <a:pos x="10" y="48"/>
                </a:cxn>
                <a:cxn ang="0">
                  <a:pos x="8" y="38"/>
                </a:cxn>
                <a:cxn ang="0">
                  <a:pos x="8" y="38"/>
                </a:cxn>
                <a:cxn ang="0">
                  <a:pos x="10" y="30"/>
                </a:cxn>
                <a:cxn ang="0">
                  <a:pos x="12" y="22"/>
                </a:cxn>
                <a:cxn ang="0">
                  <a:pos x="16" y="14"/>
                </a:cxn>
                <a:cxn ang="0">
                  <a:pos x="22" y="6"/>
                </a:cxn>
                <a:cxn ang="0">
                  <a:pos x="22" y="6"/>
                </a:cxn>
                <a:cxn ang="0">
                  <a:pos x="22" y="4"/>
                </a:cxn>
                <a:cxn ang="0">
                  <a:pos x="22" y="0"/>
                </a:cxn>
                <a:cxn ang="0">
                  <a:pos x="22" y="0"/>
                </a:cxn>
                <a:cxn ang="0">
                  <a:pos x="18" y="0"/>
                </a:cxn>
                <a:cxn ang="0">
                  <a:pos x="16" y="0"/>
                </a:cxn>
                <a:cxn ang="0">
                  <a:pos x="16" y="0"/>
                </a:cxn>
              </a:cxnLst>
              <a:rect l="0" t="0" r="r" b="b"/>
              <a:pathLst>
                <a:path w="26" h="82">
                  <a:moveTo>
                    <a:pt x="16" y="0"/>
                  </a:moveTo>
                  <a:lnTo>
                    <a:pt x="16" y="0"/>
                  </a:lnTo>
                  <a:lnTo>
                    <a:pt x="8" y="8"/>
                  </a:lnTo>
                  <a:lnTo>
                    <a:pt x="4" y="18"/>
                  </a:lnTo>
                  <a:lnTo>
                    <a:pt x="2" y="28"/>
                  </a:lnTo>
                  <a:lnTo>
                    <a:pt x="0" y="38"/>
                  </a:lnTo>
                  <a:lnTo>
                    <a:pt x="0" y="38"/>
                  </a:lnTo>
                  <a:lnTo>
                    <a:pt x="2" y="50"/>
                  </a:lnTo>
                  <a:lnTo>
                    <a:pt x="4" y="60"/>
                  </a:lnTo>
                  <a:lnTo>
                    <a:pt x="10" y="72"/>
                  </a:lnTo>
                  <a:lnTo>
                    <a:pt x="18" y="80"/>
                  </a:lnTo>
                  <a:lnTo>
                    <a:pt x="18" y="80"/>
                  </a:lnTo>
                  <a:lnTo>
                    <a:pt x="22" y="82"/>
                  </a:lnTo>
                  <a:lnTo>
                    <a:pt x="24" y="80"/>
                  </a:lnTo>
                  <a:lnTo>
                    <a:pt x="24" y="80"/>
                  </a:lnTo>
                  <a:lnTo>
                    <a:pt x="26" y="78"/>
                  </a:lnTo>
                  <a:lnTo>
                    <a:pt x="24" y="74"/>
                  </a:lnTo>
                  <a:lnTo>
                    <a:pt x="24" y="74"/>
                  </a:lnTo>
                  <a:lnTo>
                    <a:pt x="18" y="66"/>
                  </a:lnTo>
                  <a:lnTo>
                    <a:pt x="12" y="58"/>
                  </a:lnTo>
                  <a:lnTo>
                    <a:pt x="10" y="48"/>
                  </a:lnTo>
                  <a:lnTo>
                    <a:pt x="8" y="38"/>
                  </a:lnTo>
                  <a:lnTo>
                    <a:pt x="8" y="38"/>
                  </a:lnTo>
                  <a:lnTo>
                    <a:pt x="10" y="30"/>
                  </a:lnTo>
                  <a:lnTo>
                    <a:pt x="12" y="22"/>
                  </a:lnTo>
                  <a:lnTo>
                    <a:pt x="16" y="14"/>
                  </a:lnTo>
                  <a:lnTo>
                    <a:pt x="22" y="6"/>
                  </a:lnTo>
                  <a:lnTo>
                    <a:pt x="22" y="6"/>
                  </a:lnTo>
                  <a:lnTo>
                    <a:pt x="22" y="4"/>
                  </a:lnTo>
                  <a:lnTo>
                    <a:pt x="22" y="0"/>
                  </a:lnTo>
                  <a:lnTo>
                    <a:pt x="22" y="0"/>
                  </a:lnTo>
                  <a:lnTo>
                    <a:pt x="18" y="0"/>
                  </a:lnTo>
                  <a:lnTo>
                    <a:pt x="16" y="0"/>
                  </a:lnTo>
                  <a:lnTo>
                    <a:pt x="16" y="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86" name="Freeform 37"/>
            <p:cNvSpPr>
              <a:spLocks/>
            </p:cNvSpPr>
            <p:nvPr/>
          </p:nvSpPr>
          <p:spPr bwMode="auto">
            <a:xfrm>
              <a:off x="14776639" y="-559668"/>
              <a:ext cx="69617" cy="215179"/>
            </a:xfrm>
            <a:custGeom>
              <a:avLst/>
              <a:gdLst/>
              <a:ahLst/>
              <a:cxnLst>
                <a:cxn ang="0">
                  <a:pos x="12" y="2"/>
                </a:cxn>
                <a:cxn ang="0">
                  <a:pos x="12" y="2"/>
                </a:cxn>
                <a:cxn ang="0">
                  <a:pos x="6" y="8"/>
                </a:cxn>
                <a:cxn ang="0">
                  <a:pos x="2" y="16"/>
                </a:cxn>
                <a:cxn ang="0">
                  <a:pos x="0" y="24"/>
                </a:cxn>
                <a:cxn ang="0">
                  <a:pos x="0" y="32"/>
                </a:cxn>
                <a:cxn ang="0">
                  <a:pos x="0" y="32"/>
                </a:cxn>
                <a:cxn ang="0">
                  <a:pos x="0" y="42"/>
                </a:cxn>
                <a:cxn ang="0">
                  <a:pos x="4" y="50"/>
                </a:cxn>
                <a:cxn ang="0">
                  <a:pos x="8" y="60"/>
                </a:cxn>
                <a:cxn ang="0">
                  <a:pos x="14" y="68"/>
                </a:cxn>
                <a:cxn ang="0">
                  <a:pos x="14" y="68"/>
                </a:cxn>
                <a:cxn ang="0">
                  <a:pos x="18" y="68"/>
                </a:cxn>
                <a:cxn ang="0">
                  <a:pos x="20" y="68"/>
                </a:cxn>
                <a:cxn ang="0">
                  <a:pos x="20" y="68"/>
                </a:cxn>
                <a:cxn ang="0">
                  <a:pos x="22" y="64"/>
                </a:cxn>
                <a:cxn ang="0">
                  <a:pos x="20" y="62"/>
                </a:cxn>
                <a:cxn ang="0">
                  <a:pos x="20" y="62"/>
                </a:cxn>
                <a:cxn ang="0">
                  <a:pos x="14" y="54"/>
                </a:cxn>
                <a:cxn ang="0">
                  <a:pos x="12" y="48"/>
                </a:cxn>
                <a:cxn ang="0">
                  <a:pos x="8" y="40"/>
                </a:cxn>
                <a:cxn ang="0">
                  <a:pos x="8" y="32"/>
                </a:cxn>
                <a:cxn ang="0">
                  <a:pos x="8" y="32"/>
                </a:cxn>
                <a:cxn ang="0">
                  <a:pos x="8" y="26"/>
                </a:cxn>
                <a:cxn ang="0">
                  <a:pos x="10" y="20"/>
                </a:cxn>
                <a:cxn ang="0">
                  <a:pos x="14" y="14"/>
                </a:cxn>
                <a:cxn ang="0">
                  <a:pos x="18" y="8"/>
                </a:cxn>
                <a:cxn ang="0">
                  <a:pos x="18" y="8"/>
                </a:cxn>
                <a:cxn ang="0">
                  <a:pos x="20" y="4"/>
                </a:cxn>
                <a:cxn ang="0">
                  <a:pos x="18" y="2"/>
                </a:cxn>
                <a:cxn ang="0">
                  <a:pos x="18" y="2"/>
                </a:cxn>
                <a:cxn ang="0">
                  <a:pos x="16" y="0"/>
                </a:cxn>
                <a:cxn ang="0">
                  <a:pos x="12" y="2"/>
                </a:cxn>
                <a:cxn ang="0">
                  <a:pos x="12" y="2"/>
                </a:cxn>
              </a:cxnLst>
              <a:rect l="0" t="0" r="r" b="b"/>
              <a:pathLst>
                <a:path w="22" h="68">
                  <a:moveTo>
                    <a:pt x="12" y="2"/>
                  </a:moveTo>
                  <a:lnTo>
                    <a:pt x="12" y="2"/>
                  </a:lnTo>
                  <a:lnTo>
                    <a:pt x="6" y="8"/>
                  </a:lnTo>
                  <a:lnTo>
                    <a:pt x="2" y="16"/>
                  </a:lnTo>
                  <a:lnTo>
                    <a:pt x="0" y="24"/>
                  </a:lnTo>
                  <a:lnTo>
                    <a:pt x="0" y="32"/>
                  </a:lnTo>
                  <a:lnTo>
                    <a:pt x="0" y="32"/>
                  </a:lnTo>
                  <a:lnTo>
                    <a:pt x="0" y="42"/>
                  </a:lnTo>
                  <a:lnTo>
                    <a:pt x="4" y="50"/>
                  </a:lnTo>
                  <a:lnTo>
                    <a:pt x="8" y="60"/>
                  </a:lnTo>
                  <a:lnTo>
                    <a:pt x="14" y="68"/>
                  </a:lnTo>
                  <a:lnTo>
                    <a:pt x="14" y="68"/>
                  </a:lnTo>
                  <a:lnTo>
                    <a:pt x="18" y="68"/>
                  </a:lnTo>
                  <a:lnTo>
                    <a:pt x="20" y="68"/>
                  </a:lnTo>
                  <a:lnTo>
                    <a:pt x="20" y="68"/>
                  </a:lnTo>
                  <a:lnTo>
                    <a:pt x="22" y="64"/>
                  </a:lnTo>
                  <a:lnTo>
                    <a:pt x="20" y="62"/>
                  </a:lnTo>
                  <a:lnTo>
                    <a:pt x="20" y="62"/>
                  </a:lnTo>
                  <a:lnTo>
                    <a:pt x="14" y="54"/>
                  </a:lnTo>
                  <a:lnTo>
                    <a:pt x="12" y="48"/>
                  </a:lnTo>
                  <a:lnTo>
                    <a:pt x="8" y="40"/>
                  </a:lnTo>
                  <a:lnTo>
                    <a:pt x="8" y="32"/>
                  </a:lnTo>
                  <a:lnTo>
                    <a:pt x="8" y="32"/>
                  </a:lnTo>
                  <a:lnTo>
                    <a:pt x="8" y="26"/>
                  </a:lnTo>
                  <a:lnTo>
                    <a:pt x="10" y="20"/>
                  </a:lnTo>
                  <a:lnTo>
                    <a:pt x="14" y="14"/>
                  </a:lnTo>
                  <a:lnTo>
                    <a:pt x="18" y="8"/>
                  </a:lnTo>
                  <a:lnTo>
                    <a:pt x="18" y="8"/>
                  </a:lnTo>
                  <a:lnTo>
                    <a:pt x="20" y="4"/>
                  </a:lnTo>
                  <a:lnTo>
                    <a:pt x="18" y="2"/>
                  </a:lnTo>
                  <a:lnTo>
                    <a:pt x="18" y="2"/>
                  </a:lnTo>
                  <a:lnTo>
                    <a:pt x="16" y="0"/>
                  </a:lnTo>
                  <a:lnTo>
                    <a:pt x="12" y="2"/>
                  </a:lnTo>
                  <a:lnTo>
                    <a:pt x="12" y="2"/>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87" name="Freeform 38"/>
            <p:cNvSpPr>
              <a:spLocks/>
            </p:cNvSpPr>
            <p:nvPr/>
          </p:nvSpPr>
          <p:spPr bwMode="auto">
            <a:xfrm>
              <a:off x="15042449" y="-793834"/>
              <a:ext cx="265810" cy="253152"/>
            </a:xfrm>
            <a:custGeom>
              <a:avLst/>
              <a:gdLst/>
              <a:ahLst/>
              <a:cxnLst>
                <a:cxn ang="0">
                  <a:pos x="84" y="76"/>
                </a:cxn>
                <a:cxn ang="0">
                  <a:pos x="84" y="76"/>
                </a:cxn>
                <a:cxn ang="0">
                  <a:pos x="84" y="60"/>
                </a:cxn>
                <a:cxn ang="0">
                  <a:pos x="78" y="46"/>
                </a:cxn>
                <a:cxn ang="0">
                  <a:pos x="72" y="34"/>
                </a:cxn>
                <a:cxn ang="0">
                  <a:pos x="62" y="24"/>
                </a:cxn>
                <a:cxn ang="0">
                  <a:pos x="62" y="24"/>
                </a:cxn>
                <a:cxn ang="0">
                  <a:pos x="50" y="14"/>
                </a:cxn>
                <a:cxn ang="0">
                  <a:pos x="36" y="6"/>
                </a:cxn>
                <a:cxn ang="0">
                  <a:pos x="22" y="2"/>
                </a:cxn>
                <a:cxn ang="0">
                  <a:pos x="4" y="0"/>
                </a:cxn>
                <a:cxn ang="0">
                  <a:pos x="4" y="0"/>
                </a:cxn>
                <a:cxn ang="0">
                  <a:pos x="2" y="0"/>
                </a:cxn>
                <a:cxn ang="0">
                  <a:pos x="0" y="4"/>
                </a:cxn>
                <a:cxn ang="0">
                  <a:pos x="0" y="4"/>
                </a:cxn>
                <a:cxn ang="0">
                  <a:pos x="2" y="6"/>
                </a:cxn>
                <a:cxn ang="0">
                  <a:pos x="4" y="8"/>
                </a:cxn>
                <a:cxn ang="0">
                  <a:pos x="4" y="8"/>
                </a:cxn>
                <a:cxn ang="0">
                  <a:pos x="20" y="10"/>
                </a:cxn>
                <a:cxn ang="0">
                  <a:pos x="34" y="14"/>
                </a:cxn>
                <a:cxn ang="0">
                  <a:pos x="46" y="20"/>
                </a:cxn>
                <a:cxn ang="0">
                  <a:pos x="58" y="30"/>
                </a:cxn>
                <a:cxn ang="0">
                  <a:pos x="58" y="30"/>
                </a:cxn>
                <a:cxn ang="0">
                  <a:pos x="66" y="40"/>
                </a:cxn>
                <a:cxn ang="0">
                  <a:pos x="72" y="50"/>
                </a:cxn>
                <a:cxn ang="0">
                  <a:pos x="74" y="62"/>
                </a:cxn>
                <a:cxn ang="0">
                  <a:pos x="76" y="76"/>
                </a:cxn>
                <a:cxn ang="0">
                  <a:pos x="76" y="76"/>
                </a:cxn>
                <a:cxn ang="0">
                  <a:pos x="78" y="78"/>
                </a:cxn>
                <a:cxn ang="0">
                  <a:pos x="80" y="80"/>
                </a:cxn>
                <a:cxn ang="0">
                  <a:pos x="80" y="80"/>
                </a:cxn>
                <a:cxn ang="0">
                  <a:pos x="84" y="78"/>
                </a:cxn>
                <a:cxn ang="0">
                  <a:pos x="84" y="76"/>
                </a:cxn>
                <a:cxn ang="0">
                  <a:pos x="84" y="76"/>
                </a:cxn>
              </a:cxnLst>
              <a:rect l="0" t="0" r="r" b="b"/>
              <a:pathLst>
                <a:path w="84" h="80">
                  <a:moveTo>
                    <a:pt x="84" y="76"/>
                  </a:moveTo>
                  <a:lnTo>
                    <a:pt x="84" y="76"/>
                  </a:lnTo>
                  <a:lnTo>
                    <a:pt x="84" y="60"/>
                  </a:lnTo>
                  <a:lnTo>
                    <a:pt x="78" y="46"/>
                  </a:lnTo>
                  <a:lnTo>
                    <a:pt x="72" y="34"/>
                  </a:lnTo>
                  <a:lnTo>
                    <a:pt x="62" y="24"/>
                  </a:lnTo>
                  <a:lnTo>
                    <a:pt x="62" y="24"/>
                  </a:lnTo>
                  <a:lnTo>
                    <a:pt x="50" y="14"/>
                  </a:lnTo>
                  <a:lnTo>
                    <a:pt x="36" y="6"/>
                  </a:lnTo>
                  <a:lnTo>
                    <a:pt x="22" y="2"/>
                  </a:lnTo>
                  <a:lnTo>
                    <a:pt x="4" y="0"/>
                  </a:lnTo>
                  <a:lnTo>
                    <a:pt x="4" y="0"/>
                  </a:lnTo>
                  <a:lnTo>
                    <a:pt x="2" y="0"/>
                  </a:lnTo>
                  <a:lnTo>
                    <a:pt x="0" y="4"/>
                  </a:lnTo>
                  <a:lnTo>
                    <a:pt x="0" y="4"/>
                  </a:lnTo>
                  <a:lnTo>
                    <a:pt x="2" y="6"/>
                  </a:lnTo>
                  <a:lnTo>
                    <a:pt x="4" y="8"/>
                  </a:lnTo>
                  <a:lnTo>
                    <a:pt x="4" y="8"/>
                  </a:lnTo>
                  <a:lnTo>
                    <a:pt x="20" y="10"/>
                  </a:lnTo>
                  <a:lnTo>
                    <a:pt x="34" y="14"/>
                  </a:lnTo>
                  <a:lnTo>
                    <a:pt x="46" y="20"/>
                  </a:lnTo>
                  <a:lnTo>
                    <a:pt x="58" y="30"/>
                  </a:lnTo>
                  <a:lnTo>
                    <a:pt x="58" y="30"/>
                  </a:lnTo>
                  <a:lnTo>
                    <a:pt x="66" y="40"/>
                  </a:lnTo>
                  <a:lnTo>
                    <a:pt x="72" y="50"/>
                  </a:lnTo>
                  <a:lnTo>
                    <a:pt x="74" y="62"/>
                  </a:lnTo>
                  <a:lnTo>
                    <a:pt x="76" y="76"/>
                  </a:lnTo>
                  <a:lnTo>
                    <a:pt x="76" y="76"/>
                  </a:lnTo>
                  <a:lnTo>
                    <a:pt x="78" y="78"/>
                  </a:lnTo>
                  <a:lnTo>
                    <a:pt x="80" y="80"/>
                  </a:lnTo>
                  <a:lnTo>
                    <a:pt x="80" y="80"/>
                  </a:lnTo>
                  <a:lnTo>
                    <a:pt x="84" y="78"/>
                  </a:lnTo>
                  <a:lnTo>
                    <a:pt x="84" y="76"/>
                  </a:lnTo>
                  <a:lnTo>
                    <a:pt x="84" y="7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88" name="Freeform 39"/>
            <p:cNvSpPr>
              <a:spLocks/>
            </p:cNvSpPr>
            <p:nvPr/>
          </p:nvSpPr>
          <p:spPr bwMode="auto">
            <a:xfrm>
              <a:off x="15010805" y="-730546"/>
              <a:ext cx="234166" cy="221508"/>
            </a:xfrm>
            <a:custGeom>
              <a:avLst/>
              <a:gdLst/>
              <a:ahLst/>
              <a:cxnLst>
                <a:cxn ang="0">
                  <a:pos x="74" y="66"/>
                </a:cxn>
                <a:cxn ang="0">
                  <a:pos x="74" y="66"/>
                </a:cxn>
                <a:cxn ang="0">
                  <a:pos x="72" y="52"/>
                </a:cxn>
                <a:cxn ang="0">
                  <a:pos x="68" y="42"/>
                </a:cxn>
                <a:cxn ang="0">
                  <a:pos x="62" y="30"/>
                </a:cxn>
                <a:cxn ang="0">
                  <a:pos x="54" y="20"/>
                </a:cxn>
                <a:cxn ang="0">
                  <a:pos x="54" y="20"/>
                </a:cxn>
                <a:cxn ang="0">
                  <a:pos x="44" y="12"/>
                </a:cxn>
                <a:cxn ang="0">
                  <a:pos x="32" y="6"/>
                </a:cxn>
                <a:cxn ang="0">
                  <a:pos x="18" y="2"/>
                </a:cxn>
                <a:cxn ang="0">
                  <a:pos x="4" y="0"/>
                </a:cxn>
                <a:cxn ang="0">
                  <a:pos x="4" y="0"/>
                </a:cxn>
                <a:cxn ang="0">
                  <a:pos x="2" y="2"/>
                </a:cxn>
                <a:cxn ang="0">
                  <a:pos x="0" y="4"/>
                </a:cxn>
                <a:cxn ang="0">
                  <a:pos x="0" y="4"/>
                </a:cxn>
                <a:cxn ang="0">
                  <a:pos x="2" y="8"/>
                </a:cxn>
                <a:cxn ang="0">
                  <a:pos x="4" y="8"/>
                </a:cxn>
                <a:cxn ang="0">
                  <a:pos x="4" y="8"/>
                </a:cxn>
                <a:cxn ang="0">
                  <a:pos x="16" y="10"/>
                </a:cxn>
                <a:cxn ang="0">
                  <a:pos x="28" y="14"/>
                </a:cxn>
                <a:cxn ang="0">
                  <a:pos x="40" y="20"/>
                </a:cxn>
                <a:cxn ang="0">
                  <a:pos x="48" y="26"/>
                </a:cxn>
                <a:cxn ang="0">
                  <a:pos x="48" y="26"/>
                </a:cxn>
                <a:cxn ang="0">
                  <a:pos x="56" y="36"/>
                </a:cxn>
                <a:cxn ang="0">
                  <a:pos x="60" y="44"/>
                </a:cxn>
                <a:cxn ang="0">
                  <a:pos x="64" y="54"/>
                </a:cxn>
                <a:cxn ang="0">
                  <a:pos x="66" y="66"/>
                </a:cxn>
                <a:cxn ang="0">
                  <a:pos x="66" y="66"/>
                </a:cxn>
                <a:cxn ang="0">
                  <a:pos x="66" y="68"/>
                </a:cxn>
                <a:cxn ang="0">
                  <a:pos x="70" y="70"/>
                </a:cxn>
                <a:cxn ang="0">
                  <a:pos x="70" y="70"/>
                </a:cxn>
                <a:cxn ang="0">
                  <a:pos x="72" y="68"/>
                </a:cxn>
                <a:cxn ang="0">
                  <a:pos x="74" y="66"/>
                </a:cxn>
                <a:cxn ang="0">
                  <a:pos x="74" y="66"/>
                </a:cxn>
              </a:cxnLst>
              <a:rect l="0" t="0" r="r" b="b"/>
              <a:pathLst>
                <a:path w="74" h="70">
                  <a:moveTo>
                    <a:pt x="74" y="66"/>
                  </a:moveTo>
                  <a:lnTo>
                    <a:pt x="74" y="66"/>
                  </a:lnTo>
                  <a:lnTo>
                    <a:pt x="72" y="52"/>
                  </a:lnTo>
                  <a:lnTo>
                    <a:pt x="68" y="42"/>
                  </a:lnTo>
                  <a:lnTo>
                    <a:pt x="62" y="30"/>
                  </a:lnTo>
                  <a:lnTo>
                    <a:pt x="54" y="20"/>
                  </a:lnTo>
                  <a:lnTo>
                    <a:pt x="54" y="20"/>
                  </a:lnTo>
                  <a:lnTo>
                    <a:pt x="44" y="12"/>
                  </a:lnTo>
                  <a:lnTo>
                    <a:pt x="32" y="6"/>
                  </a:lnTo>
                  <a:lnTo>
                    <a:pt x="18" y="2"/>
                  </a:lnTo>
                  <a:lnTo>
                    <a:pt x="4" y="0"/>
                  </a:lnTo>
                  <a:lnTo>
                    <a:pt x="4" y="0"/>
                  </a:lnTo>
                  <a:lnTo>
                    <a:pt x="2" y="2"/>
                  </a:lnTo>
                  <a:lnTo>
                    <a:pt x="0" y="4"/>
                  </a:lnTo>
                  <a:lnTo>
                    <a:pt x="0" y="4"/>
                  </a:lnTo>
                  <a:lnTo>
                    <a:pt x="2" y="8"/>
                  </a:lnTo>
                  <a:lnTo>
                    <a:pt x="4" y="8"/>
                  </a:lnTo>
                  <a:lnTo>
                    <a:pt x="4" y="8"/>
                  </a:lnTo>
                  <a:lnTo>
                    <a:pt x="16" y="10"/>
                  </a:lnTo>
                  <a:lnTo>
                    <a:pt x="28" y="14"/>
                  </a:lnTo>
                  <a:lnTo>
                    <a:pt x="40" y="20"/>
                  </a:lnTo>
                  <a:lnTo>
                    <a:pt x="48" y="26"/>
                  </a:lnTo>
                  <a:lnTo>
                    <a:pt x="48" y="26"/>
                  </a:lnTo>
                  <a:lnTo>
                    <a:pt x="56" y="36"/>
                  </a:lnTo>
                  <a:lnTo>
                    <a:pt x="60" y="44"/>
                  </a:lnTo>
                  <a:lnTo>
                    <a:pt x="64" y="54"/>
                  </a:lnTo>
                  <a:lnTo>
                    <a:pt x="66" y="66"/>
                  </a:lnTo>
                  <a:lnTo>
                    <a:pt x="66" y="66"/>
                  </a:lnTo>
                  <a:lnTo>
                    <a:pt x="66" y="68"/>
                  </a:lnTo>
                  <a:lnTo>
                    <a:pt x="70" y="70"/>
                  </a:lnTo>
                  <a:lnTo>
                    <a:pt x="70" y="70"/>
                  </a:lnTo>
                  <a:lnTo>
                    <a:pt x="72" y="68"/>
                  </a:lnTo>
                  <a:lnTo>
                    <a:pt x="74" y="66"/>
                  </a:lnTo>
                  <a:lnTo>
                    <a:pt x="74" y="66"/>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89" name="Freeform 40"/>
            <p:cNvSpPr>
              <a:spLocks/>
            </p:cNvSpPr>
            <p:nvPr/>
          </p:nvSpPr>
          <p:spPr bwMode="auto">
            <a:xfrm>
              <a:off x="14979161" y="-660929"/>
              <a:ext cx="196193" cy="183535"/>
            </a:xfrm>
            <a:custGeom>
              <a:avLst/>
              <a:gdLst/>
              <a:ahLst/>
              <a:cxnLst>
                <a:cxn ang="0">
                  <a:pos x="62" y="54"/>
                </a:cxn>
                <a:cxn ang="0">
                  <a:pos x="62" y="54"/>
                </a:cxn>
                <a:cxn ang="0">
                  <a:pos x="62" y="44"/>
                </a:cxn>
                <a:cxn ang="0">
                  <a:pos x="58" y="34"/>
                </a:cxn>
                <a:cxn ang="0">
                  <a:pos x="54" y="24"/>
                </a:cxn>
                <a:cxn ang="0">
                  <a:pos x="46" y="16"/>
                </a:cxn>
                <a:cxn ang="0">
                  <a:pos x="46" y="16"/>
                </a:cxn>
                <a:cxn ang="0">
                  <a:pos x="38" y="10"/>
                </a:cxn>
                <a:cxn ang="0">
                  <a:pos x="28" y="4"/>
                </a:cxn>
                <a:cxn ang="0">
                  <a:pos x="16" y="0"/>
                </a:cxn>
                <a:cxn ang="0">
                  <a:pos x="4" y="0"/>
                </a:cxn>
                <a:cxn ang="0">
                  <a:pos x="4" y="0"/>
                </a:cxn>
                <a:cxn ang="0">
                  <a:pos x="0" y="0"/>
                </a:cxn>
                <a:cxn ang="0">
                  <a:pos x="0" y="4"/>
                </a:cxn>
                <a:cxn ang="0">
                  <a:pos x="0" y="4"/>
                </a:cxn>
                <a:cxn ang="0">
                  <a:pos x="0" y="6"/>
                </a:cxn>
                <a:cxn ang="0">
                  <a:pos x="4" y="8"/>
                </a:cxn>
                <a:cxn ang="0">
                  <a:pos x="4" y="8"/>
                </a:cxn>
                <a:cxn ang="0">
                  <a:pos x="14" y="8"/>
                </a:cxn>
                <a:cxn ang="0">
                  <a:pos x="24" y="12"/>
                </a:cxn>
                <a:cxn ang="0">
                  <a:pos x="34" y="16"/>
                </a:cxn>
                <a:cxn ang="0">
                  <a:pos x="40" y="22"/>
                </a:cxn>
                <a:cxn ang="0">
                  <a:pos x="40" y="22"/>
                </a:cxn>
                <a:cxn ang="0">
                  <a:pos x="46" y="30"/>
                </a:cxn>
                <a:cxn ang="0">
                  <a:pos x="50" y="36"/>
                </a:cxn>
                <a:cxn ang="0">
                  <a:pos x="54" y="46"/>
                </a:cxn>
                <a:cxn ang="0">
                  <a:pos x="54" y="54"/>
                </a:cxn>
                <a:cxn ang="0">
                  <a:pos x="54" y="54"/>
                </a:cxn>
                <a:cxn ang="0">
                  <a:pos x="56" y="58"/>
                </a:cxn>
                <a:cxn ang="0">
                  <a:pos x="58" y="58"/>
                </a:cxn>
                <a:cxn ang="0">
                  <a:pos x="58" y="58"/>
                </a:cxn>
                <a:cxn ang="0">
                  <a:pos x="62" y="58"/>
                </a:cxn>
                <a:cxn ang="0">
                  <a:pos x="62" y="54"/>
                </a:cxn>
                <a:cxn ang="0">
                  <a:pos x="62" y="54"/>
                </a:cxn>
              </a:cxnLst>
              <a:rect l="0" t="0" r="r" b="b"/>
              <a:pathLst>
                <a:path w="62" h="58">
                  <a:moveTo>
                    <a:pt x="62" y="54"/>
                  </a:moveTo>
                  <a:lnTo>
                    <a:pt x="62" y="54"/>
                  </a:lnTo>
                  <a:lnTo>
                    <a:pt x="62" y="44"/>
                  </a:lnTo>
                  <a:lnTo>
                    <a:pt x="58" y="34"/>
                  </a:lnTo>
                  <a:lnTo>
                    <a:pt x="54" y="24"/>
                  </a:lnTo>
                  <a:lnTo>
                    <a:pt x="46" y="16"/>
                  </a:lnTo>
                  <a:lnTo>
                    <a:pt x="46" y="16"/>
                  </a:lnTo>
                  <a:lnTo>
                    <a:pt x="38" y="10"/>
                  </a:lnTo>
                  <a:lnTo>
                    <a:pt x="28" y="4"/>
                  </a:lnTo>
                  <a:lnTo>
                    <a:pt x="16" y="0"/>
                  </a:lnTo>
                  <a:lnTo>
                    <a:pt x="4" y="0"/>
                  </a:lnTo>
                  <a:lnTo>
                    <a:pt x="4" y="0"/>
                  </a:lnTo>
                  <a:lnTo>
                    <a:pt x="0" y="0"/>
                  </a:lnTo>
                  <a:lnTo>
                    <a:pt x="0" y="4"/>
                  </a:lnTo>
                  <a:lnTo>
                    <a:pt x="0" y="4"/>
                  </a:lnTo>
                  <a:lnTo>
                    <a:pt x="0" y="6"/>
                  </a:lnTo>
                  <a:lnTo>
                    <a:pt x="4" y="8"/>
                  </a:lnTo>
                  <a:lnTo>
                    <a:pt x="4" y="8"/>
                  </a:lnTo>
                  <a:lnTo>
                    <a:pt x="14" y="8"/>
                  </a:lnTo>
                  <a:lnTo>
                    <a:pt x="24" y="12"/>
                  </a:lnTo>
                  <a:lnTo>
                    <a:pt x="34" y="16"/>
                  </a:lnTo>
                  <a:lnTo>
                    <a:pt x="40" y="22"/>
                  </a:lnTo>
                  <a:lnTo>
                    <a:pt x="40" y="22"/>
                  </a:lnTo>
                  <a:lnTo>
                    <a:pt x="46" y="30"/>
                  </a:lnTo>
                  <a:lnTo>
                    <a:pt x="50" y="36"/>
                  </a:lnTo>
                  <a:lnTo>
                    <a:pt x="54" y="46"/>
                  </a:lnTo>
                  <a:lnTo>
                    <a:pt x="54" y="54"/>
                  </a:lnTo>
                  <a:lnTo>
                    <a:pt x="54" y="54"/>
                  </a:lnTo>
                  <a:lnTo>
                    <a:pt x="56" y="58"/>
                  </a:lnTo>
                  <a:lnTo>
                    <a:pt x="58" y="58"/>
                  </a:lnTo>
                  <a:lnTo>
                    <a:pt x="58" y="58"/>
                  </a:lnTo>
                  <a:lnTo>
                    <a:pt x="62" y="58"/>
                  </a:lnTo>
                  <a:lnTo>
                    <a:pt x="62" y="54"/>
                  </a:lnTo>
                  <a:lnTo>
                    <a:pt x="62" y="5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sp>
          <p:nvSpPr>
            <p:cNvPr id="90" name="Freeform 41"/>
            <p:cNvSpPr>
              <a:spLocks/>
            </p:cNvSpPr>
            <p:nvPr/>
          </p:nvSpPr>
          <p:spPr bwMode="auto">
            <a:xfrm>
              <a:off x="14947517" y="-597641"/>
              <a:ext cx="164549" cy="151891"/>
            </a:xfrm>
            <a:custGeom>
              <a:avLst/>
              <a:gdLst/>
              <a:ahLst/>
              <a:cxnLst>
                <a:cxn ang="0">
                  <a:pos x="52" y="44"/>
                </a:cxn>
                <a:cxn ang="0">
                  <a:pos x="52" y="44"/>
                </a:cxn>
                <a:cxn ang="0">
                  <a:pos x="50" y="36"/>
                </a:cxn>
                <a:cxn ang="0">
                  <a:pos x="48" y="28"/>
                </a:cxn>
                <a:cxn ang="0">
                  <a:pos x="44" y="20"/>
                </a:cxn>
                <a:cxn ang="0">
                  <a:pos x="38" y="14"/>
                </a:cxn>
                <a:cxn ang="0">
                  <a:pos x="38" y="14"/>
                </a:cxn>
                <a:cxn ang="0">
                  <a:pos x="32" y="8"/>
                </a:cxn>
                <a:cxn ang="0">
                  <a:pos x="22" y="4"/>
                </a:cxn>
                <a:cxn ang="0">
                  <a:pos x="14" y="0"/>
                </a:cxn>
                <a:cxn ang="0">
                  <a:pos x="4" y="0"/>
                </a:cxn>
                <a:cxn ang="0">
                  <a:pos x="4" y="0"/>
                </a:cxn>
                <a:cxn ang="0">
                  <a:pos x="0" y="2"/>
                </a:cxn>
                <a:cxn ang="0">
                  <a:pos x="0" y="4"/>
                </a:cxn>
                <a:cxn ang="0">
                  <a:pos x="0" y="4"/>
                </a:cxn>
                <a:cxn ang="0">
                  <a:pos x="0" y="8"/>
                </a:cxn>
                <a:cxn ang="0">
                  <a:pos x="4" y="8"/>
                </a:cxn>
                <a:cxn ang="0">
                  <a:pos x="4" y="8"/>
                </a:cxn>
                <a:cxn ang="0">
                  <a:pos x="12" y="10"/>
                </a:cxn>
                <a:cxn ang="0">
                  <a:pos x="20" y="12"/>
                </a:cxn>
                <a:cxn ang="0">
                  <a:pos x="26" y="16"/>
                </a:cxn>
                <a:cxn ang="0">
                  <a:pos x="32" y="20"/>
                </a:cxn>
                <a:cxn ang="0">
                  <a:pos x="32" y="20"/>
                </a:cxn>
                <a:cxn ang="0">
                  <a:pos x="36" y="26"/>
                </a:cxn>
                <a:cxn ang="0">
                  <a:pos x="40" y="32"/>
                </a:cxn>
                <a:cxn ang="0">
                  <a:pos x="42" y="38"/>
                </a:cxn>
                <a:cxn ang="0">
                  <a:pos x="42" y="44"/>
                </a:cxn>
                <a:cxn ang="0">
                  <a:pos x="42" y="44"/>
                </a:cxn>
                <a:cxn ang="0">
                  <a:pos x="44" y="48"/>
                </a:cxn>
                <a:cxn ang="0">
                  <a:pos x="48" y="48"/>
                </a:cxn>
                <a:cxn ang="0">
                  <a:pos x="48" y="48"/>
                </a:cxn>
                <a:cxn ang="0">
                  <a:pos x="50" y="48"/>
                </a:cxn>
                <a:cxn ang="0">
                  <a:pos x="52" y="44"/>
                </a:cxn>
                <a:cxn ang="0">
                  <a:pos x="52" y="44"/>
                </a:cxn>
              </a:cxnLst>
              <a:rect l="0" t="0" r="r" b="b"/>
              <a:pathLst>
                <a:path w="52" h="48">
                  <a:moveTo>
                    <a:pt x="52" y="44"/>
                  </a:moveTo>
                  <a:lnTo>
                    <a:pt x="52" y="44"/>
                  </a:lnTo>
                  <a:lnTo>
                    <a:pt x="50" y="36"/>
                  </a:lnTo>
                  <a:lnTo>
                    <a:pt x="48" y="28"/>
                  </a:lnTo>
                  <a:lnTo>
                    <a:pt x="44" y="20"/>
                  </a:lnTo>
                  <a:lnTo>
                    <a:pt x="38" y="14"/>
                  </a:lnTo>
                  <a:lnTo>
                    <a:pt x="38" y="14"/>
                  </a:lnTo>
                  <a:lnTo>
                    <a:pt x="32" y="8"/>
                  </a:lnTo>
                  <a:lnTo>
                    <a:pt x="22" y="4"/>
                  </a:lnTo>
                  <a:lnTo>
                    <a:pt x="14" y="0"/>
                  </a:lnTo>
                  <a:lnTo>
                    <a:pt x="4" y="0"/>
                  </a:lnTo>
                  <a:lnTo>
                    <a:pt x="4" y="0"/>
                  </a:lnTo>
                  <a:lnTo>
                    <a:pt x="0" y="2"/>
                  </a:lnTo>
                  <a:lnTo>
                    <a:pt x="0" y="4"/>
                  </a:lnTo>
                  <a:lnTo>
                    <a:pt x="0" y="4"/>
                  </a:lnTo>
                  <a:lnTo>
                    <a:pt x="0" y="8"/>
                  </a:lnTo>
                  <a:lnTo>
                    <a:pt x="4" y="8"/>
                  </a:lnTo>
                  <a:lnTo>
                    <a:pt x="4" y="8"/>
                  </a:lnTo>
                  <a:lnTo>
                    <a:pt x="12" y="10"/>
                  </a:lnTo>
                  <a:lnTo>
                    <a:pt x="20" y="12"/>
                  </a:lnTo>
                  <a:lnTo>
                    <a:pt x="26" y="16"/>
                  </a:lnTo>
                  <a:lnTo>
                    <a:pt x="32" y="20"/>
                  </a:lnTo>
                  <a:lnTo>
                    <a:pt x="32" y="20"/>
                  </a:lnTo>
                  <a:lnTo>
                    <a:pt x="36" y="26"/>
                  </a:lnTo>
                  <a:lnTo>
                    <a:pt x="40" y="32"/>
                  </a:lnTo>
                  <a:lnTo>
                    <a:pt x="42" y="38"/>
                  </a:lnTo>
                  <a:lnTo>
                    <a:pt x="42" y="44"/>
                  </a:lnTo>
                  <a:lnTo>
                    <a:pt x="42" y="44"/>
                  </a:lnTo>
                  <a:lnTo>
                    <a:pt x="44" y="48"/>
                  </a:lnTo>
                  <a:lnTo>
                    <a:pt x="48" y="48"/>
                  </a:lnTo>
                  <a:lnTo>
                    <a:pt x="48" y="48"/>
                  </a:lnTo>
                  <a:lnTo>
                    <a:pt x="50" y="48"/>
                  </a:lnTo>
                  <a:lnTo>
                    <a:pt x="52" y="44"/>
                  </a:lnTo>
                  <a:lnTo>
                    <a:pt x="52" y="44"/>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endParaRPr>
            </a:p>
          </p:txBody>
        </p:sp>
      </p:grpSp>
      <p:sp>
        <p:nvSpPr>
          <p:cNvPr id="101" name="文本框 133"/>
          <p:cNvSpPr txBox="1"/>
          <p:nvPr/>
        </p:nvSpPr>
        <p:spPr>
          <a:xfrm>
            <a:off x="3450764" y="4892276"/>
            <a:ext cx="679994" cy="253916"/>
          </a:xfrm>
          <a:prstGeom prst="rect">
            <a:avLst/>
          </a:prstGeom>
          <a:noFill/>
        </p:spPr>
        <p:txBody>
          <a:bodyPr wrap="none" rtlCol="0">
            <a:spAutoFit/>
          </a:bodyPr>
          <a:lstStyle/>
          <a:p>
            <a:pPr algn="ctr"/>
            <a:r>
              <a:rPr lang="en-US" altLang="zh-CN" sz="1050" dirty="0">
                <a:solidFill>
                  <a:schemeClr val="bg1"/>
                </a:solidFill>
                <a:latin typeface="+mn-lt"/>
                <a:ea typeface="微软雅黑" panose="020B0503020204020204" pitchFamily="34" charset="-122"/>
              </a:rPr>
              <a:t>Big data</a:t>
            </a:r>
            <a:endParaRPr lang="en-US" sz="1050" dirty="0">
              <a:solidFill>
                <a:schemeClr val="bg1"/>
              </a:solidFill>
              <a:latin typeface="+mn-lt"/>
              <a:ea typeface="微软雅黑" panose="020B0503020204020204" pitchFamily="34" charset="-122"/>
            </a:endParaRPr>
          </a:p>
        </p:txBody>
      </p:sp>
      <p:grpSp>
        <p:nvGrpSpPr>
          <p:cNvPr id="102" name="组合 101"/>
          <p:cNvGrpSpPr/>
          <p:nvPr/>
        </p:nvGrpSpPr>
        <p:grpSpPr>
          <a:xfrm>
            <a:off x="3235757" y="4904815"/>
            <a:ext cx="270680" cy="205733"/>
            <a:chOff x="6462609" y="1418166"/>
            <a:chExt cx="809907" cy="615577"/>
          </a:xfrm>
          <a:solidFill>
            <a:schemeClr val="bg1"/>
          </a:solidFill>
        </p:grpSpPr>
        <p:sp>
          <p:nvSpPr>
            <p:cNvPr id="103" name="Freeform 21"/>
            <p:cNvSpPr>
              <a:spLocks/>
            </p:cNvSpPr>
            <p:nvPr/>
          </p:nvSpPr>
          <p:spPr bwMode="auto">
            <a:xfrm>
              <a:off x="6462609" y="1770817"/>
              <a:ext cx="809907" cy="262926"/>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cs typeface="Arial" pitchFamily="34" charset="0"/>
              </a:endParaRPr>
            </a:p>
          </p:txBody>
        </p:sp>
        <p:sp>
          <p:nvSpPr>
            <p:cNvPr id="104" name="Freeform 21"/>
            <p:cNvSpPr>
              <a:spLocks/>
            </p:cNvSpPr>
            <p:nvPr/>
          </p:nvSpPr>
          <p:spPr bwMode="auto">
            <a:xfrm>
              <a:off x="6462609" y="1594492"/>
              <a:ext cx="809907" cy="262926"/>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cs typeface="Arial" pitchFamily="34" charset="0"/>
              </a:endParaRPr>
            </a:p>
          </p:txBody>
        </p:sp>
        <p:sp>
          <p:nvSpPr>
            <p:cNvPr id="105" name="Freeform 21"/>
            <p:cNvSpPr>
              <a:spLocks/>
            </p:cNvSpPr>
            <p:nvPr/>
          </p:nvSpPr>
          <p:spPr bwMode="auto">
            <a:xfrm>
              <a:off x="6462609" y="1418166"/>
              <a:ext cx="809907" cy="262926"/>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68574" tIns="34287" rIns="68574" bIns="34287" numCol="1" anchor="t" anchorCtr="0" compatLnSpc="1">
              <a:prstTxWarp prst="textNoShape">
                <a:avLst/>
              </a:prstTxWarp>
            </a:bodyPr>
            <a:lstStyle/>
            <a:p>
              <a:endParaRPr lang="zh-CN" altLang="en-US" sz="1050">
                <a:solidFill>
                  <a:schemeClr val="bg1"/>
                </a:solidFill>
                <a:latin typeface="+mn-lt"/>
                <a:ea typeface="微软雅黑" panose="020B0503020204020204" pitchFamily="34" charset="-122"/>
                <a:cs typeface="Arial" pitchFamily="34" charset="0"/>
              </a:endParaRPr>
            </a:p>
          </p:txBody>
        </p:sp>
      </p:grpSp>
      <p:sp>
        <p:nvSpPr>
          <p:cNvPr id="74" name="标题 1"/>
          <p:cNvSpPr txBox="1">
            <a:spLocks/>
          </p:cNvSpPr>
          <p:nvPr/>
        </p:nvSpPr>
        <p:spPr>
          <a:xfrm>
            <a:off x="-125320" y="1539748"/>
            <a:ext cx="8785719" cy="396104"/>
          </a:xfrm>
          <a:prstGeom prst="rect">
            <a:avLst/>
          </a:prstGeom>
        </p:spPr>
        <p:txBody>
          <a:bodyPr vert="horz" lIns="91450" tIns="45725" rIns="91450" bIns="45725" rtlCol="0" anchor="ctr">
            <a:noAutofit/>
          </a:bodyPr>
          <a:lstStyle>
            <a:lvl1pPr algn="ctr" defTabSz="1219444" rtl="0" eaLnBrk="1" latinLnBrk="0" hangingPunct="1">
              <a:spcBef>
                <a:spcPct val="0"/>
              </a:spcBef>
              <a:buNone/>
              <a:defRPr sz="3200" b="1" kern="1200">
                <a:solidFill>
                  <a:schemeClr val="bg1"/>
                </a:solidFill>
                <a:latin typeface="+mj-lt"/>
                <a:ea typeface="+mj-ea"/>
                <a:cs typeface="+mj-cs"/>
              </a:defRPr>
            </a:lvl1pPr>
          </a:lstStyle>
          <a:p>
            <a:pPr fontAlgn="auto">
              <a:spcAft>
                <a:spcPts val="0"/>
              </a:spcAft>
            </a:pPr>
            <a:endParaRPr lang="en-US" altLang="zh-CN" sz="2400" dirty="0"/>
          </a:p>
        </p:txBody>
      </p:sp>
      <p:sp>
        <p:nvSpPr>
          <p:cNvPr id="75" name="标题 1"/>
          <p:cNvSpPr txBox="1">
            <a:spLocks/>
          </p:cNvSpPr>
          <p:nvPr/>
        </p:nvSpPr>
        <p:spPr>
          <a:xfrm>
            <a:off x="360692" y="1132748"/>
            <a:ext cx="8532207" cy="696768"/>
          </a:xfrm>
          <a:prstGeom prst="rect">
            <a:avLst/>
          </a:prstGeom>
        </p:spPr>
        <p:txBody>
          <a:bodyPr vert="horz" lIns="91450" tIns="45725" rIns="91450" bIns="45725" rtlCol="0" anchor="ctr">
            <a:noAutofit/>
          </a:bodyPr>
          <a:lstStyle/>
          <a:p>
            <a:pPr fontAlgn="auto">
              <a:spcAft>
                <a:spcPts val="0"/>
              </a:spcAft>
            </a:pPr>
            <a:r>
              <a:rPr lang="en-US" altLang="zh-CN" sz="2400" b="1" dirty="0">
                <a:solidFill>
                  <a:schemeClr val="bg1"/>
                </a:solidFill>
                <a:latin typeface="+mj-lt"/>
              </a:rPr>
              <a:t>SDP Opens </a:t>
            </a:r>
            <a:r>
              <a:rPr lang="en-US" altLang="zh-CN" sz="2400" b="1" dirty="0">
                <a:solidFill>
                  <a:schemeClr val="bg1"/>
                </a:solidFill>
                <a:latin typeface="+mj-lt"/>
              </a:rPr>
              <a:t>Capability for </a:t>
            </a:r>
            <a:r>
              <a:rPr lang="en-US" altLang="zh-CN" sz="2400" b="1" dirty="0">
                <a:solidFill>
                  <a:schemeClr val="bg1"/>
                </a:solidFill>
                <a:latin typeface="+mj-lt"/>
              </a:rPr>
              <a:t>Future ICT</a:t>
            </a:r>
            <a:endParaRPr lang="en-US" altLang="zh-CN" sz="2400" b="1" dirty="0">
              <a:solidFill>
                <a:schemeClr val="bg1"/>
              </a:solidFill>
              <a:latin typeface="+mj-lt"/>
            </a:endParaRPr>
          </a:p>
        </p:txBody>
      </p:sp>
      <p:sp>
        <p:nvSpPr>
          <p:cNvPr id="76" name="矩形 75"/>
          <p:cNvSpPr/>
          <p:nvPr/>
        </p:nvSpPr>
        <p:spPr>
          <a:xfrm>
            <a:off x="846704" y="5332828"/>
            <a:ext cx="2106089" cy="276999"/>
          </a:xfrm>
          <a:prstGeom prst="rect">
            <a:avLst/>
          </a:prstGeom>
        </p:spPr>
        <p:txBody>
          <a:bodyPr wrap="none">
            <a:spAutoFit/>
          </a:bodyPr>
          <a:lstStyle/>
          <a:p>
            <a:r>
              <a:rPr lang="en-US" altLang="zh-CN" sz="1200" b="1" dirty="0">
                <a:solidFill>
                  <a:schemeClr val="bg1"/>
                </a:solidFill>
              </a:rPr>
              <a:t>SDP: Software Defined Power </a:t>
            </a:r>
            <a:endParaRPr lang="zh-CN" altLang="en-US" sz="1200" dirty="0"/>
          </a:p>
        </p:txBody>
      </p:sp>
    </p:spTree>
    <p:extLst>
      <p:ext uri="{BB962C8B-B14F-4D97-AF65-F5344CB8AC3E}">
        <p14:creationId xmlns:p14="http://schemas.microsoft.com/office/powerpoint/2010/main" val="102898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daFUhMc5k6klhvTWtChuw"/>
</p:tagLst>
</file>

<file path=ppt/theme/theme1.xml><?xml version="1.0" encoding="utf-8"?>
<a:theme xmlns:a="http://schemas.openxmlformats.org/drawingml/2006/main" name="Blank">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Blank">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79200" tIns="39600" rIns="79200" bIns="39600" numCol="1" rtlCol="0" anchor="t" anchorCtr="0" compatLnSpc="1">
        <a:prstTxWarp prst="textNoShape">
          <a:avLst/>
        </a:prstTxWarp>
        <a:noAutofit/>
      </a:bodyPr>
      <a:lstStyle>
        <a:defPPr marL="0" marR="0" indent="0" algn="l" defTabSz="801688"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rgbClr val="000000"/>
            </a:solidFill>
            <a:effectLst/>
            <a:latin typeface="FrutigerNext LT Regular" pitchFamily="34" charset="0"/>
            <a:ea typeface="ＭＳ Ｐゴシック" pitchFamily="34" charset="-128"/>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bg1"/>
            </a:solidFill>
            <a:effectLst/>
            <a:latin typeface="FrutigerNext LT Regular" pitchFamily="34" charset="0"/>
            <a:ea typeface="ＭＳ Ｐゴシック" pitchFamily="34" charset="-128"/>
          </a:defRPr>
        </a:defPPr>
      </a:lstStyle>
    </a:lnDef>
    <a:txDef>
      <a:spPr>
        <a:noFill/>
      </a:spPr>
      <a:bodyPr wrap="square" rtlCol="0">
        <a:spAutoFit/>
      </a:bodyPr>
      <a:lstStyle>
        <a:defPPr>
          <a:defRPr dirty="0" smtClean="0">
            <a:solidFill>
              <a:srgbClr val="000000"/>
            </a:solidFill>
          </a:defRPr>
        </a:defPPr>
      </a:lstStyle>
    </a:tx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6_default">
  <a:themeElements>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objectDefaults>
  <a:extraClrSchemeLst>
    <a:extraClrScheme>
      <a:clrScheme name="3_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3_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3_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3_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3_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3_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3_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3_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3_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3_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3_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3_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3_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4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1" i="0" u="none" strike="noStrike" cap="none" normalizeH="0" baseline="0" smtClean="0">
            <a:ln>
              <a:noFill/>
            </a:ln>
            <a:solidFill>
              <a:schemeClr val="tx1"/>
            </a:solidFill>
            <a:effectLst/>
            <a:latin typeface="Arial" charset="0"/>
            <a:ea typeface="SimSun" pitchFamily="2" charset="-122"/>
          </a:defRPr>
        </a:defP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5_华为VI主题16x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华为VI字体">
      <a:majorFont>
        <a:latin typeface="FrutigerNext LT Medium"/>
        <a:ea typeface="华文细黑"/>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1750"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rgbClr val="CC9900"/>
          </a:buClr>
          <a:buSzTx/>
          <a:tabLst/>
          <a:defRPr kumimoji="0" b="1" i="0" u="none" strike="noStrike" cap="none" normalizeH="0" baseline="0" dirty="0" smtClean="0">
            <a:ln>
              <a:noFill/>
            </a:ln>
            <a:solidFill>
              <a:schemeClr val="tx1"/>
            </a:solidFill>
            <a:effectLst/>
            <a:ea typeface="SimSun" pitchFamily="2" charset="-122"/>
          </a:defRPr>
        </a:defPPr>
      </a:lstStyle>
    </a:spDef>
    <a:lnDef>
      <a:spPr bwMode="auto">
        <a:noFill/>
        <a:ln w="28575"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buNone/>
          <a:defRPr b="0" dirty="0" err="1" smtClean="0">
            <a:latin typeface="+mn-lt"/>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_Blank">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75000"/>
          </a:schemeClr>
        </a:solidFill>
        <a:ln w="9525" cap="flat" cmpd="sng" algn="ctr">
          <a:noFill/>
          <a:prstDash val="solid"/>
          <a:round/>
          <a:headEnd type="none" w="med" len="med"/>
          <a:tailEnd type="none" w="med" len="med"/>
        </a:ln>
        <a:effectLst/>
      </a:spPr>
      <a:bodyPr vert="horz" wrap="square" lIns="36000" tIns="45720" rIns="36000" bIns="45720" numCol="1" rtlCol="0" anchor="ctr" anchorCtr="0" compatLnSpc="1">
        <a:prstTxWarp prst="textNoShape">
          <a:avLst/>
        </a:prstTxWarp>
      </a:bodyPr>
      <a:lstStyle>
        <a:defPPr algn="ctr">
          <a:buClr>
            <a:srgbClr val="CC9900"/>
          </a:buClr>
          <a:defRPr sz="2000" b="1" kern="0" dirty="0">
            <a:solidFill>
              <a:schemeClr val="bg1"/>
            </a:solidFill>
            <a:cs typeface="Calibri" pitchFamily="34" charset="0"/>
          </a:defRPr>
        </a:defPPr>
      </a:lstStyle>
    </a:spDef>
  </a:objectDefaults>
  <a:extraClrSchemeLst/>
</a:theme>
</file>

<file path=ppt/theme/theme2.xml><?xml version="1.0" encoding="utf-8"?>
<a:theme xmlns:a="http://schemas.openxmlformats.org/drawingml/2006/main" name="1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2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3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4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5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6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9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0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DAE83719FB2141981D8E67B3E30728" ma:contentTypeVersion="1" ma:contentTypeDescription="Create a new document." ma:contentTypeScope="" ma:versionID="6a9e9016f790dd7da19f3d5b3f2dce30">
  <xsd:schema xmlns:xsd="http://www.w3.org/2001/XMLSchema" xmlns:xs="http://www.w3.org/2001/XMLSchema" xmlns:p="http://schemas.microsoft.com/office/2006/metadata/properties" xmlns:ns1="http://schemas.microsoft.com/sharepoint/v3" targetNamespace="http://schemas.microsoft.com/office/2006/metadata/properties" ma:root="true" ma:fieldsID="3d8b0b90613641d2007733df16481c6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63A1CB-5FD2-4791-90EE-1C7095E364A6}"/>
</file>

<file path=customXml/itemProps2.xml><?xml version="1.0" encoding="utf-8"?>
<ds:datastoreItem xmlns:ds="http://schemas.openxmlformats.org/officeDocument/2006/customXml" ds:itemID="{4DECD92D-8423-4701-A0B6-48EE9FE79B44}"/>
</file>

<file path=customXml/itemProps3.xml><?xml version="1.0" encoding="utf-8"?>
<ds:datastoreItem xmlns:ds="http://schemas.openxmlformats.org/officeDocument/2006/customXml" ds:itemID="{88F088E5-7174-4410-9D67-71EC09A5AFE2}"/>
</file>

<file path=docProps/app.xml><?xml version="1.0" encoding="utf-8"?>
<Properties xmlns="http://schemas.openxmlformats.org/officeDocument/2006/extended-properties" xmlns:vt="http://schemas.openxmlformats.org/officeDocument/2006/docPropsVTypes">
  <Template>blank</Template>
  <TotalTime>38543</TotalTime>
  <Words>2000</Words>
  <Application>Microsoft Office PowerPoint</Application>
  <PresentationFormat>Personalizado</PresentationFormat>
  <Paragraphs>344</Paragraphs>
  <Slides>13</Slides>
  <Notes>10</Notes>
  <HiddenSlides>0</HiddenSlides>
  <MMClips>0</MMClips>
  <ScaleCrop>false</ScaleCrop>
  <HeadingPairs>
    <vt:vector size="8" baseType="variant">
      <vt:variant>
        <vt:lpstr>Fuentes usadas</vt:lpstr>
      </vt:variant>
      <vt:variant>
        <vt:i4>21</vt:i4>
      </vt:variant>
      <vt:variant>
        <vt:lpstr>Tema</vt:lpstr>
      </vt:variant>
      <vt:variant>
        <vt:i4>26</vt:i4>
      </vt:variant>
      <vt:variant>
        <vt:lpstr>Servidores OLE incrustados</vt:lpstr>
      </vt:variant>
      <vt:variant>
        <vt:i4>1</vt:i4>
      </vt:variant>
      <vt:variant>
        <vt:lpstr>Títulos de diapositiva</vt:lpstr>
      </vt:variant>
      <vt:variant>
        <vt:i4>13</vt:i4>
      </vt:variant>
    </vt:vector>
  </HeadingPairs>
  <TitlesOfParts>
    <vt:vector size="61" baseType="lpstr">
      <vt:lpstr>Arial Unicode MS</vt:lpstr>
      <vt:lpstr>Kozuka Gothic Pr6N EL</vt:lpstr>
      <vt:lpstr>微软雅黑</vt:lpstr>
      <vt:lpstr>ＭＳ Ｐゴシック</vt:lpstr>
      <vt:lpstr>ＭＳ Ｐゴシック</vt:lpstr>
      <vt:lpstr>SimSun</vt:lpstr>
      <vt:lpstr>SimSun</vt:lpstr>
      <vt:lpstr>Arial</vt:lpstr>
      <vt:lpstr>Calibri</vt:lpstr>
      <vt:lpstr>FrutigerNext LT Bold</vt:lpstr>
      <vt:lpstr>FrutigerNext LT Light</vt:lpstr>
      <vt:lpstr>FrutigerNext LT Medium</vt:lpstr>
      <vt:lpstr>FrutigerNext LT Regular</vt:lpstr>
      <vt:lpstr>Helvetica</vt:lpstr>
      <vt:lpstr>Huawei Script Regular</vt:lpstr>
      <vt:lpstr>Impact</vt:lpstr>
      <vt:lpstr>Microsoft PhagsPa</vt:lpstr>
      <vt:lpstr>黑体</vt:lpstr>
      <vt:lpstr>华文细黑</vt:lpstr>
      <vt:lpstr>Times New Roman</vt:lpstr>
      <vt:lpstr>Wingdings</vt:lpstr>
      <vt:lpstr>Blank</vt:lpstr>
      <vt:lpstr>1_主题1</vt:lpstr>
      <vt:lpstr>4_主题1</vt:lpstr>
      <vt:lpstr>5_主题1</vt:lpstr>
      <vt:lpstr>6_主题1</vt:lpstr>
      <vt:lpstr>7_主题1</vt:lpstr>
      <vt:lpstr>8_主题1</vt:lpstr>
      <vt:lpstr>9_主题1</vt:lpstr>
      <vt:lpstr>10_主题1</vt:lpstr>
      <vt:lpstr>1_Blank</vt:lpstr>
      <vt:lpstr>华为VI主题16x9</vt:lpstr>
      <vt:lpstr>6_default</vt:lpstr>
      <vt:lpstr>1_华为VI主题16x9</vt:lpstr>
      <vt:lpstr>2_华为VI主题16x9</vt:lpstr>
      <vt:lpstr>3_华为VI主题16x9</vt:lpstr>
      <vt:lpstr>4_华为VI主题16x9</vt:lpstr>
      <vt:lpstr>5_华为VI主题16x9</vt:lpstr>
      <vt:lpstr>2_Blank</vt:lpstr>
      <vt:lpstr>封面01</vt:lpstr>
      <vt:lpstr>1_内容Copytext </vt:lpstr>
      <vt:lpstr>2_内容Copytext </vt:lpstr>
      <vt:lpstr>3_内容Copytext </vt:lpstr>
      <vt:lpstr>4_内容Copytext </vt:lpstr>
      <vt:lpstr>5_内容Copytext </vt:lpstr>
      <vt:lpstr>6_内容Copytext </vt:lpstr>
      <vt:lpstr>Thank you</vt:lpstr>
      <vt:lpstr>think-cell Slide</vt:lpstr>
      <vt:lpstr>Presentación de PowerPoint</vt:lpstr>
      <vt:lpstr>Presentación de PowerPoint</vt:lpstr>
      <vt:lpstr>Presentación de PowerPoint</vt:lpstr>
      <vt:lpstr>Build a Better Connected World</vt:lpstr>
      <vt:lpstr>All Things Connected Leads to Huge Energy Consumption</vt:lpstr>
      <vt:lpstr>Presentación de PowerPoint</vt:lpstr>
      <vt:lpstr>ICT Convergence Improves Energy Efficiency</vt:lpstr>
      <vt:lpstr>Presentación de PowerPoint</vt:lpstr>
      <vt:lpstr>Presentación de PowerPoint</vt:lpstr>
      <vt:lpstr>“0” Power, Synergy Between Power and Connection</vt:lpstr>
      <vt:lpstr>Breathing Technology Realizes Synergy</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w00322882</dc:creator>
  <cp:lastModifiedBy>Gustavo</cp:lastModifiedBy>
  <cp:revision>2315</cp:revision>
  <dcterms:created xsi:type="dcterms:W3CDTF">2011-12-01T07:18:24Z</dcterms:created>
  <dcterms:modified xsi:type="dcterms:W3CDTF">2017-04-05T14:1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2)HWA5eIrMgjS7RF0p9dmXlU7v8XjBG/8d568ESdqc9oWvUtHBkCODFM2KmJAh09tjGzEPagemC+/BxQ4iU97k/s58jX+WZNloe1PZ3nvfVGfXFJTyT69Q9Jln1E2oxPQLqp13xBVAb5QWC+sqbirApozwDaNQypNtwOq1DTjkx2xq0YV4UB3/7fT8o7wW6RNp3uDN20kBdwUGgq7fRHaseTPOvRps9rPAk8AVRiX/N2zEiRDd</vt:lpwstr>
  </property>
  <property fmtid="{D5CDD505-2E9C-101B-9397-08002B2CF9AE}" pid="3" name="_ms_pID_7253431">
    <vt:lpwstr>kIpkvw9rckm+6wVpOJkSH4ldNo5pJwHT3AhWCWHOar/weGq35VYP59VVXnzU5+/wuOQWzw+JlVRbSeKEDnPUhK9pF+ucg3usODdadMydupAOE3EOZUZNQpk1E44dBrxr2nNCt9Qf7kfqHDTrKOgy8xD21xqb5ph7vEam/w==</vt:lpwstr>
  </property>
  <property fmtid="{D5CDD505-2E9C-101B-9397-08002B2CF9AE}" pid="4" name="_ms_pID_7253432">
    <vt:lpwstr>bPscNl73h+KBMIOAsGC5BjFPwGo4c9Erl1dl_x000d_ vs9OFVH4nUw6/t2aDq73yszRyL3FPUhqCxmmmuwVQHBnVOI56+ChAskHL52OZcAKavGhiXII_x000d_ aFSH+fQOLCuyhbAuBRYHGK3Tn2LIm/L/CRUstyABzM1b5HQdNsEncFPMhWribToTFsuj6hAo_x000d_ mvmyMQyM4tgghZnUKjGMVJQFQC0Bt2gS/+gcFl+EcP/wCA/uiZjETW</vt:lpwstr>
  </property>
  <property fmtid="{D5CDD505-2E9C-101B-9397-08002B2CF9AE}" pid="5" name="_ms_pID_7253433">
    <vt:lpwstr>9m</vt:lpwstr>
  </property>
  <property fmtid="{D5CDD505-2E9C-101B-9397-08002B2CF9AE}" pid="6" name="_new_ms_pID_72543">
    <vt:lpwstr>(4)ArfieWN5bC7oRIXDqxVSNBuyGbpX7EIGtI0uieNeH4yfaqie5U0+xT+gyjZJ9A6FNVZqisXJ
WGsl75OVbsmvwUzGZ6JesboBxam2Zr2/wBhA0j6foXWQVak84wBPtnhSRX9iuHTLSYli9+CI
CwKjnIMdHlRfdK6975YsEe6Qt5ZZU54vFcZgIWdsFc5E0Yus5cQmttMT1Kobh/QQDUysFPKk
Dxeeg4TzsYUGxBp/ky</vt:lpwstr>
  </property>
  <property fmtid="{D5CDD505-2E9C-101B-9397-08002B2CF9AE}" pid="7" name="_new_ms_pID_725431">
    <vt:lpwstr>ZyYSnVLtxYiql1xDq9sD3JIkIBNXUdmw27A1n91rf5+CSZNYrVr3/C
UL16c+sxbX1ajp2STWauE2Rp80bvq9uESJO/+om9uA9V5PuNlA6a3fWGaGVl5HHWibgmly6w
S27AjV9ycCCINYhyQ2fJ3kCjrIqXcOci/dLASL09/NNhehxgcV5YupH4VC9a5TH1ncFqB9i4
9I0Yq0EGQrGxhANek69+v9ppMihCeBVNRLiA</vt:lpwstr>
  </property>
  <property fmtid="{D5CDD505-2E9C-101B-9397-08002B2CF9AE}" pid="8" name="_new_ms_pID_725432">
    <vt:lpwstr>KiLC09/F7M49NHS0EswBWuO6Bg5kafGQffPR
Xs0Oe2joH3uQMnteAuEI20mLYNI2ywzIuy27MZTBJXxe+eMREVd111j3i15aIZaAtliq4l9s
fAQCYy2f/XYMDvdvJS4x6+9gLgfpcedk6nrmleK+Q/F4dOEm+dvfCaaWQ5JUnX82bn57bhUH
5XIuMiBGVgsmkFwmiVGAqrUtkrVMI1CylIvTUWJTwsLklvTxMMVrQj</vt:lpwstr>
  </property>
  <property fmtid="{D5CDD505-2E9C-101B-9397-08002B2CF9AE}" pid="9" name="_new_ms_pID_725433">
    <vt:lpwstr>IcjPyxjHQZBP2bpDsG
VF36oQ==</vt:lpwstr>
  </property>
  <property fmtid="{D5CDD505-2E9C-101B-9397-08002B2CF9AE}" pid="10" name="_2015_ms_pID_725343">
    <vt:lpwstr>(2)4WQxushog9dzEEeBuisbEsP7sjRFmTmvKlZAYEWKLp9TRmsp1omxNxQAppSmFj/cbOS2Asz6
zhPHO4ngVuP4WhU3WtfhtVwH2UQXoyCzk4xKJSF41bCzebHEBGdQ88QbAagfXQQ2/VBgUkvQ
wz24LVadvqoi4rg7snrweLM0g7BBArGv1LvZRUs3egwQjepb1jkSmqONrXK85XJl9nBd4hTH
dtVzF5R+js+3/ttGa9</vt:lpwstr>
  </property>
  <property fmtid="{D5CDD505-2E9C-101B-9397-08002B2CF9AE}" pid="11" name="_2015_ms_pID_7253431">
    <vt:lpwstr>fDUl6PLvaR8znggdPUtlbAflBBDeuGiY5EYsqG4futSMLGKe69EiPv
Gcktkn7H/3gIXR+9W5Fm1U6AyskGJIrZ1glDNle+ZaBO4j2/aCKWta9oOHd91UN2mAl8A4EG
/sXVboqtarj5NAkvnSq34Hu/bxmXssnofxTgMT7zgMmQH/O3z4TGEHGRw6F+5CO3btW5Oyiw
rVMu3GEJFeSkxQdx</vt:lpwstr>
  </property>
  <property fmtid="{D5CDD505-2E9C-101B-9397-08002B2CF9AE}" pid="12" name="_readonly">
    <vt:lpwstr/>
  </property>
  <property fmtid="{D5CDD505-2E9C-101B-9397-08002B2CF9AE}" pid="13" name="_change">
    <vt:lpwstr/>
  </property>
  <property fmtid="{D5CDD505-2E9C-101B-9397-08002B2CF9AE}" pid="14" name="_full-control">
    <vt:lpwstr/>
  </property>
  <property fmtid="{D5CDD505-2E9C-101B-9397-08002B2CF9AE}" pid="15" name="sflag">
    <vt:lpwstr>1490594171</vt:lpwstr>
  </property>
  <property fmtid="{D5CDD505-2E9C-101B-9397-08002B2CF9AE}" pid="16" name="ContentTypeId">
    <vt:lpwstr>0x0101005CDAE83719FB2141981D8E67B3E30728</vt:lpwstr>
  </property>
</Properties>
</file>